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1.xml" ContentType="application/vnd.openxmlformats-officedocument.drawingml.chart+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6" r:id="rId1"/>
    <p:sldMasterId id="2147483712" r:id="rId2"/>
  </p:sldMasterIdLst>
  <p:notesMasterIdLst>
    <p:notesMasterId r:id="rId36"/>
  </p:notesMasterIdLst>
  <p:sldIdLst>
    <p:sldId id="311" r:id="rId3"/>
    <p:sldId id="305" r:id="rId4"/>
    <p:sldId id="300" r:id="rId5"/>
    <p:sldId id="263" r:id="rId6"/>
    <p:sldId id="264" r:id="rId7"/>
    <p:sldId id="265" r:id="rId8"/>
    <p:sldId id="266" r:id="rId9"/>
    <p:sldId id="267" r:id="rId10"/>
    <p:sldId id="268" r:id="rId11"/>
    <p:sldId id="269" r:id="rId12"/>
    <p:sldId id="270" r:id="rId13"/>
    <p:sldId id="271" r:id="rId14"/>
    <p:sldId id="272" r:id="rId15"/>
    <p:sldId id="273" r:id="rId16"/>
    <p:sldId id="274" r:id="rId17"/>
    <p:sldId id="275" r:id="rId18"/>
    <p:sldId id="276" r:id="rId19"/>
    <p:sldId id="296" r:id="rId20"/>
    <p:sldId id="293" r:id="rId21"/>
    <p:sldId id="299" r:id="rId22"/>
    <p:sldId id="279" r:id="rId23"/>
    <p:sldId id="280" r:id="rId24"/>
    <p:sldId id="301" r:id="rId25"/>
    <p:sldId id="302" r:id="rId26"/>
    <p:sldId id="303" r:id="rId27"/>
    <p:sldId id="306" r:id="rId28"/>
    <p:sldId id="292" r:id="rId29"/>
    <p:sldId id="307" r:id="rId30"/>
    <p:sldId id="312" r:id="rId31"/>
    <p:sldId id="313" r:id="rId32"/>
    <p:sldId id="314" r:id="rId33"/>
    <p:sldId id="282" r:id="rId34"/>
    <p:sldId id="295" r:id="rId35"/>
  </p:sldIdLst>
  <p:sldSz cx="9144000" cy="6858000" type="screen4x3"/>
  <p:notesSz cx="6858000" cy="9144000"/>
  <p:defaultTextStyle>
    <a:defPPr>
      <a:defRPr lang="tr-T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3366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p:scale>
          <a:sx n="100" d="100"/>
          <a:sy n="100" d="100"/>
        </p:scale>
        <p:origin x="-294" y="-162"/>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theme" Target="theme/theme1.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_al__ma_Sayfas_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39"/>
    </mc:Choice>
    <mc:Fallback>
      <c:style val="39"/>
    </mc:Fallback>
  </mc:AlternateContent>
  <c:chart>
    <c:autoTitleDeleted val="1"/>
    <c:plotArea>
      <c:layout/>
      <c:lineChart>
        <c:grouping val="standard"/>
        <c:varyColors val="0"/>
        <c:ser>
          <c:idx val="0"/>
          <c:order val="0"/>
          <c:tx>
            <c:strRef>
              <c:f>Sayfa1!$B$1</c:f>
              <c:strCache>
                <c:ptCount val="1"/>
                <c:pt idx="0">
                  <c:v>Avrupa'da B2B ve B2G kullanım oranı </c:v>
                </c:pt>
              </c:strCache>
            </c:strRef>
          </c:tx>
          <c:dLbls>
            <c:dLblPos val="l"/>
            <c:showLegendKey val="0"/>
            <c:showVal val="1"/>
            <c:showCatName val="0"/>
            <c:showSerName val="0"/>
            <c:showPercent val="0"/>
            <c:showBubbleSize val="0"/>
            <c:showLeaderLines val="0"/>
          </c:dLbls>
          <c:cat>
            <c:numRef>
              <c:f>Sayfa1!$A$2:$A$7</c:f>
              <c:numCache>
                <c:formatCode>General</c:formatCode>
                <c:ptCount val="6"/>
                <c:pt idx="0">
                  <c:v>2008</c:v>
                </c:pt>
                <c:pt idx="1">
                  <c:v>2009</c:v>
                </c:pt>
                <c:pt idx="2">
                  <c:v>2010</c:v>
                </c:pt>
                <c:pt idx="3">
                  <c:v>2011</c:v>
                </c:pt>
                <c:pt idx="4">
                  <c:v>2012</c:v>
                </c:pt>
                <c:pt idx="5">
                  <c:v>2013</c:v>
                </c:pt>
              </c:numCache>
            </c:numRef>
          </c:cat>
          <c:val>
            <c:numRef>
              <c:f>Sayfa1!$B$2:$B$7</c:f>
              <c:numCache>
                <c:formatCode>0%</c:formatCode>
                <c:ptCount val="6"/>
                <c:pt idx="0">
                  <c:v>6.0000000000000012E-2</c:v>
                </c:pt>
                <c:pt idx="1">
                  <c:v>8.0000000000000016E-2</c:v>
                </c:pt>
                <c:pt idx="2">
                  <c:v>0.1</c:v>
                </c:pt>
                <c:pt idx="3">
                  <c:v>0.13</c:v>
                </c:pt>
                <c:pt idx="4">
                  <c:v>0.16000000000000003</c:v>
                </c:pt>
                <c:pt idx="5">
                  <c:v>0.2</c:v>
                </c:pt>
              </c:numCache>
            </c:numRef>
          </c:val>
          <c:smooth val="0"/>
        </c:ser>
        <c:dLbls>
          <c:showLegendKey val="0"/>
          <c:showVal val="1"/>
          <c:showCatName val="0"/>
          <c:showSerName val="0"/>
          <c:showPercent val="0"/>
          <c:showBubbleSize val="0"/>
        </c:dLbls>
        <c:marker val="1"/>
        <c:smooth val="0"/>
        <c:axId val="352133120"/>
        <c:axId val="364722048"/>
      </c:lineChart>
      <c:catAx>
        <c:axId val="352133120"/>
        <c:scaling>
          <c:orientation val="minMax"/>
        </c:scaling>
        <c:delete val="0"/>
        <c:axPos val="b"/>
        <c:majorGridlines/>
        <c:numFmt formatCode="General" sourceLinked="1"/>
        <c:majorTickMark val="none"/>
        <c:minorTickMark val="none"/>
        <c:tickLblPos val="nextTo"/>
        <c:crossAx val="364722048"/>
        <c:crosses val="autoZero"/>
        <c:auto val="1"/>
        <c:lblAlgn val="ctr"/>
        <c:lblOffset val="100"/>
        <c:noMultiLvlLbl val="0"/>
      </c:catAx>
      <c:valAx>
        <c:axId val="364722048"/>
        <c:scaling>
          <c:orientation val="minMax"/>
        </c:scaling>
        <c:delete val="0"/>
        <c:axPos val="l"/>
        <c:minorGridlines/>
        <c:numFmt formatCode="0%" sourceLinked="1"/>
        <c:majorTickMark val="none"/>
        <c:minorTickMark val="none"/>
        <c:tickLblPos val="nextTo"/>
        <c:crossAx val="352133120"/>
        <c:crosses val="autoZero"/>
        <c:crossBetween val="between"/>
      </c:valAx>
    </c:plotArea>
    <c:plotVisOnly val="1"/>
    <c:dispBlanksAs val="gap"/>
    <c:showDLblsOverMax val="0"/>
  </c:chart>
  <c:txPr>
    <a:bodyPr/>
    <a:lstStyle/>
    <a:p>
      <a:pPr>
        <a:defRPr sz="1800"/>
      </a:pPr>
      <a:endParaRPr lang="tr-TR"/>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4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stbilgi Yer Tutucusu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tr-TR"/>
          </a:p>
        </p:txBody>
      </p:sp>
      <p:sp>
        <p:nvSpPr>
          <p:cNvPr id="3" name="Veri Yer Tutucusu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EC002271-A8D2-47F6-8109-E87C5AB8D5D3}" type="datetimeFigureOut">
              <a:rPr lang="tr-TR" smtClean="0"/>
              <a:pPr/>
              <a:t>16.08.2013</a:t>
            </a:fld>
            <a:endParaRPr lang="tr-TR"/>
          </a:p>
        </p:txBody>
      </p:sp>
      <p:sp>
        <p:nvSpPr>
          <p:cNvPr id="4" name="Slayt Görüntüsü Yer Tutucusu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tr-TR"/>
          </a:p>
        </p:txBody>
      </p:sp>
      <p:sp>
        <p:nvSpPr>
          <p:cNvPr id="5" name="Not Yer Tutucusu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6" name="Altbilgi Yer Tutucusu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tr-TR"/>
          </a:p>
        </p:txBody>
      </p:sp>
      <p:sp>
        <p:nvSpPr>
          <p:cNvPr id="7" name="Slayt Numarası Yer Tutucusu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1FB3473-292E-4888-A35C-6813BF936495}" type="slidenum">
              <a:rPr lang="tr-TR" smtClean="0"/>
              <a:pPr/>
              <a:t>‹#›</a:t>
            </a:fld>
            <a:endParaRPr lang="tr-TR"/>
          </a:p>
        </p:txBody>
      </p:sp>
    </p:spTree>
    <p:extLst>
      <p:ext uri="{BB962C8B-B14F-4D97-AF65-F5344CB8AC3E}">
        <p14:creationId xmlns:p14="http://schemas.microsoft.com/office/powerpoint/2010/main" val="1098295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r>
              <a:rPr lang="tr-TR" dirty="0" smtClean="0"/>
              <a:t>5 Mart 2010 tarih ve 27512 Sayılı Resmi </a:t>
            </a:r>
            <a:r>
              <a:rPr lang="tr-TR" dirty="0" err="1" smtClean="0"/>
              <a:t>Gazete’de</a:t>
            </a:r>
            <a:r>
              <a:rPr lang="tr-TR" dirty="0" smtClean="0"/>
              <a:t> 397 sıra</a:t>
            </a:r>
            <a:r>
              <a:rPr lang="tr-TR" baseline="0" dirty="0" smtClean="0"/>
              <a:t> numaralı Vergi Usul Kanunu Genel Tebliğinin</a:t>
            </a:r>
            <a:r>
              <a:rPr lang="tr-TR" dirty="0" smtClean="0"/>
              <a:t> yayımlanması</a:t>
            </a:r>
            <a:r>
              <a:rPr lang="tr-TR" baseline="0" dirty="0" smtClean="0"/>
              <a:t> ile elektronik faturaya ilişkin usul ve esaslar belirlenmiştir.</a:t>
            </a:r>
          </a:p>
          <a:p>
            <a:pPr marL="0" marR="0" indent="0" algn="l" defTabSz="914400" rtl="0" eaLnBrk="1" fontAlgn="auto" latinLnBrk="0" hangingPunct="1">
              <a:lnSpc>
                <a:spcPct val="100000"/>
              </a:lnSpc>
              <a:spcBef>
                <a:spcPts val="0"/>
              </a:spcBef>
              <a:spcAft>
                <a:spcPts val="0"/>
              </a:spcAft>
              <a:buClrTx/>
              <a:buSzTx/>
              <a:buFontTx/>
              <a:buNone/>
              <a:tabLst/>
              <a:defRPr/>
            </a:pPr>
            <a:r>
              <a:rPr lang="tr-TR" sz="1200" dirty="0" smtClean="0">
                <a:latin typeface="Tahoma" pitchFamily="34" charset="0"/>
                <a:cs typeface="Tahoma" pitchFamily="34" charset="0"/>
              </a:rPr>
              <a:t>Elektronik fatura:397 Sıra No.lu Genel Tebliğ’deki şartlara uygun olan ve şekil hükümlerinden bağımsız olarak Vergi Usul Kanununa göre düzenlenmesi zorunlu olan belgelerde yer alan bilgileri içeren elektronik kayıtlar bütününü biçiminde oluşturulmuş faturayı ifade etmektedir.</a:t>
            </a:r>
          </a:p>
          <a:p>
            <a:endParaRPr lang="tr-TR" dirty="0"/>
          </a:p>
        </p:txBody>
      </p:sp>
      <p:sp>
        <p:nvSpPr>
          <p:cNvPr id="4" name="Slayt Numarası Yer Tutucusu 3"/>
          <p:cNvSpPr>
            <a:spLocks noGrp="1"/>
          </p:cNvSpPr>
          <p:nvPr>
            <p:ph type="sldNum" sz="quarter" idx="10"/>
          </p:nvPr>
        </p:nvSpPr>
        <p:spPr/>
        <p:txBody>
          <a:bodyPr/>
          <a:lstStyle/>
          <a:p>
            <a:fld id="{3B72780B-754B-4B34-BD0B-F24FF283A93B}" type="slidenum">
              <a:rPr lang="tr-TR" smtClean="0"/>
              <a:pPr/>
              <a:t>4</a:t>
            </a:fld>
            <a:endParaRPr lang="tr-TR"/>
          </a:p>
        </p:txBody>
      </p:sp>
    </p:spTree>
    <p:extLst>
      <p:ext uri="{BB962C8B-B14F-4D97-AF65-F5344CB8AC3E}">
        <p14:creationId xmlns:p14="http://schemas.microsoft.com/office/powerpoint/2010/main" val="351032721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Pladsholder til diasbillede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339" name="Pladsholder til no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en-US" smtClean="0"/>
          </a:p>
        </p:txBody>
      </p:sp>
      <p:sp>
        <p:nvSpPr>
          <p:cNvPr id="14340" name="Pladsholder til diasnumm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pPr eaLnBrk="1" hangingPunct="1"/>
            <a:fld id="{B1F0BEC7-C336-4DBC-9FB9-EF76BCEB99D3}" type="slidenum">
              <a:rPr lang="da-DK"/>
              <a:pPr eaLnBrk="1" hangingPunct="1"/>
              <a:t>24</a:t>
            </a:fld>
            <a:endParaRPr lang="da-DK"/>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Pladsholder til diasbillede 1"/>
          <p:cNvSpPr>
            <a:spLocks noGrp="1" noRot="1" noChangeAspect="1" noTextEdit="1"/>
          </p:cNvSpPr>
          <p:nvPr>
            <p:ph type="sldImg"/>
          </p:nvPr>
        </p:nvSpPr>
        <p:spPr bwMode="auto">
          <a:noFill/>
          <a:ln>
            <a:solidFill>
              <a:srgbClr val="000000"/>
            </a:solidFill>
            <a:miter lim="800000"/>
            <a:headEnd/>
            <a:tailEnd/>
          </a:ln>
        </p:spPr>
      </p:sp>
      <p:sp>
        <p:nvSpPr>
          <p:cNvPr id="27651" name="Pladsholder til not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20484" name="Pladsholder til diasnumm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0EEA2FE5-E925-4832-94F9-A5CD5D7782FD}" type="slidenum">
              <a:rPr lang="en-US" smtClean="0"/>
              <a:pPr fontAlgn="base">
                <a:spcBef>
                  <a:spcPct val="0"/>
                </a:spcBef>
                <a:spcAft>
                  <a:spcPct val="0"/>
                </a:spcAft>
                <a:defRPr/>
              </a:pPr>
              <a:t>25</a:t>
            </a:fld>
            <a:endParaRPr lang="en-US" smtClean="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5218" name="Rectangle 2"/>
          <p:cNvSpPr>
            <a:spLocks noGrp="1" noRot="1" noChangeAspect="1" noChangeArrowheads="1" noTextEdit="1"/>
          </p:cNvSpPr>
          <p:nvPr>
            <p:ph type="sldImg"/>
          </p:nvPr>
        </p:nvSpPr>
        <p:spPr>
          <a:ln/>
        </p:spPr>
      </p:sp>
      <p:sp>
        <p:nvSpPr>
          <p:cNvPr id="905219" name="Rectangle 3"/>
          <p:cNvSpPr>
            <a:spLocks noGrp="1" noChangeArrowheads="1"/>
          </p:cNvSpPr>
          <p:nvPr>
            <p:ph type="body" idx="1"/>
          </p:nvPr>
        </p:nvSpPr>
        <p:spPr/>
        <p:txBody>
          <a:bodyPr/>
          <a:lstStyle/>
          <a:p>
            <a:endParaRPr lang="de-DE" noProof="1"/>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fld id="{F7EB21AC-0010-4BB0-BC75-F1A58FBA8C46}" type="slidenum">
              <a:rPr lang="tr-TR" smtClean="0"/>
              <a:t>28</a:t>
            </a:fld>
            <a:endParaRPr lang="tr-TR"/>
          </a:p>
        </p:txBody>
      </p:sp>
    </p:spTree>
    <p:extLst>
      <p:ext uri="{BB962C8B-B14F-4D97-AF65-F5344CB8AC3E}">
        <p14:creationId xmlns:p14="http://schemas.microsoft.com/office/powerpoint/2010/main" val="36428521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fld id="{F7EB21AC-0010-4BB0-BC75-F1A58FBA8C46}" type="slidenum">
              <a:rPr lang="tr-TR" smtClean="0"/>
              <a:t>29</a:t>
            </a:fld>
            <a:endParaRPr lang="tr-TR"/>
          </a:p>
        </p:txBody>
      </p:sp>
    </p:spTree>
    <p:extLst>
      <p:ext uri="{BB962C8B-B14F-4D97-AF65-F5344CB8AC3E}">
        <p14:creationId xmlns:p14="http://schemas.microsoft.com/office/powerpoint/2010/main" val="364285212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fld id="{F7EB21AC-0010-4BB0-BC75-F1A58FBA8C46}" type="slidenum">
              <a:rPr lang="tr-TR" smtClean="0"/>
              <a:t>30</a:t>
            </a:fld>
            <a:endParaRPr lang="tr-TR"/>
          </a:p>
        </p:txBody>
      </p:sp>
    </p:spTree>
    <p:extLst>
      <p:ext uri="{BB962C8B-B14F-4D97-AF65-F5344CB8AC3E}">
        <p14:creationId xmlns:p14="http://schemas.microsoft.com/office/powerpoint/2010/main" val="364285212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fld id="{F7EB21AC-0010-4BB0-BC75-F1A58FBA8C46}" type="slidenum">
              <a:rPr lang="tr-TR" smtClean="0"/>
              <a:t>31</a:t>
            </a:fld>
            <a:endParaRPr lang="tr-TR"/>
          </a:p>
        </p:txBody>
      </p:sp>
    </p:spTree>
    <p:extLst>
      <p:ext uri="{BB962C8B-B14F-4D97-AF65-F5344CB8AC3E}">
        <p14:creationId xmlns:p14="http://schemas.microsoft.com/office/powerpoint/2010/main" val="364285212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Rectangle 2"/>
          <p:cNvSpPr>
            <a:spLocks noGrp="1" noRot="1" noChangeAspect="1" noChangeArrowheads="1" noTextEdit="1"/>
          </p:cNvSpPr>
          <p:nvPr>
            <p:ph type="sldImg"/>
          </p:nvPr>
        </p:nvSpPr>
        <p:spPr>
          <a:ln/>
        </p:spPr>
      </p:sp>
      <p:sp>
        <p:nvSpPr>
          <p:cNvPr id="70659"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dirty="0"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7"/>
          <p:cNvSpPr txBox="1">
            <a:spLocks noGrp="1" noChangeArrowheads="1"/>
          </p:cNvSpPr>
          <p:nvPr/>
        </p:nvSpPr>
        <p:spPr bwMode="auto">
          <a:xfrm>
            <a:off x="3884613" y="8685214"/>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fld id="{6E330F20-444A-4464-B978-054059175808}" type="slidenum">
              <a:rPr sz="1200" noProof="1">
                <a:solidFill>
                  <a:prstClr val="black"/>
                </a:solidFill>
              </a:rPr>
              <a:pPr algn="r" eaLnBrk="1" hangingPunct="1"/>
              <a:t>12</a:t>
            </a:fld>
            <a:endParaRPr lang="tr-TR" sz="1200" noProof="1">
              <a:solidFill>
                <a:prstClr val="black"/>
              </a:solidFill>
            </a:endParaRPr>
          </a:p>
        </p:txBody>
      </p:sp>
      <p:sp>
        <p:nvSpPr>
          <p:cNvPr id="9219" name="Rectangle 7"/>
          <p:cNvSpPr txBox="1">
            <a:spLocks noGrp="1" noChangeArrowheads="1"/>
          </p:cNvSpPr>
          <p:nvPr/>
        </p:nvSpPr>
        <p:spPr bwMode="auto">
          <a:xfrm>
            <a:off x="3887788" y="8689976"/>
            <a:ext cx="2970212" cy="454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824" tIns="47416" rIns="94824" bIns="47416" anchor="b"/>
          <a:lstStyle>
            <a:lvl1pPr defTabSz="947738" eaLnBrk="0" hangingPunct="0">
              <a:defRPr>
                <a:solidFill>
                  <a:schemeClr val="tx1"/>
                </a:solidFill>
                <a:latin typeface="Arial" charset="0"/>
                <a:cs typeface="Arial" charset="0"/>
              </a:defRPr>
            </a:lvl1pPr>
            <a:lvl2pPr marL="742950" indent="-285750" defTabSz="947738" eaLnBrk="0" hangingPunct="0">
              <a:defRPr>
                <a:solidFill>
                  <a:schemeClr val="tx1"/>
                </a:solidFill>
                <a:latin typeface="Arial" charset="0"/>
                <a:cs typeface="Arial" charset="0"/>
              </a:defRPr>
            </a:lvl2pPr>
            <a:lvl3pPr marL="1143000" indent="-228600" defTabSz="947738" eaLnBrk="0" hangingPunct="0">
              <a:defRPr>
                <a:solidFill>
                  <a:schemeClr val="tx1"/>
                </a:solidFill>
                <a:latin typeface="Arial" charset="0"/>
                <a:cs typeface="Arial" charset="0"/>
              </a:defRPr>
            </a:lvl3pPr>
            <a:lvl4pPr marL="1600200" indent="-228600" defTabSz="947738" eaLnBrk="0" hangingPunct="0">
              <a:defRPr>
                <a:solidFill>
                  <a:schemeClr val="tx1"/>
                </a:solidFill>
                <a:latin typeface="Arial" charset="0"/>
                <a:cs typeface="Arial" charset="0"/>
              </a:defRPr>
            </a:lvl4pPr>
            <a:lvl5pPr marL="2057400" indent="-228600" defTabSz="947738" eaLnBrk="0" hangingPunct="0">
              <a:defRPr>
                <a:solidFill>
                  <a:schemeClr val="tx1"/>
                </a:solidFill>
                <a:latin typeface="Arial" charset="0"/>
                <a:cs typeface="Arial" charset="0"/>
              </a:defRPr>
            </a:lvl5pPr>
            <a:lvl6pPr marL="2514600" indent="-228600" defTabSz="947738" eaLnBrk="0" fontAlgn="base" hangingPunct="0">
              <a:spcBef>
                <a:spcPct val="0"/>
              </a:spcBef>
              <a:spcAft>
                <a:spcPct val="0"/>
              </a:spcAft>
              <a:defRPr>
                <a:solidFill>
                  <a:schemeClr val="tx1"/>
                </a:solidFill>
                <a:latin typeface="Arial" charset="0"/>
                <a:cs typeface="Arial" charset="0"/>
              </a:defRPr>
            </a:lvl6pPr>
            <a:lvl7pPr marL="2971800" indent="-228600" defTabSz="947738" eaLnBrk="0" fontAlgn="base" hangingPunct="0">
              <a:spcBef>
                <a:spcPct val="0"/>
              </a:spcBef>
              <a:spcAft>
                <a:spcPct val="0"/>
              </a:spcAft>
              <a:defRPr>
                <a:solidFill>
                  <a:schemeClr val="tx1"/>
                </a:solidFill>
                <a:latin typeface="Arial" charset="0"/>
                <a:cs typeface="Arial" charset="0"/>
              </a:defRPr>
            </a:lvl7pPr>
            <a:lvl8pPr marL="3429000" indent="-228600" defTabSz="947738" eaLnBrk="0" fontAlgn="base" hangingPunct="0">
              <a:spcBef>
                <a:spcPct val="0"/>
              </a:spcBef>
              <a:spcAft>
                <a:spcPct val="0"/>
              </a:spcAft>
              <a:defRPr>
                <a:solidFill>
                  <a:schemeClr val="tx1"/>
                </a:solidFill>
                <a:latin typeface="Arial" charset="0"/>
                <a:cs typeface="Arial" charset="0"/>
              </a:defRPr>
            </a:lvl8pPr>
            <a:lvl9pPr marL="3886200" indent="-228600" defTabSz="947738" eaLnBrk="0" fontAlgn="base" hangingPunct="0">
              <a:spcBef>
                <a:spcPct val="0"/>
              </a:spcBef>
              <a:spcAft>
                <a:spcPct val="0"/>
              </a:spcAft>
              <a:defRPr>
                <a:solidFill>
                  <a:schemeClr val="tx1"/>
                </a:solidFill>
                <a:latin typeface="Arial" charset="0"/>
                <a:cs typeface="Arial" charset="0"/>
              </a:defRPr>
            </a:lvl9pPr>
          </a:lstStyle>
          <a:p>
            <a:pPr algn="r" eaLnBrk="1" hangingPunct="1"/>
            <a:fld id="{9CE1E929-DFDD-448B-9B86-3881F281660B}" type="slidenum">
              <a:rPr lang="en-GB" sz="1300">
                <a:solidFill>
                  <a:prstClr val="black"/>
                </a:solidFill>
              </a:rPr>
              <a:pPr algn="r" eaLnBrk="1" hangingPunct="1"/>
              <a:t>12</a:t>
            </a:fld>
            <a:endParaRPr lang="en-GB" sz="1300">
              <a:solidFill>
                <a:prstClr val="black"/>
              </a:solidFill>
            </a:endParaRPr>
          </a:p>
        </p:txBody>
      </p:sp>
      <p:sp>
        <p:nvSpPr>
          <p:cNvPr id="9220" name="Rectangle 2"/>
          <p:cNvSpPr>
            <a:spLocks noGrp="1" noRot="1" noChangeAspect="1" noChangeArrowheads="1" noTextEdit="1"/>
          </p:cNvSpPr>
          <p:nvPr>
            <p:ph type="sldImg"/>
          </p:nvPr>
        </p:nvSpPr>
        <p:spPr>
          <a:xfrm>
            <a:off x="1143000" y="685800"/>
            <a:ext cx="4573588" cy="3430588"/>
          </a:xfrm>
          <a:ln/>
        </p:spPr>
      </p:sp>
      <p:sp>
        <p:nvSpPr>
          <p:cNvPr id="9221" name="Rectangle 3"/>
          <p:cNvSpPr>
            <a:spLocks noGrp="1" noChangeArrowheads="1"/>
          </p:cNvSpPr>
          <p:nvPr>
            <p:ph type="body" idx="1"/>
          </p:nvPr>
        </p:nvSpPr>
        <p:spPr>
          <a:xfrm>
            <a:off x="914401" y="4343400"/>
            <a:ext cx="5029200" cy="41148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824" tIns="47416" rIns="94824" bIns="47416"/>
          <a:lstStyle/>
          <a:p>
            <a:pPr eaLnBrk="1" hangingPunct="1"/>
            <a:endParaRPr lang="tr-TR" noProof="1"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7"/>
          <p:cNvSpPr txBox="1">
            <a:spLocks noGrp="1" noChangeArrowheads="1"/>
          </p:cNvSpPr>
          <p:nvPr/>
        </p:nvSpPr>
        <p:spPr bwMode="auto">
          <a:xfrm>
            <a:off x="3884613" y="8685214"/>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fld id="{6E330F20-444A-4464-B978-054059175808}" type="slidenum">
              <a:rPr sz="1200" noProof="1">
                <a:solidFill>
                  <a:prstClr val="black"/>
                </a:solidFill>
              </a:rPr>
              <a:pPr algn="r" eaLnBrk="1" hangingPunct="1"/>
              <a:t>13</a:t>
            </a:fld>
            <a:endParaRPr lang="tr-TR" sz="1200" noProof="1">
              <a:solidFill>
                <a:prstClr val="black"/>
              </a:solidFill>
            </a:endParaRPr>
          </a:p>
        </p:txBody>
      </p:sp>
      <p:sp>
        <p:nvSpPr>
          <p:cNvPr id="9219" name="Rectangle 7"/>
          <p:cNvSpPr txBox="1">
            <a:spLocks noGrp="1" noChangeArrowheads="1"/>
          </p:cNvSpPr>
          <p:nvPr/>
        </p:nvSpPr>
        <p:spPr bwMode="auto">
          <a:xfrm>
            <a:off x="3887788" y="8689976"/>
            <a:ext cx="2970212" cy="454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824" tIns="47416" rIns="94824" bIns="47416" anchor="b"/>
          <a:lstStyle>
            <a:lvl1pPr defTabSz="947738" eaLnBrk="0" hangingPunct="0">
              <a:defRPr>
                <a:solidFill>
                  <a:schemeClr val="tx1"/>
                </a:solidFill>
                <a:latin typeface="Arial" charset="0"/>
                <a:cs typeface="Arial" charset="0"/>
              </a:defRPr>
            </a:lvl1pPr>
            <a:lvl2pPr marL="742950" indent="-285750" defTabSz="947738" eaLnBrk="0" hangingPunct="0">
              <a:defRPr>
                <a:solidFill>
                  <a:schemeClr val="tx1"/>
                </a:solidFill>
                <a:latin typeface="Arial" charset="0"/>
                <a:cs typeface="Arial" charset="0"/>
              </a:defRPr>
            </a:lvl2pPr>
            <a:lvl3pPr marL="1143000" indent="-228600" defTabSz="947738" eaLnBrk="0" hangingPunct="0">
              <a:defRPr>
                <a:solidFill>
                  <a:schemeClr val="tx1"/>
                </a:solidFill>
                <a:latin typeface="Arial" charset="0"/>
                <a:cs typeface="Arial" charset="0"/>
              </a:defRPr>
            </a:lvl3pPr>
            <a:lvl4pPr marL="1600200" indent="-228600" defTabSz="947738" eaLnBrk="0" hangingPunct="0">
              <a:defRPr>
                <a:solidFill>
                  <a:schemeClr val="tx1"/>
                </a:solidFill>
                <a:latin typeface="Arial" charset="0"/>
                <a:cs typeface="Arial" charset="0"/>
              </a:defRPr>
            </a:lvl4pPr>
            <a:lvl5pPr marL="2057400" indent="-228600" defTabSz="947738" eaLnBrk="0" hangingPunct="0">
              <a:defRPr>
                <a:solidFill>
                  <a:schemeClr val="tx1"/>
                </a:solidFill>
                <a:latin typeface="Arial" charset="0"/>
                <a:cs typeface="Arial" charset="0"/>
              </a:defRPr>
            </a:lvl5pPr>
            <a:lvl6pPr marL="2514600" indent="-228600" defTabSz="947738" eaLnBrk="0" fontAlgn="base" hangingPunct="0">
              <a:spcBef>
                <a:spcPct val="0"/>
              </a:spcBef>
              <a:spcAft>
                <a:spcPct val="0"/>
              </a:spcAft>
              <a:defRPr>
                <a:solidFill>
                  <a:schemeClr val="tx1"/>
                </a:solidFill>
                <a:latin typeface="Arial" charset="0"/>
                <a:cs typeface="Arial" charset="0"/>
              </a:defRPr>
            </a:lvl6pPr>
            <a:lvl7pPr marL="2971800" indent="-228600" defTabSz="947738" eaLnBrk="0" fontAlgn="base" hangingPunct="0">
              <a:spcBef>
                <a:spcPct val="0"/>
              </a:spcBef>
              <a:spcAft>
                <a:spcPct val="0"/>
              </a:spcAft>
              <a:defRPr>
                <a:solidFill>
                  <a:schemeClr val="tx1"/>
                </a:solidFill>
                <a:latin typeface="Arial" charset="0"/>
                <a:cs typeface="Arial" charset="0"/>
              </a:defRPr>
            </a:lvl7pPr>
            <a:lvl8pPr marL="3429000" indent="-228600" defTabSz="947738" eaLnBrk="0" fontAlgn="base" hangingPunct="0">
              <a:spcBef>
                <a:spcPct val="0"/>
              </a:spcBef>
              <a:spcAft>
                <a:spcPct val="0"/>
              </a:spcAft>
              <a:defRPr>
                <a:solidFill>
                  <a:schemeClr val="tx1"/>
                </a:solidFill>
                <a:latin typeface="Arial" charset="0"/>
                <a:cs typeface="Arial" charset="0"/>
              </a:defRPr>
            </a:lvl8pPr>
            <a:lvl9pPr marL="3886200" indent="-228600" defTabSz="947738" eaLnBrk="0" fontAlgn="base" hangingPunct="0">
              <a:spcBef>
                <a:spcPct val="0"/>
              </a:spcBef>
              <a:spcAft>
                <a:spcPct val="0"/>
              </a:spcAft>
              <a:defRPr>
                <a:solidFill>
                  <a:schemeClr val="tx1"/>
                </a:solidFill>
                <a:latin typeface="Arial" charset="0"/>
                <a:cs typeface="Arial" charset="0"/>
              </a:defRPr>
            </a:lvl9pPr>
          </a:lstStyle>
          <a:p>
            <a:pPr algn="r" eaLnBrk="1" hangingPunct="1"/>
            <a:fld id="{9CE1E929-DFDD-448B-9B86-3881F281660B}" type="slidenum">
              <a:rPr lang="en-GB" sz="1300">
                <a:solidFill>
                  <a:prstClr val="black"/>
                </a:solidFill>
              </a:rPr>
              <a:pPr algn="r" eaLnBrk="1" hangingPunct="1"/>
              <a:t>13</a:t>
            </a:fld>
            <a:endParaRPr lang="en-GB" sz="1300">
              <a:solidFill>
                <a:prstClr val="black"/>
              </a:solidFill>
            </a:endParaRPr>
          </a:p>
        </p:txBody>
      </p:sp>
      <p:sp>
        <p:nvSpPr>
          <p:cNvPr id="9220" name="Rectangle 2"/>
          <p:cNvSpPr>
            <a:spLocks noGrp="1" noRot="1" noChangeAspect="1" noChangeArrowheads="1" noTextEdit="1"/>
          </p:cNvSpPr>
          <p:nvPr>
            <p:ph type="sldImg"/>
          </p:nvPr>
        </p:nvSpPr>
        <p:spPr>
          <a:xfrm>
            <a:off x="1143000" y="685800"/>
            <a:ext cx="4573588" cy="3430588"/>
          </a:xfrm>
          <a:ln/>
        </p:spPr>
      </p:sp>
      <p:sp>
        <p:nvSpPr>
          <p:cNvPr id="9221" name="Rectangle 3"/>
          <p:cNvSpPr>
            <a:spLocks noGrp="1" noChangeArrowheads="1"/>
          </p:cNvSpPr>
          <p:nvPr>
            <p:ph type="body" idx="1"/>
          </p:nvPr>
        </p:nvSpPr>
        <p:spPr>
          <a:xfrm>
            <a:off x="914401" y="4343400"/>
            <a:ext cx="5029200" cy="41148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824" tIns="47416" rIns="94824" bIns="47416"/>
          <a:lstStyle/>
          <a:p>
            <a:pPr eaLnBrk="1" hangingPunct="1"/>
            <a:endParaRPr lang="tr-TR" noProof="1"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7"/>
          <p:cNvSpPr txBox="1">
            <a:spLocks noGrp="1" noChangeArrowheads="1"/>
          </p:cNvSpPr>
          <p:nvPr/>
        </p:nvSpPr>
        <p:spPr bwMode="auto">
          <a:xfrm>
            <a:off x="3884613" y="8685214"/>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fld id="{6E330F20-444A-4464-B978-054059175808}" type="slidenum">
              <a:rPr sz="1200" noProof="1">
                <a:solidFill>
                  <a:prstClr val="black"/>
                </a:solidFill>
              </a:rPr>
              <a:pPr algn="r" eaLnBrk="1" hangingPunct="1"/>
              <a:t>14</a:t>
            </a:fld>
            <a:endParaRPr lang="tr-TR" sz="1200" noProof="1">
              <a:solidFill>
                <a:prstClr val="black"/>
              </a:solidFill>
            </a:endParaRPr>
          </a:p>
        </p:txBody>
      </p:sp>
      <p:sp>
        <p:nvSpPr>
          <p:cNvPr id="9219" name="Rectangle 7"/>
          <p:cNvSpPr txBox="1">
            <a:spLocks noGrp="1" noChangeArrowheads="1"/>
          </p:cNvSpPr>
          <p:nvPr/>
        </p:nvSpPr>
        <p:spPr bwMode="auto">
          <a:xfrm>
            <a:off x="3887788" y="8689976"/>
            <a:ext cx="2970212" cy="454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824" tIns="47416" rIns="94824" bIns="47416" anchor="b"/>
          <a:lstStyle>
            <a:lvl1pPr defTabSz="947738" eaLnBrk="0" hangingPunct="0">
              <a:defRPr>
                <a:solidFill>
                  <a:schemeClr val="tx1"/>
                </a:solidFill>
                <a:latin typeface="Arial" charset="0"/>
                <a:cs typeface="Arial" charset="0"/>
              </a:defRPr>
            </a:lvl1pPr>
            <a:lvl2pPr marL="742950" indent="-285750" defTabSz="947738" eaLnBrk="0" hangingPunct="0">
              <a:defRPr>
                <a:solidFill>
                  <a:schemeClr val="tx1"/>
                </a:solidFill>
                <a:latin typeface="Arial" charset="0"/>
                <a:cs typeface="Arial" charset="0"/>
              </a:defRPr>
            </a:lvl2pPr>
            <a:lvl3pPr marL="1143000" indent="-228600" defTabSz="947738" eaLnBrk="0" hangingPunct="0">
              <a:defRPr>
                <a:solidFill>
                  <a:schemeClr val="tx1"/>
                </a:solidFill>
                <a:latin typeface="Arial" charset="0"/>
                <a:cs typeface="Arial" charset="0"/>
              </a:defRPr>
            </a:lvl3pPr>
            <a:lvl4pPr marL="1600200" indent="-228600" defTabSz="947738" eaLnBrk="0" hangingPunct="0">
              <a:defRPr>
                <a:solidFill>
                  <a:schemeClr val="tx1"/>
                </a:solidFill>
                <a:latin typeface="Arial" charset="0"/>
                <a:cs typeface="Arial" charset="0"/>
              </a:defRPr>
            </a:lvl4pPr>
            <a:lvl5pPr marL="2057400" indent="-228600" defTabSz="947738" eaLnBrk="0" hangingPunct="0">
              <a:defRPr>
                <a:solidFill>
                  <a:schemeClr val="tx1"/>
                </a:solidFill>
                <a:latin typeface="Arial" charset="0"/>
                <a:cs typeface="Arial" charset="0"/>
              </a:defRPr>
            </a:lvl5pPr>
            <a:lvl6pPr marL="2514600" indent="-228600" defTabSz="947738" eaLnBrk="0" fontAlgn="base" hangingPunct="0">
              <a:spcBef>
                <a:spcPct val="0"/>
              </a:spcBef>
              <a:spcAft>
                <a:spcPct val="0"/>
              </a:spcAft>
              <a:defRPr>
                <a:solidFill>
                  <a:schemeClr val="tx1"/>
                </a:solidFill>
                <a:latin typeface="Arial" charset="0"/>
                <a:cs typeface="Arial" charset="0"/>
              </a:defRPr>
            </a:lvl6pPr>
            <a:lvl7pPr marL="2971800" indent="-228600" defTabSz="947738" eaLnBrk="0" fontAlgn="base" hangingPunct="0">
              <a:spcBef>
                <a:spcPct val="0"/>
              </a:spcBef>
              <a:spcAft>
                <a:spcPct val="0"/>
              </a:spcAft>
              <a:defRPr>
                <a:solidFill>
                  <a:schemeClr val="tx1"/>
                </a:solidFill>
                <a:latin typeface="Arial" charset="0"/>
                <a:cs typeface="Arial" charset="0"/>
              </a:defRPr>
            </a:lvl7pPr>
            <a:lvl8pPr marL="3429000" indent="-228600" defTabSz="947738" eaLnBrk="0" fontAlgn="base" hangingPunct="0">
              <a:spcBef>
                <a:spcPct val="0"/>
              </a:spcBef>
              <a:spcAft>
                <a:spcPct val="0"/>
              </a:spcAft>
              <a:defRPr>
                <a:solidFill>
                  <a:schemeClr val="tx1"/>
                </a:solidFill>
                <a:latin typeface="Arial" charset="0"/>
                <a:cs typeface="Arial" charset="0"/>
              </a:defRPr>
            </a:lvl8pPr>
            <a:lvl9pPr marL="3886200" indent="-228600" defTabSz="947738" eaLnBrk="0" fontAlgn="base" hangingPunct="0">
              <a:spcBef>
                <a:spcPct val="0"/>
              </a:spcBef>
              <a:spcAft>
                <a:spcPct val="0"/>
              </a:spcAft>
              <a:defRPr>
                <a:solidFill>
                  <a:schemeClr val="tx1"/>
                </a:solidFill>
                <a:latin typeface="Arial" charset="0"/>
                <a:cs typeface="Arial" charset="0"/>
              </a:defRPr>
            </a:lvl9pPr>
          </a:lstStyle>
          <a:p>
            <a:pPr algn="r" eaLnBrk="1" hangingPunct="1"/>
            <a:fld id="{9CE1E929-DFDD-448B-9B86-3881F281660B}" type="slidenum">
              <a:rPr lang="en-GB" sz="1300">
                <a:solidFill>
                  <a:prstClr val="black"/>
                </a:solidFill>
              </a:rPr>
              <a:pPr algn="r" eaLnBrk="1" hangingPunct="1"/>
              <a:t>14</a:t>
            </a:fld>
            <a:endParaRPr lang="en-GB" sz="1300">
              <a:solidFill>
                <a:prstClr val="black"/>
              </a:solidFill>
            </a:endParaRPr>
          </a:p>
        </p:txBody>
      </p:sp>
      <p:sp>
        <p:nvSpPr>
          <p:cNvPr id="9220" name="Rectangle 2"/>
          <p:cNvSpPr>
            <a:spLocks noGrp="1" noRot="1" noChangeAspect="1" noChangeArrowheads="1" noTextEdit="1"/>
          </p:cNvSpPr>
          <p:nvPr>
            <p:ph type="sldImg"/>
          </p:nvPr>
        </p:nvSpPr>
        <p:spPr>
          <a:xfrm>
            <a:off x="1143000" y="685800"/>
            <a:ext cx="4573588" cy="3430588"/>
          </a:xfrm>
          <a:ln/>
        </p:spPr>
      </p:sp>
      <p:sp>
        <p:nvSpPr>
          <p:cNvPr id="9221" name="Rectangle 3"/>
          <p:cNvSpPr>
            <a:spLocks noGrp="1" noChangeArrowheads="1"/>
          </p:cNvSpPr>
          <p:nvPr>
            <p:ph type="body" idx="1"/>
          </p:nvPr>
        </p:nvSpPr>
        <p:spPr>
          <a:xfrm>
            <a:off x="914401" y="4343400"/>
            <a:ext cx="5029200" cy="41148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824" tIns="47416" rIns="94824" bIns="47416"/>
          <a:lstStyle/>
          <a:p>
            <a:pPr eaLnBrk="1" hangingPunct="1"/>
            <a:endParaRPr lang="tr-TR" noProof="1"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7"/>
          <p:cNvSpPr txBox="1">
            <a:spLocks noGrp="1" noChangeArrowheads="1"/>
          </p:cNvSpPr>
          <p:nvPr/>
        </p:nvSpPr>
        <p:spPr bwMode="auto">
          <a:xfrm>
            <a:off x="3884613" y="8685214"/>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fld id="{6E330F20-444A-4464-B978-054059175808}" type="slidenum">
              <a:rPr sz="1200" noProof="1">
                <a:solidFill>
                  <a:prstClr val="black"/>
                </a:solidFill>
              </a:rPr>
              <a:pPr algn="r" eaLnBrk="1" hangingPunct="1"/>
              <a:t>15</a:t>
            </a:fld>
            <a:endParaRPr lang="tr-TR" sz="1200" noProof="1">
              <a:solidFill>
                <a:prstClr val="black"/>
              </a:solidFill>
            </a:endParaRPr>
          </a:p>
        </p:txBody>
      </p:sp>
      <p:sp>
        <p:nvSpPr>
          <p:cNvPr id="9219" name="Rectangle 7"/>
          <p:cNvSpPr txBox="1">
            <a:spLocks noGrp="1" noChangeArrowheads="1"/>
          </p:cNvSpPr>
          <p:nvPr/>
        </p:nvSpPr>
        <p:spPr bwMode="auto">
          <a:xfrm>
            <a:off x="3887788" y="8689976"/>
            <a:ext cx="2970212" cy="454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824" tIns="47416" rIns="94824" bIns="47416" anchor="b"/>
          <a:lstStyle>
            <a:lvl1pPr defTabSz="947738" eaLnBrk="0" hangingPunct="0">
              <a:defRPr>
                <a:solidFill>
                  <a:schemeClr val="tx1"/>
                </a:solidFill>
                <a:latin typeface="Arial" charset="0"/>
                <a:cs typeface="Arial" charset="0"/>
              </a:defRPr>
            </a:lvl1pPr>
            <a:lvl2pPr marL="742950" indent="-285750" defTabSz="947738" eaLnBrk="0" hangingPunct="0">
              <a:defRPr>
                <a:solidFill>
                  <a:schemeClr val="tx1"/>
                </a:solidFill>
                <a:latin typeface="Arial" charset="0"/>
                <a:cs typeface="Arial" charset="0"/>
              </a:defRPr>
            </a:lvl2pPr>
            <a:lvl3pPr marL="1143000" indent="-228600" defTabSz="947738" eaLnBrk="0" hangingPunct="0">
              <a:defRPr>
                <a:solidFill>
                  <a:schemeClr val="tx1"/>
                </a:solidFill>
                <a:latin typeface="Arial" charset="0"/>
                <a:cs typeface="Arial" charset="0"/>
              </a:defRPr>
            </a:lvl3pPr>
            <a:lvl4pPr marL="1600200" indent="-228600" defTabSz="947738" eaLnBrk="0" hangingPunct="0">
              <a:defRPr>
                <a:solidFill>
                  <a:schemeClr val="tx1"/>
                </a:solidFill>
                <a:latin typeface="Arial" charset="0"/>
                <a:cs typeface="Arial" charset="0"/>
              </a:defRPr>
            </a:lvl4pPr>
            <a:lvl5pPr marL="2057400" indent="-228600" defTabSz="947738" eaLnBrk="0" hangingPunct="0">
              <a:defRPr>
                <a:solidFill>
                  <a:schemeClr val="tx1"/>
                </a:solidFill>
                <a:latin typeface="Arial" charset="0"/>
                <a:cs typeface="Arial" charset="0"/>
              </a:defRPr>
            </a:lvl5pPr>
            <a:lvl6pPr marL="2514600" indent="-228600" defTabSz="947738" eaLnBrk="0" fontAlgn="base" hangingPunct="0">
              <a:spcBef>
                <a:spcPct val="0"/>
              </a:spcBef>
              <a:spcAft>
                <a:spcPct val="0"/>
              </a:spcAft>
              <a:defRPr>
                <a:solidFill>
                  <a:schemeClr val="tx1"/>
                </a:solidFill>
                <a:latin typeface="Arial" charset="0"/>
                <a:cs typeface="Arial" charset="0"/>
              </a:defRPr>
            </a:lvl6pPr>
            <a:lvl7pPr marL="2971800" indent="-228600" defTabSz="947738" eaLnBrk="0" fontAlgn="base" hangingPunct="0">
              <a:spcBef>
                <a:spcPct val="0"/>
              </a:spcBef>
              <a:spcAft>
                <a:spcPct val="0"/>
              </a:spcAft>
              <a:defRPr>
                <a:solidFill>
                  <a:schemeClr val="tx1"/>
                </a:solidFill>
                <a:latin typeface="Arial" charset="0"/>
                <a:cs typeface="Arial" charset="0"/>
              </a:defRPr>
            </a:lvl7pPr>
            <a:lvl8pPr marL="3429000" indent="-228600" defTabSz="947738" eaLnBrk="0" fontAlgn="base" hangingPunct="0">
              <a:spcBef>
                <a:spcPct val="0"/>
              </a:spcBef>
              <a:spcAft>
                <a:spcPct val="0"/>
              </a:spcAft>
              <a:defRPr>
                <a:solidFill>
                  <a:schemeClr val="tx1"/>
                </a:solidFill>
                <a:latin typeface="Arial" charset="0"/>
                <a:cs typeface="Arial" charset="0"/>
              </a:defRPr>
            </a:lvl8pPr>
            <a:lvl9pPr marL="3886200" indent="-228600" defTabSz="947738" eaLnBrk="0" fontAlgn="base" hangingPunct="0">
              <a:spcBef>
                <a:spcPct val="0"/>
              </a:spcBef>
              <a:spcAft>
                <a:spcPct val="0"/>
              </a:spcAft>
              <a:defRPr>
                <a:solidFill>
                  <a:schemeClr val="tx1"/>
                </a:solidFill>
                <a:latin typeface="Arial" charset="0"/>
                <a:cs typeface="Arial" charset="0"/>
              </a:defRPr>
            </a:lvl9pPr>
          </a:lstStyle>
          <a:p>
            <a:pPr algn="r" eaLnBrk="1" hangingPunct="1"/>
            <a:fld id="{9CE1E929-DFDD-448B-9B86-3881F281660B}" type="slidenum">
              <a:rPr lang="en-GB" sz="1300">
                <a:solidFill>
                  <a:prstClr val="black"/>
                </a:solidFill>
              </a:rPr>
              <a:pPr algn="r" eaLnBrk="1" hangingPunct="1"/>
              <a:t>15</a:t>
            </a:fld>
            <a:endParaRPr lang="en-GB" sz="1300">
              <a:solidFill>
                <a:prstClr val="black"/>
              </a:solidFill>
            </a:endParaRPr>
          </a:p>
        </p:txBody>
      </p:sp>
      <p:sp>
        <p:nvSpPr>
          <p:cNvPr id="9220" name="Rectangle 2"/>
          <p:cNvSpPr>
            <a:spLocks noGrp="1" noRot="1" noChangeAspect="1" noChangeArrowheads="1" noTextEdit="1"/>
          </p:cNvSpPr>
          <p:nvPr>
            <p:ph type="sldImg"/>
          </p:nvPr>
        </p:nvSpPr>
        <p:spPr>
          <a:xfrm>
            <a:off x="1143000" y="685800"/>
            <a:ext cx="4573588" cy="3430588"/>
          </a:xfrm>
          <a:ln/>
        </p:spPr>
      </p:sp>
      <p:sp>
        <p:nvSpPr>
          <p:cNvPr id="9221" name="Rectangle 3"/>
          <p:cNvSpPr>
            <a:spLocks noGrp="1" noChangeArrowheads="1"/>
          </p:cNvSpPr>
          <p:nvPr>
            <p:ph type="body" idx="1"/>
          </p:nvPr>
        </p:nvSpPr>
        <p:spPr>
          <a:xfrm>
            <a:off x="914401" y="4343400"/>
            <a:ext cx="5029200" cy="41148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824" tIns="47416" rIns="94824" bIns="47416"/>
          <a:lstStyle/>
          <a:p>
            <a:pPr eaLnBrk="1" hangingPunct="1"/>
            <a:endParaRPr lang="tr-TR" noProof="1"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7"/>
          <p:cNvSpPr txBox="1">
            <a:spLocks noGrp="1" noChangeArrowheads="1"/>
          </p:cNvSpPr>
          <p:nvPr/>
        </p:nvSpPr>
        <p:spPr bwMode="auto">
          <a:xfrm>
            <a:off x="3884613" y="8685214"/>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fld id="{6E330F20-444A-4464-B978-054059175808}" type="slidenum">
              <a:rPr sz="1200" noProof="1">
                <a:solidFill>
                  <a:prstClr val="black"/>
                </a:solidFill>
              </a:rPr>
              <a:pPr algn="r" eaLnBrk="1" hangingPunct="1"/>
              <a:t>16</a:t>
            </a:fld>
            <a:endParaRPr lang="tr-TR" sz="1200" noProof="1">
              <a:solidFill>
                <a:prstClr val="black"/>
              </a:solidFill>
            </a:endParaRPr>
          </a:p>
        </p:txBody>
      </p:sp>
      <p:sp>
        <p:nvSpPr>
          <p:cNvPr id="9219" name="Rectangle 7"/>
          <p:cNvSpPr txBox="1">
            <a:spLocks noGrp="1" noChangeArrowheads="1"/>
          </p:cNvSpPr>
          <p:nvPr/>
        </p:nvSpPr>
        <p:spPr bwMode="auto">
          <a:xfrm>
            <a:off x="3887788" y="8689976"/>
            <a:ext cx="2970212" cy="454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824" tIns="47416" rIns="94824" bIns="47416" anchor="b"/>
          <a:lstStyle>
            <a:lvl1pPr defTabSz="947738" eaLnBrk="0" hangingPunct="0">
              <a:defRPr>
                <a:solidFill>
                  <a:schemeClr val="tx1"/>
                </a:solidFill>
                <a:latin typeface="Arial" charset="0"/>
                <a:cs typeface="Arial" charset="0"/>
              </a:defRPr>
            </a:lvl1pPr>
            <a:lvl2pPr marL="742950" indent="-285750" defTabSz="947738" eaLnBrk="0" hangingPunct="0">
              <a:defRPr>
                <a:solidFill>
                  <a:schemeClr val="tx1"/>
                </a:solidFill>
                <a:latin typeface="Arial" charset="0"/>
                <a:cs typeface="Arial" charset="0"/>
              </a:defRPr>
            </a:lvl2pPr>
            <a:lvl3pPr marL="1143000" indent="-228600" defTabSz="947738" eaLnBrk="0" hangingPunct="0">
              <a:defRPr>
                <a:solidFill>
                  <a:schemeClr val="tx1"/>
                </a:solidFill>
                <a:latin typeface="Arial" charset="0"/>
                <a:cs typeface="Arial" charset="0"/>
              </a:defRPr>
            </a:lvl3pPr>
            <a:lvl4pPr marL="1600200" indent="-228600" defTabSz="947738" eaLnBrk="0" hangingPunct="0">
              <a:defRPr>
                <a:solidFill>
                  <a:schemeClr val="tx1"/>
                </a:solidFill>
                <a:latin typeface="Arial" charset="0"/>
                <a:cs typeface="Arial" charset="0"/>
              </a:defRPr>
            </a:lvl4pPr>
            <a:lvl5pPr marL="2057400" indent="-228600" defTabSz="947738" eaLnBrk="0" hangingPunct="0">
              <a:defRPr>
                <a:solidFill>
                  <a:schemeClr val="tx1"/>
                </a:solidFill>
                <a:latin typeface="Arial" charset="0"/>
                <a:cs typeface="Arial" charset="0"/>
              </a:defRPr>
            </a:lvl5pPr>
            <a:lvl6pPr marL="2514600" indent="-228600" defTabSz="947738" eaLnBrk="0" fontAlgn="base" hangingPunct="0">
              <a:spcBef>
                <a:spcPct val="0"/>
              </a:spcBef>
              <a:spcAft>
                <a:spcPct val="0"/>
              </a:spcAft>
              <a:defRPr>
                <a:solidFill>
                  <a:schemeClr val="tx1"/>
                </a:solidFill>
                <a:latin typeface="Arial" charset="0"/>
                <a:cs typeface="Arial" charset="0"/>
              </a:defRPr>
            </a:lvl6pPr>
            <a:lvl7pPr marL="2971800" indent="-228600" defTabSz="947738" eaLnBrk="0" fontAlgn="base" hangingPunct="0">
              <a:spcBef>
                <a:spcPct val="0"/>
              </a:spcBef>
              <a:spcAft>
                <a:spcPct val="0"/>
              </a:spcAft>
              <a:defRPr>
                <a:solidFill>
                  <a:schemeClr val="tx1"/>
                </a:solidFill>
                <a:latin typeface="Arial" charset="0"/>
                <a:cs typeface="Arial" charset="0"/>
              </a:defRPr>
            </a:lvl7pPr>
            <a:lvl8pPr marL="3429000" indent="-228600" defTabSz="947738" eaLnBrk="0" fontAlgn="base" hangingPunct="0">
              <a:spcBef>
                <a:spcPct val="0"/>
              </a:spcBef>
              <a:spcAft>
                <a:spcPct val="0"/>
              </a:spcAft>
              <a:defRPr>
                <a:solidFill>
                  <a:schemeClr val="tx1"/>
                </a:solidFill>
                <a:latin typeface="Arial" charset="0"/>
                <a:cs typeface="Arial" charset="0"/>
              </a:defRPr>
            </a:lvl8pPr>
            <a:lvl9pPr marL="3886200" indent="-228600" defTabSz="947738" eaLnBrk="0" fontAlgn="base" hangingPunct="0">
              <a:spcBef>
                <a:spcPct val="0"/>
              </a:spcBef>
              <a:spcAft>
                <a:spcPct val="0"/>
              </a:spcAft>
              <a:defRPr>
                <a:solidFill>
                  <a:schemeClr val="tx1"/>
                </a:solidFill>
                <a:latin typeface="Arial" charset="0"/>
                <a:cs typeface="Arial" charset="0"/>
              </a:defRPr>
            </a:lvl9pPr>
          </a:lstStyle>
          <a:p>
            <a:pPr algn="r" eaLnBrk="1" hangingPunct="1"/>
            <a:fld id="{9CE1E929-DFDD-448B-9B86-3881F281660B}" type="slidenum">
              <a:rPr lang="en-GB" sz="1300">
                <a:solidFill>
                  <a:prstClr val="black"/>
                </a:solidFill>
              </a:rPr>
              <a:pPr algn="r" eaLnBrk="1" hangingPunct="1"/>
              <a:t>16</a:t>
            </a:fld>
            <a:endParaRPr lang="en-GB" sz="1300">
              <a:solidFill>
                <a:prstClr val="black"/>
              </a:solidFill>
            </a:endParaRPr>
          </a:p>
        </p:txBody>
      </p:sp>
      <p:sp>
        <p:nvSpPr>
          <p:cNvPr id="9220" name="Rectangle 2"/>
          <p:cNvSpPr>
            <a:spLocks noGrp="1" noRot="1" noChangeAspect="1" noChangeArrowheads="1" noTextEdit="1"/>
          </p:cNvSpPr>
          <p:nvPr>
            <p:ph type="sldImg"/>
          </p:nvPr>
        </p:nvSpPr>
        <p:spPr>
          <a:xfrm>
            <a:off x="1143000" y="685800"/>
            <a:ext cx="4573588" cy="3430588"/>
          </a:xfrm>
          <a:ln/>
        </p:spPr>
      </p:sp>
      <p:sp>
        <p:nvSpPr>
          <p:cNvPr id="9221" name="Rectangle 3"/>
          <p:cNvSpPr>
            <a:spLocks noGrp="1" noChangeArrowheads="1"/>
          </p:cNvSpPr>
          <p:nvPr>
            <p:ph type="body" idx="1"/>
          </p:nvPr>
        </p:nvSpPr>
        <p:spPr>
          <a:xfrm>
            <a:off x="914401" y="4343400"/>
            <a:ext cx="5029200" cy="41148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824" tIns="47416" rIns="94824" bIns="47416"/>
          <a:lstStyle/>
          <a:p>
            <a:pPr eaLnBrk="1" hangingPunct="1"/>
            <a:endParaRPr lang="tr-TR" noProof="1"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tr-TR" dirty="0" smtClean="0"/>
              <a:t>Avrupa’da elektronik fatura çalışmalarının kaynağı 2001/115/EC Avrupa Birliği KDV direktifidir. Elektronik verinin değişmezliğinin, kaynağının doğruluğunun, bütünlüğünün ve okunabilirliğinin sağlanması için kullanılacak yöntemlerden biri olarak elektronik imza kabul edilmiştir. </a:t>
            </a:r>
            <a:r>
              <a:rPr lang="tr-TR" sz="1200" kern="1200" dirty="0" smtClean="0">
                <a:solidFill>
                  <a:schemeClr val="tx1"/>
                </a:solidFill>
                <a:latin typeface="+mn-lt"/>
                <a:ea typeface="+mn-ea"/>
                <a:cs typeface="+mn-cs"/>
              </a:rPr>
              <a:t>(İş alemi) ve hane halkının % 100 ü kamudan fatura almaktadır. Bu nedenle kamu sektörünün e-fatura girişimleri ülkedeki e-fatura çalışmaları için anahtar görevi üstlenir. </a:t>
            </a:r>
            <a:r>
              <a:rPr lang="tr-TR" dirty="0" smtClean="0"/>
              <a:t> Kamunun öncülüğünde geliştirilen elektronik fatura uygulamaları elektronik faturanın gelişiminde anahtar rol oynamaktadır. Avrupa’da e-fatura paylaşımında lider ülkelere baktığımızda kamuya gönderilen faturaların e-fatura olması zorunluluğu uyumu ve katılımı arttırmıştır. </a:t>
            </a:r>
          </a:p>
          <a:p>
            <a:endParaRPr lang="tr-TR" dirty="0"/>
          </a:p>
        </p:txBody>
      </p:sp>
      <p:sp>
        <p:nvSpPr>
          <p:cNvPr id="4" name="Slayt Numarası Yer Tutucusu 3"/>
          <p:cNvSpPr>
            <a:spLocks noGrp="1"/>
          </p:cNvSpPr>
          <p:nvPr>
            <p:ph type="sldNum" sz="quarter" idx="10"/>
          </p:nvPr>
        </p:nvSpPr>
        <p:spPr/>
        <p:txBody>
          <a:bodyPr/>
          <a:lstStyle/>
          <a:p>
            <a:fld id="{53B23729-2A39-4DF0-93F3-28D0AECFA361}" type="slidenum">
              <a:rPr lang="tr-TR" smtClean="0"/>
              <a:t>19</a:t>
            </a:fld>
            <a:endParaRPr lang="tr-TR"/>
          </a:p>
        </p:txBody>
      </p:sp>
    </p:spTree>
    <p:extLst>
      <p:ext uri="{BB962C8B-B14F-4D97-AF65-F5344CB8AC3E}">
        <p14:creationId xmlns:p14="http://schemas.microsoft.com/office/powerpoint/2010/main" val="11154474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pPr eaLnBrk="1" hangingPunct="1">
              <a:spcBef>
                <a:spcPct val="0"/>
              </a:spcBef>
            </a:pPr>
            <a:r>
              <a:rPr lang="tr-TR" dirty="0" smtClean="0"/>
              <a:t>Danimarka’da kamuya gönderilen faturalar e-fatura olması zorunludur. İspanya’da kamu  e-fatura uygulamalarının gelişiminde öncüdür ve yaygınlaşmasında anahtar rol üstlenmiştir. Finlandiya Hazine Bakanlığına gönderilecek faturalar 2010 yılından beri e-fatura olarak gönderiliyor. Norveç 2012 yılında kamuya gönderilen tüm faturaların tek bir elektronik platform aracılığı ile gönderilmesi zorunluluğunu getirmiştir. İsveç benzer şekilde e-fatura uygulamalarına öncülük ediyor 2008’den itibaren kamuya gönderilen faturaların e-fatura olması zorunlu, elektronik faturanın transferine ilişkin düzenlemeleri ve kontrolleri vergi idareleri yapıyor. Latin Amerika ülkelerinde vergi kayıp ve kaçağını önleme çalışmaları kapsamında e-fatura kullanımı zorunlu kılınmıştır. Kapsamlı ve kontrollü uygulamalar geliştirilmiştir.</a:t>
            </a:r>
          </a:p>
          <a:p>
            <a:pPr eaLnBrk="1" hangingPunct="1">
              <a:spcBef>
                <a:spcPct val="0"/>
              </a:spcBef>
            </a:pPr>
            <a:endParaRPr lang="tr-TR" dirty="0" smtClean="0"/>
          </a:p>
          <a:p>
            <a:pPr eaLnBrk="1" hangingPunct="1">
              <a:spcBef>
                <a:spcPct val="0"/>
              </a:spcBef>
            </a:pPr>
            <a:r>
              <a:rPr lang="tr-TR" dirty="0" smtClean="0"/>
              <a:t>AB</a:t>
            </a:r>
          </a:p>
          <a:p>
            <a:pPr eaLnBrk="1" hangingPunct="1">
              <a:lnSpc>
                <a:spcPct val="90000"/>
              </a:lnSpc>
            </a:pPr>
            <a:r>
              <a:rPr lang="tr-TR" sz="2200" dirty="0" smtClean="0"/>
              <a:t>e-Fatura uygulamaları görece eski teknolojiye dayanmaktadır. </a:t>
            </a:r>
          </a:p>
          <a:p>
            <a:pPr lvl="1" eaLnBrk="1" hangingPunct="1">
              <a:lnSpc>
                <a:spcPct val="90000"/>
              </a:lnSpc>
            </a:pPr>
            <a:r>
              <a:rPr lang="tr-TR" sz="2200" dirty="0" smtClean="0"/>
              <a:t>Gelişen teknolojilere açıklık ve uyum</a:t>
            </a:r>
          </a:p>
          <a:p>
            <a:pPr lvl="1" eaLnBrk="1" hangingPunct="1">
              <a:lnSpc>
                <a:spcPct val="90000"/>
              </a:lnSpc>
            </a:pPr>
            <a:r>
              <a:rPr lang="tr-TR" sz="2200" dirty="0" smtClean="0"/>
              <a:t>Yerleşmiş piyasa ve eski yapıların koordinasyonunun zorluğu</a:t>
            </a:r>
          </a:p>
          <a:p>
            <a:pPr lvl="1" eaLnBrk="1" hangingPunct="1">
              <a:lnSpc>
                <a:spcPct val="90000"/>
              </a:lnSpc>
            </a:pPr>
            <a:r>
              <a:rPr lang="tr-TR" sz="2200" dirty="0" smtClean="0"/>
              <a:t>Potansiyel kullanıcıların e-fatura kullanımına adaptasyonu ve güvenlik kaygıları</a:t>
            </a:r>
          </a:p>
          <a:p>
            <a:pPr lvl="1" eaLnBrk="1" hangingPunct="1">
              <a:lnSpc>
                <a:spcPct val="90000"/>
              </a:lnSpc>
            </a:pPr>
            <a:r>
              <a:rPr lang="tr-TR" sz="2200" dirty="0" smtClean="0"/>
              <a:t>Geniş ölçekli yapıların oluşturulamaması-KOBİ’leri kapsamakta güçlük çekiyor.</a:t>
            </a:r>
          </a:p>
          <a:p>
            <a:pPr eaLnBrk="1" hangingPunct="1">
              <a:lnSpc>
                <a:spcPct val="90000"/>
              </a:lnSpc>
            </a:pPr>
            <a:r>
              <a:rPr lang="tr-TR" sz="2200" dirty="0" smtClean="0"/>
              <a:t>Elektronik faturalamada birden fazla standart ve format bulunmaktadır. </a:t>
            </a:r>
          </a:p>
          <a:p>
            <a:pPr lvl="1" eaLnBrk="1" hangingPunct="1">
              <a:lnSpc>
                <a:spcPct val="90000"/>
              </a:lnSpc>
            </a:pPr>
            <a:r>
              <a:rPr lang="tr-TR" sz="2200" dirty="0" smtClean="0"/>
              <a:t>Birlikte çalışabilirliğin sağlanamaması</a:t>
            </a:r>
          </a:p>
          <a:p>
            <a:pPr lvl="1" eaLnBrk="1" hangingPunct="1">
              <a:lnSpc>
                <a:spcPct val="90000"/>
              </a:lnSpc>
            </a:pPr>
            <a:r>
              <a:rPr lang="tr-TR" sz="2200" dirty="0" smtClean="0"/>
              <a:t>Format dönüşümlerinin maliyet kalemi olarak yansıması</a:t>
            </a:r>
          </a:p>
          <a:p>
            <a:pPr eaLnBrk="1" hangingPunct="1">
              <a:lnSpc>
                <a:spcPct val="90000"/>
              </a:lnSpc>
            </a:pPr>
            <a:r>
              <a:rPr lang="tr-TR" sz="2200" dirty="0" smtClean="0"/>
              <a:t>Elektronik faturanın güvenlik, doğruluk ve bütünlük kontrolünde Birbiri ile uyumsuz ve farklı birçok yöntem kullanılmaktadır.</a:t>
            </a:r>
          </a:p>
          <a:p>
            <a:pPr lvl="1" eaLnBrk="1" hangingPunct="1">
              <a:lnSpc>
                <a:spcPct val="90000"/>
              </a:lnSpc>
            </a:pPr>
            <a:r>
              <a:rPr lang="tr-TR" sz="2200" dirty="0" smtClean="0"/>
              <a:t>Denetim birimleri kamu otoriteleri için daha fazla teknoloji hakkında bilgi sahibi olma ve altyapı oluşturma ihtiyacı </a:t>
            </a:r>
          </a:p>
          <a:p>
            <a:pPr lvl="0" eaLnBrk="1" hangingPunct="1">
              <a:lnSpc>
                <a:spcPct val="90000"/>
              </a:lnSpc>
            </a:pPr>
            <a:endParaRPr lang="tr-TR" sz="2200" dirty="0" smtClean="0"/>
          </a:p>
          <a:p>
            <a:pPr lvl="0" eaLnBrk="1" hangingPunct="1">
              <a:lnSpc>
                <a:spcPct val="90000"/>
              </a:lnSpc>
            </a:pPr>
            <a:r>
              <a:rPr lang="tr-TR" sz="2200" dirty="0" smtClean="0"/>
              <a:t>ASYA</a:t>
            </a:r>
          </a:p>
          <a:p>
            <a:pPr lvl="0" eaLnBrk="1" hangingPunct="1">
              <a:lnSpc>
                <a:spcPct val="90000"/>
              </a:lnSpc>
            </a:pPr>
            <a:endParaRPr lang="tr-TR" sz="2200" dirty="0" smtClean="0"/>
          </a:p>
          <a:p>
            <a:pPr lvl="0" eaLnBrk="1" hangingPunct="1">
              <a:lnSpc>
                <a:spcPct val="90000"/>
              </a:lnSpc>
            </a:pPr>
            <a:r>
              <a:rPr lang="tr-TR" sz="2200" dirty="0" smtClean="0"/>
              <a:t>LATİN</a:t>
            </a:r>
            <a:r>
              <a:rPr lang="tr-TR" sz="2200" baseline="0" dirty="0" smtClean="0"/>
              <a:t> AMERİKA</a:t>
            </a:r>
          </a:p>
          <a:p>
            <a:pPr lvl="0" eaLnBrk="1" hangingPunct="1">
              <a:lnSpc>
                <a:spcPct val="90000"/>
              </a:lnSpc>
            </a:pPr>
            <a:endParaRPr lang="tr-TR" sz="2200" baseline="0" dirty="0" smtClean="0"/>
          </a:p>
          <a:p>
            <a:pPr>
              <a:defRPr/>
            </a:pPr>
            <a:r>
              <a:rPr lang="tr-TR" sz="2400" dirty="0" smtClean="0"/>
              <a:t>Latin </a:t>
            </a:r>
            <a:r>
              <a:rPr lang="tr-TR" sz="2400" dirty="0" err="1" smtClean="0"/>
              <a:t>Amerikada</a:t>
            </a:r>
            <a:r>
              <a:rPr lang="tr-TR" sz="2400" baseline="0" dirty="0" smtClean="0"/>
              <a:t> </a:t>
            </a:r>
            <a:r>
              <a:rPr lang="tr-TR" sz="2400" dirty="0" smtClean="0"/>
              <a:t>Birçok piyasa aktivitesini başlatan hükümet olmuştur. Vergi otoriteleri tarafından gerçek zamanlı veya veri madenciliği yöntemleri ile doğrulama yapmaktadır vergi kaçırmayı önleme çalışmaları, e-faturanın yaygınlaşmasında en önemli etkendir.</a:t>
            </a:r>
          </a:p>
          <a:p>
            <a:pPr>
              <a:defRPr/>
            </a:pPr>
            <a:r>
              <a:rPr lang="tr-TR" sz="2400" dirty="0" smtClean="0"/>
              <a:t>Dünyadaki en sert yasal zorunluluklara sahip olmalarına rağmen, Latin Amerika’daki bazı ülkeler küresel lider rolünü üstlenmiştir. Sadece yüksek piyasa etki oranları(Brezilya’da %90) değil, ayrıca modelleri Asya ve Güney Avrupa’daki büyük ülkeleri etkilemektedir.</a:t>
            </a:r>
          </a:p>
          <a:p>
            <a:pPr>
              <a:defRPr/>
            </a:pPr>
            <a:r>
              <a:rPr lang="tr-TR" sz="2400" dirty="0" smtClean="0"/>
              <a:t>Latin Amerika ülkelerindeki e-faturanın karakteristik özellikleri:</a:t>
            </a:r>
          </a:p>
          <a:p>
            <a:pPr>
              <a:defRPr/>
            </a:pPr>
            <a:r>
              <a:rPr lang="tr-TR" sz="2400" dirty="0" smtClean="0"/>
              <a:t>Vergi otoriteleri tarafından sağlanan tekil ve müteselsil fatura numaraları</a:t>
            </a:r>
          </a:p>
          <a:p>
            <a:pPr>
              <a:defRPr/>
            </a:pPr>
            <a:r>
              <a:rPr lang="tr-TR" sz="2400" dirty="0" smtClean="0"/>
              <a:t>Dijital fatura kullanımı</a:t>
            </a:r>
          </a:p>
          <a:p>
            <a:pPr>
              <a:defRPr/>
            </a:pPr>
            <a:r>
              <a:rPr lang="tr-TR" sz="2400" dirty="0" smtClean="0"/>
              <a:t>Ulusal çapta XML standartları</a:t>
            </a:r>
          </a:p>
          <a:p>
            <a:pPr>
              <a:defRPr/>
            </a:pPr>
            <a:r>
              <a:rPr lang="tr-TR" sz="2400" dirty="0" smtClean="0"/>
              <a:t>Vergi otoritelerine düzenli raporlama(</a:t>
            </a:r>
            <a:r>
              <a:rPr lang="tr-TR" sz="2400" dirty="0" err="1" smtClean="0"/>
              <a:t>Örn</a:t>
            </a:r>
            <a:r>
              <a:rPr lang="tr-TR" sz="2400" dirty="0" smtClean="0"/>
              <a:t>: Brezilya’da taşınmadan önce “E-fatura alındı” mesajı)</a:t>
            </a:r>
          </a:p>
          <a:p>
            <a:pPr>
              <a:defRPr/>
            </a:pPr>
            <a:r>
              <a:rPr lang="tr-TR" sz="2400" dirty="0" smtClean="0"/>
              <a:t>Tedarikçi faturalarının gözden geçirdikten/onayladıktan sonra e- faturalar sonra vergi idaresi tarafından görünür bir mühür ile </a:t>
            </a:r>
            <a:r>
              <a:rPr lang="tr-TR" sz="2400" dirty="0" err="1" smtClean="0"/>
              <a:t>mühürlenirbir</a:t>
            </a:r>
            <a:r>
              <a:rPr lang="tr-TR" sz="2400" dirty="0" smtClean="0"/>
              <a:t> kod veya barkod</a:t>
            </a:r>
          </a:p>
          <a:p>
            <a:pPr>
              <a:defRPr/>
            </a:pPr>
            <a:r>
              <a:rPr lang="tr-TR" sz="2400" dirty="0" smtClean="0"/>
              <a:t>Servis sağlayıcılar anahtar bir rol oynamaktadır. </a:t>
            </a:r>
          </a:p>
          <a:p>
            <a:pPr lvl="0" eaLnBrk="1" hangingPunct="1">
              <a:lnSpc>
                <a:spcPct val="90000"/>
              </a:lnSpc>
            </a:pPr>
            <a:endParaRPr lang="tr-TR" sz="2200" dirty="0" smtClean="0"/>
          </a:p>
          <a:p>
            <a:endParaRPr lang="tr-TR" dirty="0" smtClean="0"/>
          </a:p>
          <a:p>
            <a:pPr eaLnBrk="1" hangingPunct="1">
              <a:spcBef>
                <a:spcPct val="0"/>
              </a:spcBef>
            </a:pPr>
            <a:endParaRPr lang="tr-TR" dirty="0" smtClean="0"/>
          </a:p>
          <a:p>
            <a:endParaRPr lang="tr-TR" dirty="0" smtClean="0"/>
          </a:p>
          <a:p>
            <a:endParaRPr lang="tr-TR" dirty="0"/>
          </a:p>
        </p:txBody>
      </p:sp>
      <p:sp>
        <p:nvSpPr>
          <p:cNvPr id="4" name="Slayt Numarası Yer Tutucusu 3"/>
          <p:cNvSpPr>
            <a:spLocks noGrp="1"/>
          </p:cNvSpPr>
          <p:nvPr>
            <p:ph type="sldNum" sz="quarter" idx="10"/>
          </p:nvPr>
        </p:nvSpPr>
        <p:spPr/>
        <p:txBody>
          <a:bodyPr/>
          <a:lstStyle/>
          <a:p>
            <a:fld id="{53B23729-2A39-4DF0-93F3-28D0AECFA361}" type="slidenum">
              <a:rPr lang="tr-TR" smtClean="0"/>
              <a:t>20</a:t>
            </a:fld>
            <a:endParaRPr lang="tr-TR"/>
          </a:p>
        </p:txBody>
      </p:sp>
    </p:spTree>
    <p:extLst>
      <p:ext uri="{BB962C8B-B14F-4D97-AF65-F5344CB8AC3E}">
        <p14:creationId xmlns:p14="http://schemas.microsoft.com/office/powerpoint/2010/main" val="40514524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fld id="{0C1CE493-7AFC-4DD9-AFE9-D9234BAF7164}" type="slidenum">
              <a:rPr lang="tr-TR" smtClean="0"/>
              <a:pPr/>
              <a:t>21</a:t>
            </a:fld>
            <a:endParaRPr lang="tr-TR"/>
          </a:p>
        </p:txBody>
      </p:sp>
    </p:spTree>
    <p:extLst>
      <p:ext uri="{BB962C8B-B14F-4D97-AF65-F5344CB8AC3E}">
        <p14:creationId xmlns:p14="http://schemas.microsoft.com/office/powerpoint/2010/main" val="203156265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Başlık Slaydı">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tr-TR" smtClean="0"/>
              <a:t>Asıl başlık stili için tıklatın</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tr-TR" smtClean="0"/>
              <a:t>Asıl alt başlık stilini düzenlemek için tıklatın</a:t>
            </a:r>
            <a:endParaRPr lang="en-US"/>
          </a:p>
        </p:txBody>
      </p:sp>
      <p:sp>
        <p:nvSpPr>
          <p:cNvPr id="4" name="Date Placeholder 3"/>
          <p:cNvSpPr>
            <a:spLocks noGrp="1"/>
          </p:cNvSpPr>
          <p:nvPr>
            <p:ph type="dt" sz="half" idx="10"/>
          </p:nvPr>
        </p:nvSpPr>
        <p:spPr/>
        <p:txBody>
          <a:bodyPr/>
          <a:lstStyle>
            <a:lvl1pPr>
              <a:defRPr/>
            </a:lvl1pPr>
          </a:lstStyle>
          <a:p>
            <a:fld id="{CCAB9216-235F-48A0-8BA1-26C3D6897314}" type="datetime1">
              <a:rPr lang="en-US" smtClean="0"/>
              <a:pPr/>
              <a:t>8/16/2013</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fld id="{C8205D14-C63C-4F2F-BEA9-06D019E0C3E0}" type="slidenum">
              <a:rPr lang="en-US" smtClean="0"/>
              <a:pPr/>
              <a:t>‹#›</a:t>
            </a:fld>
            <a:endParaRPr lang="en-US"/>
          </a:p>
        </p:txBody>
      </p:sp>
    </p:spTree>
    <p:extLst>
      <p:ext uri="{BB962C8B-B14F-4D97-AF65-F5344CB8AC3E}">
        <p14:creationId xmlns:p14="http://schemas.microsoft.com/office/powerpoint/2010/main" val="268111516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Başlık, Dikey Meti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tr-TR" smtClean="0"/>
              <a:t>Asıl başlık stili için tıklatın</a:t>
            </a:r>
            <a:endParaRPr lang="en-US"/>
          </a:p>
        </p:txBody>
      </p:sp>
      <p:sp>
        <p:nvSpPr>
          <p:cNvPr id="3" name="Vertical Text Placeholder 2"/>
          <p:cNvSpPr>
            <a:spLocks noGrp="1"/>
          </p:cNvSpPr>
          <p:nvPr>
            <p:ph type="body" orient="vert" idx="1"/>
          </p:nvPr>
        </p:nvSpPr>
        <p:spPr/>
        <p:txBody>
          <a:bodyPr vert="eaVert"/>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en-US"/>
          </a:p>
        </p:txBody>
      </p:sp>
      <p:sp>
        <p:nvSpPr>
          <p:cNvPr id="4" name="Date Placeholder 3"/>
          <p:cNvSpPr>
            <a:spLocks noGrp="1"/>
          </p:cNvSpPr>
          <p:nvPr>
            <p:ph type="dt" sz="half" idx="10"/>
          </p:nvPr>
        </p:nvSpPr>
        <p:spPr/>
        <p:txBody>
          <a:bodyPr/>
          <a:lstStyle>
            <a:lvl1pPr>
              <a:defRPr/>
            </a:lvl1pPr>
          </a:lstStyle>
          <a:p>
            <a:fld id="{F1ACDC0D-D936-48C8-9933-7702535382B4}" type="datetimeFigureOut">
              <a:rPr lang="tr-TR" smtClean="0"/>
              <a:pPr/>
              <a:t>16.08.2013</a:t>
            </a:fld>
            <a:endParaRPr lang="tr-TR"/>
          </a:p>
        </p:txBody>
      </p:sp>
      <p:sp>
        <p:nvSpPr>
          <p:cNvPr id="5" name="Footer Placeholder 4"/>
          <p:cNvSpPr>
            <a:spLocks noGrp="1"/>
          </p:cNvSpPr>
          <p:nvPr>
            <p:ph type="ftr" sz="quarter" idx="11"/>
          </p:nvPr>
        </p:nvSpPr>
        <p:spPr/>
        <p:txBody>
          <a:bodyPr/>
          <a:lstStyle>
            <a:lvl1pPr>
              <a:defRPr/>
            </a:lvl1pPr>
          </a:lstStyle>
          <a:p>
            <a:endParaRPr lang="tr-TR"/>
          </a:p>
        </p:txBody>
      </p:sp>
      <p:sp>
        <p:nvSpPr>
          <p:cNvPr id="6" name="Slide Number Placeholder 5"/>
          <p:cNvSpPr>
            <a:spLocks noGrp="1"/>
          </p:cNvSpPr>
          <p:nvPr>
            <p:ph type="sldNum" sz="quarter" idx="12"/>
          </p:nvPr>
        </p:nvSpPr>
        <p:spPr/>
        <p:txBody>
          <a:bodyPr/>
          <a:lstStyle>
            <a:lvl1pPr>
              <a:defRPr/>
            </a:lvl1pPr>
          </a:lstStyle>
          <a:p>
            <a:fld id="{63D10EEA-996B-42F1-9986-050816E21B85}" type="slidenum">
              <a:rPr lang="tr-TR" smtClean="0"/>
              <a:pPr/>
              <a:t>‹#›</a:t>
            </a:fld>
            <a:endParaRPr lang="tr-TR"/>
          </a:p>
        </p:txBody>
      </p:sp>
    </p:spTree>
    <p:extLst>
      <p:ext uri="{BB962C8B-B14F-4D97-AF65-F5344CB8AC3E}">
        <p14:creationId xmlns:p14="http://schemas.microsoft.com/office/powerpoint/2010/main" val="10786614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Dikey Başlık ve Metin">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tr-TR" smtClean="0"/>
              <a:t>Asıl başlık stili için tıklatın</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en-US"/>
          </a:p>
        </p:txBody>
      </p:sp>
      <p:sp>
        <p:nvSpPr>
          <p:cNvPr id="4" name="Date Placeholder 3"/>
          <p:cNvSpPr>
            <a:spLocks noGrp="1"/>
          </p:cNvSpPr>
          <p:nvPr>
            <p:ph type="dt" sz="half" idx="10"/>
          </p:nvPr>
        </p:nvSpPr>
        <p:spPr/>
        <p:txBody>
          <a:bodyPr/>
          <a:lstStyle>
            <a:lvl1pPr>
              <a:defRPr/>
            </a:lvl1pPr>
          </a:lstStyle>
          <a:p>
            <a:fld id="{F1ACDC0D-D936-48C8-9933-7702535382B4}" type="datetimeFigureOut">
              <a:rPr lang="tr-TR" smtClean="0"/>
              <a:pPr/>
              <a:t>16.08.2013</a:t>
            </a:fld>
            <a:endParaRPr lang="tr-TR"/>
          </a:p>
        </p:txBody>
      </p:sp>
      <p:sp>
        <p:nvSpPr>
          <p:cNvPr id="5" name="Footer Placeholder 4"/>
          <p:cNvSpPr>
            <a:spLocks noGrp="1"/>
          </p:cNvSpPr>
          <p:nvPr>
            <p:ph type="ftr" sz="quarter" idx="11"/>
          </p:nvPr>
        </p:nvSpPr>
        <p:spPr/>
        <p:txBody>
          <a:bodyPr/>
          <a:lstStyle>
            <a:lvl1pPr>
              <a:defRPr/>
            </a:lvl1pPr>
          </a:lstStyle>
          <a:p>
            <a:endParaRPr lang="tr-TR"/>
          </a:p>
        </p:txBody>
      </p:sp>
      <p:sp>
        <p:nvSpPr>
          <p:cNvPr id="6" name="Slide Number Placeholder 5"/>
          <p:cNvSpPr>
            <a:spLocks noGrp="1"/>
          </p:cNvSpPr>
          <p:nvPr>
            <p:ph type="sldNum" sz="quarter" idx="12"/>
          </p:nvPr>
        </p:nvSpPr>
        <p:spPr/>
        <p:txBody>
          <a:bodyPr/>
          <a:lstStyle>
            <a:lvl1pPr>
              <a:defRPr/>
            </a:lvl1pPr>
          </a:lstStyle>
          <a:p>
            <a:fld id="{63D10EEA-996B-42F1-9986-050816E21B85}" type="slidenum">
              <a:rPr lang="tr-TR" smtClean="0"/>
              <a:pPr/>
              <a:t>‹#›</a:t>
            </a:fld>
            <a:endParaRPr lang="tr-TR"/>
          </a:p>
        </p:txBody>
      </p:sp>
    </p:spTree>
    <p:extLst>
      <p:ext uri="{BB962C8B-B14F-4D97-AF65-F5344CB8AC3E}">
        <p14:creationId xmlns:p14="http://schemas.microsoft.com/office/powerpoint/2010/main" val="13527207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Titeldias">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00071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el og indholdsobjekt">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06727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Title - charteo.com / Design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89147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Nur Titel">
    <p:spTree>
      <p:nvGrpSpPr>
        <p:cNvPr id="1" name=""/>
        <p:cNvGrpSpPr/>
        <p:nvPr/>
      </p:nvGrpSpPr>
      <p:grpSpPr>
        <a:xfrm>
          <a:off x="0" y="0"/>
          <a:ext cx="0" cy="0"/>
          <a:chOff x="0" y="0"/>
          <a:chExt cx="0" cy="0"/>
        </a:xfrm>
      </p:grpSpPr>
      <p:sp>
        <p:nvSpPr>
          <p:cNvPr id="2" name="Titel 1"/>
          <p:cNvSpPr>
            <a:spLocks noGrp="1"/>
          </p:cNvSpPr>
          <p:nvPr>
            <p:ph type="title"/>
          </p:nvPr>
        </p:nvSpPr>
        <p:spPr>
          <a:xfrm>
            <a:off x="323850" y="238539"/>
            <a:ext cx="8497092" cy="616455"/>
          </a:xfrm>
          <a:prstGeom prst="rect">
            <a:avLst/>
          </a:prstGeom>
        </p:spPr>
        <p:txBody>
          <a:bodyPr anchor="ctr" anchorCtr="0">
            <a:noAutofit/>
          </a:bodyPr>
          <a:lstStyle>
            <a:lvl1pPr>
              <a:lnSpc>
                <a:spcPct val="100000"/>
              </a:lnSpc>
              <a:defRPr/>
            </a:lvl1pPr>
          </a:lstStyle>
          <a:p>
            <a:r>
              <a:rPr lang="tr-TR" smtClean="0"/>
              <a:t>Asıl başlık stili için tıklatın</a:t>
            </a:r>
            <a:endParaRPr lang="de-DE" dirty="0"/>
          </a:p>
        </p:txBody>
      </p:sp>
      <p:sp>
        <p:nvSpPr>
          <p:cNvPr id="3" name="Datumsplatzhalter 2"/>
          <p:cNvSpPr>
            <a:spLocks noGrp="1"/>
          </p:cNvSpPr>
          <p:nvPr>
            <p:ph type="dt" sz="half" idx="10"/>
          </p:nvPr>
        </p:nvSpPr>
        <p:spPr>
          <a:xfrm>
            <a:off x="457200" y="6356350"/>
            <a:ext cx="2133600" cy="365125"/>
          </a:xfrm>
          <a:prstGeom prst="rect">
            <a:avLst/>
          </a:prstGeom>
        </p:spPr>
        <p:txBody>
          <a:bodyPr/>
          <a:lstStyle/>
          <a:p>
            <a:fld id="{5BB799EC-31C7-4794-9A0E-54A2EBEF5CD8}" type="datetimeFigureOut">
              <a:rPr lang="de-DE" smtClean="0"/>
              <a:pPr/>
              <a:t>16.08.2013</a:t>
            </a:fld>
            <a:endParaRPr lang="de-DE"/>
          </a:p>
        </p:txBody>
      </p:sp>
      <p:sp>
        <p:nvSpPr>
          <p:cNvPr id="4" name="Fußzeilenplatzhalter 3"/>
          <p:cNvSpPr>
            <a:spLocks noGrp="1"/>
          </p:cNvSpPr>
          <p:nvPr>
            <p:ph type="ftr" sz="quarter" idx="11"/>
          </p:nvPr>
        </p:nvSpPr>
        <p:spPr>
          <a:xfrm>
            <a:off x="3124200" y="6356350"/>
            <a:ext cx="2895600" cy="365125"/>
          </a:xfrm>
          <a:prstGeom prst="rect">
            <a:avLst/>
          </a:prstGeom>
        </p:spPr>
        <p:txBody>
          <a:bodyPr/>
          <a:lstStyle/>
          <a:p>
            <a:endParaRPr lang="de-DE"/>
          </a:p>
        </p:txBody>
      </p:sp>
      <p:sp>
        <p:nvSpPr>
          <p:cNvPr id="5" name="Foliennummernplatzhalter 4"/>
          <p:cNvSpPr>
            <a:spLocks noGrp="1"/>
          </p:cNvSpPr>
          <p:nvPr>
            <p:ph type="sldNum" sz="quarter" idx="12"/>
          </p:nvPr>
        </p:nvSpPr>
        <p:spPr>
          <a:xfrm>
            <a:off x="6553200" y="6356350"/>
            <a:ext cx="2133600" cy="365125"/>
          </a:xfrm>
          <a:prstGeom prst="rect">
            <a:avLst/>
          </a:prstGeom>
        </p:spPr>
        <p:txBody>
          <a:bodyPr/>
          <a:lstStyle/>
          <a:p>
            <a:fld id="{45A7F7AE-2E01-4C70-AB25-161A1C7A447D}" type="slidenum">
              <a:rPr lang="de-DE" smtClean="0"/>
              <a:pPr/>
              <a:t>‹#›</a:t>
            </a:fld>
            <a:endParaRPr lang="de-DE"/>
          </a:p>
        </p:txBody>
      </p:sp>
      <p:sp>
        <p:nvSpPr>
          <p:cNvPr id="9" name="Textplatzhalter 7"/>
          <p:cNvSpPr>
            <a:spLocks noGrp="1"/>
          </p:cNvSpPr>
          <p:nvPr>
            <p:ph type="body" sz="quarter" idx="13"/>
          </p:nvPr>
        </p:nvSpPr>
        <p:spPr>
          <a:xfrm>
            <a:off x="323850" y="854994"/>
            <a:ext cx="8496300" cy="336244"/>
          </a:xfrm>
          <a:prstGeom prst="rect">
            <a:avLst/>
          </a:prstGeom>
        </p:spPr>
        <p:txBody>
          <a:bodyPr lIns="0" tIns="0" rIns="0" bIns="0" anchor="t" anchorCtr="0">
            <a:noAutofit/>
          </a:bodyPr>
          <a:lstStyle>
            <a:lvl1pPr>
              <a:buNone/>
              <a:defRPr sz="2000"/>
            </a:lvl1pPr>
          </a:lstStyle>
          <a:p>
            <a:pPr lvl="0"/>
            <a:r>
              <a:rPr lang="tr-TR" smtClean="0"/>
              <a:t>Asıl metin stillerini düzenlemek için tıklatın</a:t>
            </a:r>
          </a:p>
        </p:txBody>
      </p:sp>
    </p:spTree>
    <p:extLst>
      <p:ext uri="{BB962C8B-B14F-4D97-AF65-F5344CB8AC3E}">
        <p14:creationId xmlns:p14="http://schemas.microsoft.com/office/powerpoint/2010/main" val="63908199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Başlık Slaydı">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tr-TR" smtClean="0"/>
              <a:t>Asıl başlık stili için tıklatın</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tr-TR" smtClean="0"/>
              <a:t>Asıl alt başlık stilini düzenlemek için tıklatın</a:t>
            </a:r>
            <a:endParaRPr lang="en-US"/>
          </a:p>
        </p:txBody>
      </p:sp>
      <p:sp>
        <p:nvSpPr>
          <p:cNvPr id="4" name="Date Placeholder 3"/>
          <p:cNvSpPr>
            <a:spLocks noGrp="1"/>
          </p:cNvSpPr>
          <p:nvPr>
            <p:ph type="dt" sz="half" idx="10"/>
          </p:nvPr>
        </p:nvSpPr>
        <p:spPr/>
        <p:txBody>
          <a:bodyPr/>
          <a:lstStyle>
            <a:lvl1pPr defTabSz="914400">
              <a:defRPr/>
            </a:lvl1pPr>
          </a:lstStyle>
          <a:p>
            <a:fld id="{01327760-2052-4452-8DA4-C9852B4C0522}" type="datetimeFigureOut">
              <a:rPr lang="en-US"/>
              <a:pPr/>
              <a:t>8/16/2013</a:t>
            </a:fld>
            <a:endParaRPr lang="en-US"/>
          </a:p>
        </p:txBody>
      </p:sp>
      <p:sp>
        <p:nvSpPr>
          <p:cNvPr id="5" name="Footer Placeholder 4"/>
          <p:cNvSpPr>
            <a:spLocks noGrp="1"/>
          </p:cNvSpPr>
          <p:nvPr>
            <p:ph type="ftr" sz="quarter" idx="11"/>
          </p:nvPr>
        </p:nvSpPr>
        <p:spPr/>
        <p:txBody>
          <a:bodyPr/>
          <a:lstStyle>
            <a:lvl1pPr defTabSz="914400">
              <a:defRPr/>
            </a:lvl1pPr>
          </a:lstStyle>
          <a:p>
            <a:endParaRPr lang="tr-TR"/>
          </a:p>
        </p:txBody>
      </p:sp>
      <p:sp>
        <p:nvSpPr>
          <p:cNvPr id="6" name="Slide Number Placeholder 5"/>
          <p:cNvSpPr>
            <a:spLocks noGrp="1"/>
          </p:cNvSpPr>
          <p:nvPr>
            <p:ph type="sldNum" sz="quarter" idx="12"/>
          </p:nvPr>
        </p:nvSpPr>
        <p:spPr/>
        <p:txBody>
          <a:bodyPr/>
          <a:lstStyle>
            <a:lvl1pPr defTabSz="914400">
              <a:defRPr/>
            </a:lvl1pPr>
          </a:lstStyle>
          <a:p>
            <a:fld id="{6F404CC2-9267-4B5A-B4FC-76F58BFABC39}" type="slidenum">
              <a:rPr lang="en-US"/>
              <a:pPr/>
              <a:t>‹#›</a:t>
            </a:fld>
            <a:endParaRPr lang="en-US"/>
          </a:p>
        </p:txBody>
      </p:sp>
    </p:spTree>
    <p:extLst>
      <p:ext uri="{BB962C8B-B14F-4D97-AF65-F5344CB8AC3E}">
        <p14:creationId xmlns:p14="http://schemas.microsoft.com/office/powerpoint/2010/main" val="252183353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Başlık ve İçeri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tr-TR" smtClean="0"/>
              <a:t>Asıl başlık stili için tıklatın</a:t>
            </a:r>
            <a:endParaRPr lang="en-US"/>
          </a:p>
        </p:txBody>
      </p:sp>
      <p:sp>
        <p:nvSpPr>
          <p:cNvPr id="3" name="Content Placeholder 2"/>
          <p:cNvSpPr>
            <a:spLocks noGrp="1"/>
          </p:cNvSpPr>
          <p:nvPr>
            <p:ph idx="1"/>
          </p:nvPr>
        </p:nvSpPr>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en-US"/>
          </a:p>
        </p:txBody>
      </p:sp>
      <p:sp>
        <p:nvSpPr>
          <p:cNvPr id="4" name="Date Placeholder 3"/>
          <p:cNvSpPr>
            <a:spLocks noGrp="1"/>
          </p:cNvSpPr>
          <p:nvPr>
            <p:ph type="dt" sz="half" idx="10"/>
          </p:nvPr>
        </p:nvSpPr>
        <p:spPr/>
        <p:txBody>
          <a:bodyPr/>
          <a:lstStyle>
            <a:lvl1pPr defTabSz="914400">
              <a:defRPr/>
            </a:lvl1pPr>
          </a:lstStyle>
          <a:p>
            <a:fld id="{BAD1B8F6-AC58-4442-86E9-6BCD9D067D7E}" type="datetimeFigureOut">
              <a:rPr lang="en-US"/>
              <a:pPr/>
              <a:t>8/16/2013</a:t>
            </a:fld>
            <a:endParaRPr lang="en-US"/>
          </a:p>
        </p:txBody>
      </p:sp>
      <p:sp>
        <p:nvSpPr>
          <p:cNvPr id="5" name="Footer Placeholder 4"/>
          <p:cNvSpPr>
            <a:spLocks noGrp="1"/>
          </p:cNvSpPr>
          <p:nvPr>
            <p:ph type="ftr" sz="quarter" idx="11"/>
          </p:nvPr>
        </p:nvSpPr>
        <p:spPr/>
        <p:txBody>
          <a:bodyPr/>
          <a:lstStyle>
            <a:lvl1pPr defTabSz="914400">
              <a:defRPr/>
            </a:lvl1pPr>
          </a:lstStyle>
          <a:p>
            <a:endParaRPr lang="tr-TR"/>
          </a:p>
        </p:txBody>
      </p:sp>
      <p:sp>
        <p:nvSpPr>
          <p:cNvPr id="6" name="Slide Number Placeholder 5"/>
          <p:cNvSpPr>
            <a:spLocks noGrp="1"/>
          </p:cNvSpPr>
          <p:nvPr>
            <p:ph type="sldNum" sz="quarter" idx="12"/>
          </p:nvPr>
        </p:nvSpPr>
        <p:spPr/>
        <p:txBody>
          <a:bodyPr/>
          <a:lstStyle>
            <a:lvl1pPr defTabSz="914400">
              <a:defRPr/>
            </a:lvl1pPr>
          </a:lstStyle>
          <a:p>
            <a:fld id="{4C829491-9C27-470B-849C-3429173492F3}" type="slidenum">
              <a:rPr lang="en-US"/>
              <a:pPr/>
              <a:t>‹#›</a:t>
            </a:fld>
            <a:endParaRPr lang="en-US"/>
          </a:p>
        </p:txBody>
      </p:sp>
    </p:spTree>
    <p:extLst>
      <p:ext uri="{BB962C8B-B14F-4D97-AF65-F5344CB8AC3E}">
        <p14:creationId xmlns:p14="http://schemas.microsoft.com/office/powerpoint/2010/main" val="324324973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Bölüm Üstbilgisi">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tr-TR" smtClean="0"/>
              <a:t>Asıl başlık stili için tıklatın</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tr-TR" smtClean="0"/>
              <a:t>Asıl metin stillerini düzenlemek için tıklatın</a:t>
            </a:r>
          </a:p>
        </p:txBody>
      </p:sp>
      <p:sp>
        <p:nvSpPr>
          <p:cNvPr id="4" name="Date Placeholder 3"/>
          <p:cNvSpPr>
            <a:spLocks noGrp="1"/>
          </p:cNvSpPr>
          <p:nvPr>
            <p:ph type="dt" sz="half" idx="10"/>
          </p:nvPr>
        </p:nvSpPr>
        <p:spPr/>
        <p:txBody>
          <a:bodyPr/>
          <a:lstStyle>
            <a:lvl1pPr defTabSz="914400">
              <a:defRPr/>
            </a:lvl1pPr>
          </a:lstStyle>
          <a:p>
            <a:fld id="{D10D25CD-8275-436A-A5A9-23F3A297AB3E}" type="datetimeFigureOut">
              <a:rPr lang="en-US"/>
              <a:pPr/>
              <a:t>8/16/2013</a:t>
            </a:fld>
            <a:endParaRPr lang="en-US"/>
          </a:p>
        </p:txBody>
      </p:sp>
      <p:sp>
        <p:nvSpPr>
          <p:cNvPr id="5" name="Footer Placeholder 4"/>
          <p:cNvSpPr>
            <a:spLocks noGrp="1"/>
          </p:cNvSpPr>
          <p:nvPr>
            <p:ph type="ftr" sz="quarter" idx="11"/>
          </p:nvPr>
        </p:nvSpPr>
        <p:spPr/>
        <p:txBody>
          <a:bodyPr/>
          <a:lstStyle>
            <a:lvl1pPr defTabSz="914400">
              <a:defRPr/>
            </a:lvl1pPr>
          </a:lstStyle>
          <a:p>
            <a:endParaRPr lang="tr-TR"/>
          </a:p>
        </p:txBody>
      </p:sp>
      <p:sp>
        <p:nvSpPr>
          <p:cNvPr id="6" name="Slide Number Placeholder 5"/>
          <p:cNvSpPr>
            <a:spLocks noGrp="1"/>
          </p:cNvSpPr>
          <p:nvPr>
            <p:ph type="sldNum" sz="quarter" idx="12"/>
          </p:nvPr>
        </p:nvSpPr>
        <p:spPr/>
        <p:txBody>
          <a:bodyPr/>
          <a:lstStyle>
            <a:lvl1pPr defTabSz="914400">
              <a:defRPr/>
            </a:lvl1pPr>
          </a:lstStyle>
          <a:p>
            <a:fld id="{78C3FDC5-D6C6-4B06-B454-68F39740F3D7}" type="slidenum">
              <a:rPr lang="en-US"/>
              <a:pPr/>
              <a:t>‹#›</a:t>
            </a:fld>
            <a:endParaRPr lang="en-US"/>
          </a:p>
        </p:txBody>
      </p:sp>
    </p:spTree>
    <p:extLst>
      <p:ext uri="{BB962C8B-B14F-4D97-AF65-F5344CB8AC3E}">
        <p14:creationId xmlns:p14="http://schemas.microsoft.com/office/powerpoint/2010/main" val="393125664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İki İçeri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tr-TR" smtClean="0"/>
              <a:t>Asıl başlık stili için tıklatın</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en-US"/>
          </a:p>
        </p:txBody>
      </p:sp>
      <p:sp>
        <p:nvSpPr>
          <p:cNvPr id="5" name="Date Placeholder 3"/>
          <p:cNvSpPr>
            <a:spLocks noGrp="1"/>
          </p:cNvSpPr>
          <p:nvPr>
            <p:ph type="dt" sz="half" idx="10"/>
          </p:nvPr>
        </p:nvSpPr>
        <p:spPr/>
        <p:txBody>
          <a:bodyPr/>
          <a:lstStyle>
            <a:lvl1pPr defTabSz="914400">
              <a:defRPr/>
            </a:lvl1pPr>
          </a:lstStyle>
          <a:p>
            <a:fld id="{1CF35117-A50B-48C9-A68B-BC102C41E149}" type="datetimeFigureOut">
              <a:rPr lang="en-US"/>
              <a:pPr/>
              <a:t>8/16/2013</a:t>
            </a:fld>
            <a:endParaRPr lang="en-US"/>
          </a:p>
        </p:txBody>
      </p:sp>
      <p:sp>
        <p:nvSpPr>
          <p:cNvPr id="6" name="Footer Placeholder 4"/>
          <p:cNvSpPr>
            <a:spLocks noGrp="1"/>
          </p:cNvSpPr>
          <p:nvPr>
            <p:ph type="ftr" sz="quarter" idx="11"/>
          </p:nvPr>
        </p:nvSpPr>
        <p:spPr/>
        <p:txBody>
          <a:bodyPr/>
          <a:lstStyle>
            <a:lvl1pPr defTabSz="914400">
              <a:defRPr/>
            </a:lvl1pPr>
          </a:lstStyle>
          <a:p>
            <a:endParaRPr lang="tr-TR"/>
          </a:p>
        </p:txBody>
      </p:sp>
      <p:sp>
        <p:nvSpPr>
          <p:cNvPr id="7" name="Slide Number Placeholder 5"/>
          <p:cNvSpPr>
            <a:spLocks noGrp="1"/>
          </p:cNvSpPr>
          <p:nvPr>
            <p:ph type="sldNum" sz="quarter" idx="12"/>
          </p:nvPr>
        </p:nvSpPr>
        <p:spPr/>
        <p:txBody>
          <a:bodyPr/>
          <a:lstStyle>
            <a:lvl1pPr defTabSz="914400">
              <a:defRPr/>
            </a:lvl1pPr>
          </a:lstStyle>
          <a:p>
            <a:fld id="{343827AD-91C3-43ED-AD8C-C903454D3230}" type="slidenum">
              <a:rPr lang="en-US"/>
              <a:pPr/>
              <a:t>‹#›</a:t>
            </a:fld>
            <a:endParaRPr lang="en-US"/>
          </a:p>
        </p:txBody>
      </p:sp>
    </p:spTree>
    <p:extLst>
      <p:ext uri="{BB962C8B-B14F-4D97-AF65-F5344CB8AC3E}">
        <p14:creationId xmlns:p14="http://schemas.microsoft.com/office/powerpoint/2010/main" val="59251768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Başlık ve İçeri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tr-TR" smtClean="0"/>
              <a:t>Asıl başlık stili için tıklatın</a:t>
            </a:r>
            <a:endParaRPr lang="en-US"/>
          </a:p>
        </p:txBody>
      </p:sp>
      <p:sp>
        <p:nvSpPr>
          <p:cNvPr id="3" name="Content Placeholder 2"/>
          <p:cNvSpPr>
            <a:spLocks noGrp="1"/>
          </p:cNvSpPr>
          <p:nvPr>
            <p:ph idx="1"/>
          </p:nvPr>
        </p:nvSpPr>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en-US"/>
          </a:p>
        </p:txBody>
      </p:sp>
      <p:sp>
        <p:nvSpPr>
          <p:cNvPr id="4" name="Date Placeholder 3"/>
          <p:cNvSpPr>
            <a:spLocks noGrp="1"/>
          </p:cNvSpPr>
          <p:nvPr>
            <p:ph type="dt" sz="half" idx="10"/>
          </p:nvPr>
        </p:nvSpPr>
        <p:spPr/>
        <p:txBody>
          <a:bodyPr/>
          <a:lstStyle>
            <a:lvl1pPr>
              <a:defRPr/>
            </a:lvl1pPr>
          </a:lstStyle>
          <a:p>
            <a:fld id="{F1ACDC0D-D936-48C8-9933-7702535382B4}" type="datetimeFigureOut">
              <a:rPr lang="tr-TR" smtClean="0"/>
              <a:pPr/>
              <a:t>16.08.2013</a:t>
            </a:fld>
            <a:endParaRPr lang="tr-TR"/>
          </a:p>
        </p:txBody>
      </p:sp>
      <p:sp>
        <p:nvSpPr>
          <p:cNvPr id="5" name="Footer Placeholder 4"/>
          <p:cNvSpPr>
            <a:spLocks noGrp="1"/>
          </p:cNvSpPr>
          <p:nvPr>
            <p:ph type="ftr" sz="quarter" idx="11"/>
          </p:nvPr>
        </p:nvSpPr>
        <p:spPr/>
        <p:txBody>
          <a:bodyPr/>
          <a:lstStyle>
            <a:lvl1pPr>
              <a:defRPr/>
            </a:lvl1pPr>
          </a:lstStyle>
          <a:p>
            <a:endParaRPr lang="tr-TR"/>
          </a:p>
        </p:txBody>
      </p:sp>
      <p:sp>
        <p:nvSpPr>
          <p:cNvPr id="6" name="Slide Number Placeholder 5"/>
          <p:cNvSpPr>
            <a:spLocks noGrp="1"/>
          </p:cNvSpPr>
          <p:nvPr>
            <p:ph type="sldNum" sz="quarter" idx="12"/>
          </p:nvPr>
        </p:nvSpPr>
        <p:spPr/>
        <p:txBody>
          <a:bodyPr/>
          <a:lstStyle>
            <a:lvl1pPr>
              <a:defRPr/>
            </a:lvl1pPr>
          </a:lstStyle>
          <a:p>
            <a:fld id="{63D10EEA-996B-42F1-9986-050816E21B85}" type="slidenum">
              <a:rPr lang="tr-TR" smtClean="0"/>
              <a:pPr/>
              <a:t>‹#›</a:t>
            </a:fld>
            <a:endParaRPr lang="tr-TR"/>
          </a:p>
        </p:txBody>
      </p:sp>
    </p:spTree>
    <p:extLst>
      <p:ext uri="{BB962C8B-B14F-4D97-AF65-F5344CB8AC3E}">
        <p14:creationId xmlns:p14="http://schemas.microsoft.com/office/powerpoint/2010/main" val="231467494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Karşılaştırm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tr-TR" smtClean="0"/>
              <a:t>Asıl başlık stili için tıklatın</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tr-TR" smtClean="0"/>
              <a:t>Asıl metin stillerini düzenlemek için tıklatın</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tr-TR" smtClean="0"/>
              <a:t>Asıl metin stillerini düzenlemek için tıklatın</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en-US"/>
          </a:p>
        </p:txBody>
      </p:sp>
      <p:sp>
        <p:nvSpPr>
          <p:cNvPr id="7" name="Date Placeholder 3"/>
          <p:cNvSpPr>
            <a:spLocks noGrp="1"/>
          </p:cNvSpPr>
          <p:nvPr>
            <p:ph type="dt" sz="half" idx="10"/>
          </p:nvPr>
        </p:nvSpPr>
        <p:spPr/>
        <p:txBody>
          <a:bodyPr/>
          <a:lstStyle>
            <a:lvl1pPr defTabSz="914400">
              <a:defRPr/>
            </a:lvl1pPr>
          </a:lstStyle>
          <a:p>
            <a:fld id="{D06C59D7-F9E4-456E-8BF7-1D52479185CB}" type="datetimeFigureOut">
              <a:rPr lang="en-US"/>
              <a:pPr/>
              <a:t>8/16/2013</a:t>
            </a:fld>
            <a:endParaRPr lang="en-US"/>
          </a:p>
        </p:txBody>
      </p:sp>
      <p:sp>
        <p:nvSpPr>
          <p:cNvPr id="8" name="Footer Placeholder 4"/>
          <p:cNvSpPr>
            <a:spLocks noGrp="1"/>
          </p:cNvSpPr>
          <p:nvPr>
            <p:ph type="ftr" sz="quarter" idx="11"/>
          </p:nvPr>
        </p:nvSpPr>
        <p:spPr/>
        <p:txBody>
          <a:bodyPr/>
          <a:lstStyle>
            <a:lvl1pPr defTabSz="914400">
              <a:defRPr/>
            </a:lvl1pPr>
          </a:lstStyle>
          <a:p>
            <a:endParaRPr lang="tr-TR"/>
          </a:p>
        </p:txBody>
      </p:sp>
      <p:sp>
        <p:nvSpPr>
          <p:cNvPr id="9" name="Slide Number Placeholder 5"/>
          <p:cNvSpPr>
            <a:spLocks noGrp="1"/>
          </p:cNvSpPr>
          <p:nvPr>
            <p:ph type="sldNum" sz="quarter" idx="12"/>
          </p:nvPr>
        </p:nvSpPr>
        <p:spPr/>
        <p:txBody>
          <a:bodyPr/>
          <a:lstStyle>
            <a:lvl1pPr defTabSz="914400">
              <a:defRPr/>
            </a:lvl1pPr>
          </a:lstStyle>
          <a:p>
            <a:fld id="{C339D412-23FF-4630-B1E9-725E86604CF8}" type="slidenum">
              <a:rPr lang="en-US"/>
              <a:pPr/>
              <a:t>‹#›</a:t>
            </a:fld>
            <a:endParaRPr lang="en-US"/>
          </a:p>
        </p:txBody>
      </p:sp>
    </p:spTree>
    <p:extLst>
      <p:ext uri="{BB962C8B-B14F-4D97-AF65-F5344CB8AC3E}">
        <p14:creationId xmlns:p14="http://schemas.microsoft.com/office/powerpoint/2010/main" val="189768345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Yalnızca Başlı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tr-TR" smtClean="0"/>
              <a:t>Asıl başlık stili için tıklatın</a:t>
            </a:r>
            <a:endParaRPr lang="en-US"/>
          </a:p>
        </p:txBody>
      </p:sp>
      <p:sp>
        <p:nvSpPr>
          <p:cNvPr id="3" name="Date Placeholder 3"/>
          <p:cNvSpPr>
            <a:spLocks noGrp="1"/>
          </p:cNvSpPr>
          <p:nvPr>
            <p:ph type="dt" sz="half" idx="10"/>
          </p:nvPr>
        </p:nvSpPr>
        <p:spPr/>
        <p:txBody>
          <a:bodyPr/>
          <a:lstStyle>
            <a:lvl1pPr defTabSz="914400">
              <a:defRPr/>
            </a:lvl1pPr>
          </a:lstStyle>
          <a:p>
            <a:fld id="{4C4F01A0-A61D-49D5-9EF8-A20ACA348CB7}" type="datetimeFigureOut">
              <a:rPr lang="en-US"/>
              <a:pPr/>
              <a:t>8/16/2013</a:t>
            </a:fld>
            <a:endParaRPr lang="en-US"/>
          </a:p>
        </p:txBody>
      </p:sp>
      <p:sp>
        <p:nvSpPr>
          <p:cNvPr id="4" name="Footer Placeholder 4"/>
          <p:cNvSpPr>
            <a:spLocks noGrp="1"/>
          </p:cNvSpPr>
          <p:nvPr>
            <p:ph type="ftr" sz="quarter" idx="11"/>
          </p:nvPr>
        </p:nvSpPr>
        <p:spPr/>
        <p:txBody>
          <a:bodyPr/>
          <a:lstStyle>
            <a:lvl1pPr defTabSz="914400">
              <a:defRPr/>
            </a:lvl1pPr>
          </a:lstStyle>
          <a:p>
            <a:endParaRPr lang="tr-TR"/>
          </a:p>
        </p:txBody>
      </p:sp>
      <p:sp>
        <p:nvSpPr>
          <p:cNvPr id="5" name="Slide Number Placeholder 5"/>
          <p:cNvSpPr>
            <a:spLocks noGrp="1"/>
          </p:cNvSpPr>
          <p:nvPr>
            <p:ph type="sldNum" sz="quarter" idx="12"/>
          </p:nvPr>
        </p:nvSpPr>
        <p:spPr/>
        <p:txBody>
          <a:bodyPr/>
          <a:lstStyle>
            <a:lvl1pPr defTabSz="914400">
              <a:defRPr/>
            </a:lvl1pPr>
          </a:lstStyle>
          <a:p>
            <a:fld id="{3B03A206-7AE7-46C2-950E-0B76942179B3}" type="slidenum">
              <a:rPr lang="en-US"/>
              <a:pPr/>
              <a:t>‹#›</a:t>
            </a:fld>
            <a:endParaRPr lang="en-US"/>
          </a:p>
        </p:txBody>
      </p:sp>
    </p:spTree>
    <p:extLst>
      <p:ext uri="{BB962C8B-B14F-4D97-AF65-F5344CB8AC3E}">
        <p14:creationId xmlns:p14="http://schemas.microsoft.com/office/powerpoint/2010/main" val="295472647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oş">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defTabSz="914400">
              <a:defRPr/>
            </a:lvl1pPr>
          </a:lstStyle>
          <a:p>
            <a:fld id="{55B3712B-B213-48EE-B5B2-00EF55B39DEB}" type="datetimeFigureOut">
              <a:rPr lang="en-US"/>
              <a:pPr/>
              <a:t>8/16/2013</a:t>
            </a:fld>
            <a:endParaRPr lang="en-US"/>
          </a:p>
        </p:txBody>
      </p:sp>
      <p:sp>
        <p:nvSpPr>
          <p:cNvPr id="3" name="Footer Placeholder 4"/>
          <p:cNvSpPr>
            <a:spLocks noGrp="1"/>
          </p:cNvSpPr>
          <p:nvPr>
            <p:ph type="ftr" sz="quarter" idx="11"/>
          </p:nvPr>
        </p:nvSpPr>
        <p:spPr/>
        <p:txBody>
          <a:bodyPr/>
          <a:lstStyle>
            <a:lvl1pPr defTabSz="914400">
              <a:defRPr/>
            </a:lvl1pPr>
          </a:lstStyle>
          <a:p>
            <a:endParaRPr lang="tr-TR"/>
          </a:p>
        </p:txBody>
      </p:sp>
      <p:sp>
        <p:nvSpPr>
          <p:cNvPr id="4" name="Slide Number Placeholder 5"/>
          <p:cNvSpPr>
            <a:spLocks noGrp="1"/>
          </p:cNvSpPr>
          <p:nvPr>
            <p:ph type="sldNum" sz="quarter" idx="12"/>
          </p:nvPr>
        </p:nvSpPr>
        <p:spPr/>
        <p:txBody>
          <a:bodyPr/>
          <a:lstStyle>
            <a:lvl1pPr defTabSz="914400">
              <a:defRPr/>
            </a:lvl1pPr>
          </a:lstStyle>
          <a:p>
            <a:fld id="{EBE61309-0AD3-4FE1-A325-07CB22C12ACE}" type="slidenum">
              <a:rPr lang="en-US"/>
              <a:pPr/>
              <a:t>‹#›</a:t>
            </a:fld>
            <a:endParaRPr lang="en-US"/>
          </a:p>
        </p:txBody>
      </p:sp>
    </p:spTree>
    <p:extLst>
      <p:ext uri="{BB962C8B-B14F-4D97-AF65-F5344CB8AC3E}">
        <p14:creationId xmlns:p14="http://schemas.microsoft.com/office/powerpoint/2010/main" val="416237125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Başlıklı İçerik">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tr-TR" smtClean="0"/>
              <a:t>Asıl başlık stili için tıklatın</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tr-TR" smtClean="0"/>
              <a:t>Asıl metin stillerini düzenlemek için tıklatın</a:t>
            </a:r>
          </a:p>
        </p:txBody>
      </p:sp>
      <p:sp>
        <p:nvSpPr>
          <p:cNvPr id="5" name="Date Placeholder 3"/>
          <p:cNvSpPr>
            <a:spLocks noGrp="1"/>
          </p:cNvSpPr>
          <p:nvPr>
            <p:ph type="dt" sz="half" idx="10"/>
          </p:nvPr>
        </p:nvSpPr>
        <p:spPr/>
        <p:txBody>
          <a:bodyPr/>
          <a:lstStyle>
            <a:lvl1pPr defTabSz="914400">
              <a:defRPr/>
            </a:lvl1pPr>
          </a:lstStyle>
          <a:p>
            <a:fld id="{DB49B87A-E25B-4268-808D-501C48900206}" type="datetimeFigureOut">
              <a:rPr lang="en-US"/>
              <a:pPr/>
              <a:t>8/16/2013</a:t>
            </a:fld>
            <a:endParaRPr lang="en-US"/>
          </a:p>
        </p:txBody>
      </p:sp>
      <p:sp>
        <p:nvSpPr>
          <p:cNvPr id="6" name="Footer Placeholder 4"/>
          <p:cNvSpPr>
            <a:spLocks noGrp="1"/>
          </p:cNvSpPr>
          <p:nvPr>
            <p:ph type="ftr" sz="quarter" idx="11"/>
          </p:nvPr>
        </p:nvSpPr>
        <p:spPr/>
        <p:txBody>
          <a:bodyPr/>
          <a:lstStyle>
            <a:lvl1pPr defTabSz="914400">
              <a:defRPr/>
            </a:lvl1pPr>
          </a:lstStyle>
          <a:p>
            <a:endParaRPr lang="tr-TR"/>
          </a:p>
        </p:txBody>
      </p:sp>
      <p:sp>
        <p:nvSpPr>
          <p:cNvPr id="7" name="Slide Number Placeholder 5"/>
          <p:cNvSpPr>
            <a:spLocks noGrp="1"/>
          </p:cNvSpPr>
          <p:nvPr>
            <p:ph type="sldNum" sz="quarter" idx="12"/>
          </p:nvPr>
        </p:nvSpPr>
        <p:spPr/>
        <p:txBody>
          <a:bodyPr/>
          <a:lstStyle>
            <a:lvl1pPr defTabSz="914400">
              <a:defRPr/>
            </a:lvl1pPr>
          </a:lstStyle>
          <a:p>
            <a:fld id="{0748809C-DDD5-4C8F-AE07-FCAB061A8B81}" type="slidenum">
              <a:rPr lang="en-US"/>
              <a:pPr/>
              <a:t>‹#›</a:t>
            </a:fld>
            <a:endParaRPr lang="en-US"/>
          </a:p>
        </p:txBody>
      </p:sp>
    </p:spTree>
    <p:extLst>
      <p:ext uri="{BB962C8B-B14F-4D97-AF65-F5344CB8AC3E}">
        <p14:creationId xmlns:p14="http://schemas.microsoft.com/office/powerpoint/2010/main" val="283450755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Başlıklı Resim">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tr-TR" smtClean="0"/>
              <a:t>Asıl başlık stili için tıklatın</a:t>
            </a:r>
            <a:endParaRPr lang="en-US"/>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tr-TR" noProof="0" smtClean="0"/>
              <a:t>Resim eklemek için simgeyi tıklatın</a:t>
            </a:r>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tr-TR" smtClean="0"/>
              <a:t>Asıl metin stillerini düzenlemek için tıklatın</a:t>
            </a:r>
          </a:p>
        </p:txBody>
      </p:sp>
      <p:sp>
        <p:nvSpPr>
          <p:cNvPr id="5" name="Date Placeholder 3"/>
          <p:cNvSpPr>
            <a:spLocks noGrp="1"/>
          </p:cNvSpPr>
          <p:nvPr>
            <p:ph type="dt" sz="half" idx="10"/>
          </p:nvPr>
        </p:nvSpPr>
        <p:spPr/>
        <p:txBody>
          <a:bodyPr/>
          <a:lstStyle>
            <a:lvl1pPr defTabSz="914400">
              <a:defRPr/>
            </a:lvl1pPr>
          </a:lstStyle>
          <a:p>
            <a:fld id="{4374D78E-0977-484B-90EB-F63BE91F9063}" type="datetimeFigureOut">
              <a:rPr lang="en-US"/>
              <a:pPr/>
              <a:t>8/16/2013</a:t>
            </a:fld>
            <a:endParaRPr lang="en-US"/>
          </a:p>
        </p:txBody>
      </p:sp>
      <p:sp>
        <p:nvSpPr>
          <p:cNvPr id="6" name="Footer Placeholder 4"/>
          <p:cNvSpPr>
            <a:spLocks noGrp="1"/>
          </p:cNvSpPr>
          <p:nvPr>
            <p:ph type="ftr" sz="quarter" idx="11"/>
          </p:nvPr>
        </p:nvSpPr>
        <p:spPr/>
        <p:txBody>
          <a:bodyPr/>
          <a:lstStyle>
            <a:lvl1pPr defTabSz="914400">
              <a:defRPr/>
            </a:lvl1pPr>
          </a:lstStyle>
          <a:p>
            <a:endParaRPr lang="tr-TR"/>
          </a:p>
        </p:txBody>
      </p:sp>
      <p:sp>
        <p:nvSpPr>
          <p:cNvPr id="7" name="Slide Number Placeholder 5"/>
          <p:cNvSpPr>
            <a:spLocks noGrp="1"/>
          </p:cNvSpPr>
          <p:nvPr>
            <p:ph type="sldNum" sz="quarter" idx="12"/>
          </p:nvPr>
        </p:nvSpPr>
        <p:spPr/>
        <p:txBody>
          <a:bodyPr/>
          <a:lstStyle>
            <a:lvl1pPr defTabSz="914400">
              <a:defRPr/>
            </a:lvl1pPr>
          </a:lstStyle>
          <a:p>
            <a:fld id="{834D43D3-2B84-4144-A5D3-8964E41D6CA1}" type="slidenum">
              <a:rPr lang="en-US"/>
              <a:pPr/>
              <a:t>‹#›</a:t>
            </a:fld>
            <a:endParaRPr lang="en-US"/>
          </a:p>
        </p:txBody>
      </p:sp>
    </p:spTree>
    <p:extLst>
      <p:ext uri="{BB962C8B-B14F-4D97-AF65-F5344CB8AC3E}">
        <p14:creationId xmlns:p14="http://schemas.microsoft.com/office/powerpoint/2010/main" val="235713764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Başlık, Dikey Meti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tr-TR" smtClean="0"/>
              <a:t>Asıl başlık stili için tıklatın</a:t>
            </a:r>
            <a:endParaRPr lang="en-US"/>
          </a:p>
        </p:txBody>
      </p:sp>
      <p:sp>
        <p:nvSpPr>
          <p:cNvPr id="3" name="Vertical Text Placeholder 2"/>
          <p:cNvSpPr>
            <a:spLocks noGrp="1"/>
          </p:cNvSpPr>
          <p:nvPr>
            <p:ph type="body" orient="vert" idx="1"/>
          </p:nvPr>
        </p:nvSpPr>
        <p:spPr/>
        <p:txBody>
          <a:bodyPr vert="eaVert"/>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en-US"/>
          </a:p>
        </p:txBody>
      </p:sp>
      <p:sp>
        <p:nvSpPr>
          <p:cNvPr id="4" name="Date Placeholder 3"/>
          <p:cNvSpPr>
            <a:spLocks noGrp="1"/>
          </p:cNvSpPr>
          <p:nvPr>
            <p:ph type="dt" sz="half" idx="10"/>
          </p:nvPr>
        </p:nvSpPr>
        <p:spPr/>
        <p:txBody>
          <a:bodyPr/>
          <a:lstStyle>
            <a:lvl1pPr defTabSz="914400">
              <a:defRPr/>
            </a:lvl1pPr>
          </a:lstStyle>
          <a:p>
            <a:fld id="{42E466B9-E8BC-40AA-8F18-DF611316BF95}" type="datetimeFigureOut">
              <a:rPr lang="en-US"/>
              <a:pPr/>
              <a:t>8/16/2013</a:t>
            </a:fld>
            <a:endParaRPr lang="en-US"/>
          </a:p>
        </p:txBody>
      </p:sp>
      <p:sp>
        <p:nvSpPr>
          <p:cNvPr id="5" name="Footer Placeholder 4"/>
          <p:cNvSpPr>
            <a:spLocks noGrp="1"/>
          </p:cNvSpPr>
          <p:nvPr>
            <p:ph type="ftr" sz="quarter" idx="11"/>
          </p:nvPr>
        </p:nvSpPr>
        <p:spPr/>
        <p:txBody>
          <a:bodyPr/>
          <a:lstStyle>
            <a:lvl1pPr defTabSz="914400">
              <a:defRPr/>
            </a:lvl1pPr>
          </a:lstStyle>
          <a:p>
            <a:endParaRPr lang="tr-TR"/>
          </a:p>
        </p:txBody>
      </p:sp>
      <p:sp>
        <p:nvSpPr>
          <p:cNvPr id="6" name="Slide Number Placeholder 5"/>
          <p:cNvSpPr>
            <a:spLocks noGrp="1"/>
          </p:cNvSpPr>
          <p:nvPr>
            <p:ph type="sldNum" sz="quarter" idx="12"/>
          </p:nvPr>
        </p:nvSpPr>
        <p:spPr/>
        <p:txBody>
          <a:bodyPr/>
          <a:lstStyle>
            <a:lvl1pPr defTabSz="914400">
              <a:defRPr/>
            </a:lvl1pPr>
          </a:lstStyle>
          <a:p>
            <a:fld id="{8BAE9338-4CF9-4F0F-8CA7-336B04399F26}" type="slidenum">
              <a:rPr lang="en-US"/>
              <a:pPr/>
              <a:t>‹#›</a:t>
            </a:fld>
            <a:endParaRPr lang="en-US"/>
          </a:p>
        </p:txBody>
      </p:sp>
    </p:spTree>
    <p:extLst>
      <p:ext uri="{BB962C8B-B14F-4D97-AF65-F5344CB8AC3E}">
        <p14:creationId xmlns:p14="http://schemas.microsoft.com/office/powerpoint/2010/main" val="144197843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Dikey Başlık ve Metin">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tr-TR" smtClean="0"/>
              <a:t>Asıl başlık stili için tıklatın</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en-US"/>
          </a:p>
        </p:txBody>
      </p:sp>
      <p:sp>
        <p:nvSpPr>
          <p:cNvPr id="4" name="Date Placeholder 3"/>
          <p:cNvSpPr>
            <a:spLocks noGrp="1"/>
          </p:cNvSpPr>
          <p:nvPr>
            <p:ph type="dt" sz="half" idx="10"/>
          </p:nvPr>
        </p:nvSpPr>
        <p:spPr/>
        <p:txBody>
          <a:bodyPr/>
          <a:lstStyle>
            <a:lvl1pPr defTabSz="914400">
              <a:defRPr/>
            </a:lvl1pPr>
          </a:lstStyle>
          <a:p>
            <a:fld id="{3259EFF7-F8E8-4806-A683-163E7971FD3C}" type="datetimeFigureOut">
              <a:rPr lang="en-US"/>
              <a:pPr/>
              <a:t>8/16/2013</a:t>
            </a:fld>
            <a:endParaRPr lang="en-US"/>
          </a:p>
        </p:txBody>
      </p:sp>
      <p:sp>
        <p:nvSpPr>
          <p:cNvPr id="5" name="Footer Placeholder 4"/>
          <p:cNvSpPr>
            <a:spLocks noGrp="1"/>
          </p:cNvSpPr>
          <p:nvPr>
            <p:ph type="ftr" sz="quarter" idx="11"/>
          </p:nvPr>
        </p:nvSpPr>
        <p:spPr/>
        <p:txBody>
          <a:bodyPr/>
          <a:lstStyle>
            <a:lvl1pPr defTabSz="914400">
              <a:defRPr/>
            </a:lvl1pPr>
          </a:lstStyle>
          <a:p>
            <a:endParaRPr lang="tr-TR"/>
          </a:p>
        </p:txBody>
      </p:sp>
      <p:sp>
        <p:nvSpPr>
          <p:cNvPr id="6" name="Slide Number Placeholder 5"/>
          <p:cNvSpPr>
            <a:spLocks noGrp="1"/>
          </p:cNvSpPr>
          <p:nvPr>
            <p:ph type="sldNum" sz="quarter" idx="12"/>
          </p:nvPr>
        </p:nvSpPr>
        <p:spPr/>
        <p:txBody>
          <a:bodyPr/>
          <a:lstStyle>
            <a:lvl1pPr defTabSz="914400">
              <a:defRPr/>
            </a:lvl1pPr>
          </a:lstStyle>
          <a:p>
            <a:fld id="{5AFC860A-2226-42BE-8294-7532198351EC}" type="slidenum">
              <a:rPr lang="en-US"/>
              <a:pPr/>
              <a:t>‹#›</a:t>
            </a:fld>
            <a:endParaRPr lang="en-US"/>
          </a:p>
        </p:txBody>
      </p:sp>
    </p:spTree>
    <p:extLst>
      <p:ext uri="{BB962C8B-B14F-4D97-AF65-F5344CB8AC3E}">
        <p14:creationId xmlns:p14="http://schemas.microsoft.com/office/powerpoint/2010/main" val="194891197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Titeldias">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000719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el og indholdsobjekt">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06727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Title - charteo.com / Design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89147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Bölüm Üstbilgisi">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tr-TR" smtClean="0"/>
              <a:t>Asıl başlık stili için tıklatın</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tr-TR" smtClean="0"/>
              <a:t>Asıl metin stillerini düzenlemek için tıklatın</a:t>
            </a:r>
          </a:p>
        </p:txBody>
      </p:sp>
      <p:sp>
        <p:nvSpPr>
          <p:cNvPr id="4" name="Date Placeholder 3"/>
          <p:cNvSpPr>
            <a:spLocks noGrp="1"/>
          </p:cNvSpPr>
          <p:nvPr>
            <p:ph type="dt" sz="half" idx="10"/>
          </p:nvPr>
        </p:nvSpPr>
        <p:spPr/>
        <p:txBody>
          <a:bodyPr/>
          <a:lstStyle>
            <a:lvl1pPr>
              <a:defRPr/>
            </a:lvl1pPr>
          </a:lstStyle>
          <a:p>
            <a:fld id="{F1ACDC0D-D936-48C8-9933-7702535382B4}" type="datetimeFigureOut">
              <a:rPr lang="tr-TR" smtClean="0"/>
              <a:pPr/>
              <a:t>16.08.2013</a:t>
            </a:fld>
            <a:endParaRPr lang="tr-TR"/>
          </a:p>
        </p:txBody>
      </p:sp>
      <p:sp>
        <p:nvSpPr>
          <p:cNvPr id="5" name="Footer Placeholder 4"/>
          <p:cNvSpPr>
            <a:spLocks noGrp="1"/>
          </p:cNvSpPr>
          <p:nvPr>
            <p:ph type="ftr" sz="quarter" idx="11"/>
          </p:nvPr>
        </p:nvSpPr>
        <p:spPr/>
        <p:txBody>
          <a:bodyPr/>
          <a:lstStyle>
            <a:lvl1pPr>
              <a:defRPr/>
            </a:lvl1pPr>
          </a:lstStyle>
          <a:p>
            <a:endParaRPr lang="tr-TR"/>
          </a:p>
        </p:txBody>
      </p:sp>
      <p:sp>
        <p:nvSpPr>
          <p:cNvPr id="6" name="Slide Number Placeholder 5"/>
          <p:cNvSpPr>
            <a:spLocks noGrp="1"/>
          </p:cNvSpPr>
          <p:nvPr>
            <p:ph type="sldNum" sz="quarter" idx="12"/>
          </p:nvPr>
        </p:nvSpPr>
        <p:spPr/>
        <p:txBody>
          <a:bodyPr/>
          <a:lstStyle>
            <a:lvl1pPr>
              <a:defRPr/>
            </a:lvl1pPr>
          </a:lstStyle>
          <a:p>
            <a:fld id="{63D10EEA-996B-42F1-9986-050816E21B85}" type="slidenum">
              <a:rPr lang="tr-TR" smtClean="0"/>
              <a:pPr/>
              <a:t>‹#›</a:t>
            </a:fld>
            <a:endParaRPr lang="tr-TR"/>
          </a:p>
        </p:txBody>
      </p:sp>
    </p:spTree>
    <p:extLst>
      <p:ext uri="{BB962C8B-B14F-4D97-AF65-F5344CB8AC3E}">
        <p14:creationId xmlns:p14="http://schemas.microsoft.com/office/powerpoint/2010/main" val="57820230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Nur Titel">
    <p:spTree>
      <p:nvGrpSpPr>
        <p:cNvPr id="1" name=""/>
        <p:cNvGrpSpPr/>
        <p:nvPr/>
      </p:nvGrpSpPr>
      <p:grpSpPr>
        <a:xfrm>
          <a:off x="0" y="0"/>
          <a:ext cx="0" cy="0"/>
          <a:chOff x="0" y="0"/>
          <a:chExt cx="0" cy="0"/>
        </a:xfrm>
      </p:grpSpPr>
      <p:sp>
        <p:nvSpPr>
          <p:cNvPr id="2" name="Titel 1"/>
          <p:cNvSpPr>
            <a:spLocks noGrp="1"/>
          </p:cNvSpPr>
          <p:nvPr>
            <p:ph type="title"/>
          </p:nvPr>
        </p:nvSpPr>
        <p:spPr>
          <a:xfrm>
            <a:off x="323850" y="238539"/>
            <a:ext cx="8497092" cy="616455"/>
          </a:xfrm>
          <a:prstGeom prst="rect">
            <a:avLst/>
          </a:prstGeom>
        </p:spPr>
        <p:txBody>
          <a:bodyPr anchor="ctr" anchorCtr="0">
            <a:noAutofit/>
          </a:bodyPr>
          <a:lstStyle>
            <a:lvl1pPr>
              <a:lnSpc>
                <a:spcPct val="100000"/>
              </a:lnSpc>
              <a:defRPr/>
            </a:lvl1pPr>
          </a:lstStyle>
          <a:p>
            <a:r>
              <a:rPr lang="tr-TR" smtClean="0"/>
              <a:t>Asıl başlık stili için tıklatın</a:t>
            </a:r>
            <a:endParaRPr lang="de-DE" dirty="0"/>
          </a:p>
        </p:txBody>
      </p:sp>
      <p:sp>
        <p:nvSpPr>
          <p:cNvPr id="3" name="Datumsplatzhalter 2"/>
          <p:cNvSpPr>
            <a:spLocks noGrp="1"/>
          </p:cNvSpPr>
          <p:nvPr>
            <p:ph type="dt" sz="half" idx="10"/>
          </p:nvPr>
        </p:nvSpPr>
        <p:spPr>
          <a:xfrm>
            <a:off x="457200" y="6356350"/>
            <a:ext cx="2133600" cy="365125"/>
          </a:xfrm>
          <a:prstGeom prst="rect">
            <a:avLst/>
          </a:prstGeom>
        </p:spPr>
        <p:txBody>
          <a:bodyPr/>
          <a:lstStyle/>
          <a:p>
            <a:fld id="{5BB799EC-31C7-4794-9A0E-54A2EBEF5CD8}" type="datetimeFigureOut">
              <a:rPr lang="de-DE" smtClean="0"/>
              <a:pPr/>
              <a:t>16.08.2013</a:t>
            </a:fld>
            <a:endParaRPr lang="de-DE"/>
          </a:p>
        </p:txBody>
      </p:sp>
      <p:sp>
        <p:nvSpPr>
          <p:cNvPr id="4" name="Fußzeilenplatzhalter 3"/>
          <p:cNvSpPr>
            <a:spLocks noGrp="1"/>
          </p:cNvSpPr>
          <p:nvPr>
            <p:ph type="ftr" sz="quarter" idx="11"/>
          </p:nvPr>
        </p:nvSpPr>
        <p:spPr>
          <a:xfrm>
            <a:off x="3124200" y="6356350"/>
            <a:ext cx="2895600" cy="365125"/>
          </a:xfrm>
          <a:prstGeom prst="rect">
            <a:avLst/>
          </a:prstGeom>
        </p:spPr>
        <p:txBody>
          <a:bodyPr/>
          <a:lstStyle/>
          <a:p>
            <a:endParaRPr lang="de-DE"/>
          </a:p>
        </p:txBody>
      </p:sp>
      <p:sp>
        <p:nvSpPr>
          <p:cNvPr id="5" name="Foliennummernplatzhalter 4"/>
          <p:cNvSpPr>
            <a:spLocks noGrp="1"/>
          </p:cNvSpPr>
          <p:nvPr>
            <p:ph type="sldNum" sz="quarter" idx="12"/>
          </p:nvPr>
        </p:nvSpPr>
        <p:spPr>
          <a:xfrm>
            <a:off x="6553200" y="6356350"/>
            <a:ext cx="2133600" cy="365125"/>
          </a:xfrm>
          <a:prstGeom prst="rect">
            <a:avLst/>
          </a:prstGeom>
        </p:spPr>
        <p:txBody>
          <a:bodyPr/>
          <a:lstStyle/>
          <a:p>
            <a:fld id="{45A7F7AE-2E01-4C70-AB25-161A1C7A447D}" type="slidenum">
              <a:rPr lang="de-DE" smtClean="0"/>
              <a:pPr/>
              <a:t>‹#›</a:t>
            </a:fld>
            <a:endParaRPr lang="de-DE"/>
          </a:p>
        </p:txBody>
      </p:sp>
      <p:sp>
        <p:nvSpPr>
          <p:cNvPr id="9" name="Textplatzhalter 7"/>
          <p:cNvSpPr>
            <a:spLocks noGrp="1"/>
          </p:cNvSpPr>
          <p:nvPr>
            <p:ph type="body" sz="quarter" idx="13"/>
          </p:nvPr>
        </p:nvSpPr>
        <p:spPr>
          <a:xfrm>
            <a:off x="323850" y="854994"/>
            <a:ext cx="8496300" cy="336244"/>
          </a:xfrm>
          <a:prstGeom prst="rect">
            <a:avLst/>
          </a:prstGeom>
        </p:spPr>
        <p:txBody>
          <a:bodyPr lIns="0" tIns="0" rIns="0" bIns="0" anchor="t" anchorCtr="0">
            <a:noAutofit/>
          </a:bodyPr>
          <a:lstStyle>
            <a:lvl1pPr>
              <a:buNone/>
              <a:defRPr sz="2000"/>
            </a:lvl1pPr>
          </a:lstStyle>
          <a:p>
            <a:pPr lvl="0"/>
            <a:r>
              <a:rPr lang="tr-TR" smtClean="0"/>
              <a:t>Asıl metin stillerini düzenlemek için tıklatın</a:t>
            </a:r>
          </a:p>
        </p:txBody>
      </p:sp>
    </p:spTree>
    <p:extLst>
      <p:ext uri="{BB962C8B-B14F-4D97-AF65-F5344CB8AC3E}">
        <p14:creationId xmlns:p14="http://schemas.microsoft.com/office/powerpoint/2010/main" val="63908199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İki İçeri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tr-TR" smtClean="0"/>
              <a:t>Asıl başlık stili için tıklatın</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en-US"/>
          </a:p>
        </p:txBody>
      </p:sp>
      <p:sp>
        <p:nvSpPr>
          <p:cNvPr id="5" name="Date Placeholder 3"/>
          <p:cNvSpPr>
            <a:spLocks noGrp="1"/>
          </p:cNvSpPr>
          <p:nvPr>
            <p:ph type="dt" sz="half" idx="10"/>
          </p:nvPr>
        </p:nvSpPr>
        <p:spPr/>
        <p:txBody>
          <a:bodyPr/>
          <a:lstStyle>
            <a:lvl1pPr>
              <a:defRPr/>
            </a:lvl1pPr>
          </a:lstStyle>
          <a:p>
            <a:fld id="{F1ACDC0D-D936-48C8-9933-7702535382B4}" type="datetimeFigureOut">
              <a:rPr lang="tr-TR" smtClean="0"/>
              <a:pPr/>
              <a:t>16.08.2013</a:t>
            </a:fld>
            <a:endParaRPr lang="tr-TR"/>
          </a:p>
        </p:txBody>
      </p:sp>
      <p:sp>
        <p:nvSpPr>
          <p:cNvPr id="6" name="Footer Placeholder 4"/>
          <p:cNvSpPr>
            <a:spLocks noGrp="1"/>
          </p:cNvSpPr>
          <p:nvPr>
            <p:ph type="ftr" sz="quarter" idx="11"/>
          </p:nvPr>
        </p:nvSpPr>
        <p:spPr/>
        <p:txBody>
          <a:bodyPr/>
          <a:lstStyle>
            <a:lvl1pPr>
              <a:defRPr/>
            </a:lvl1pPr>
          </a:lstStyle>
          <a:p>
            <a:endParaRPr lang="tr-TR"/>
          </a:p>
        </p:txBody>
      </p:sp>
      <p:sp>
        <p:nvSpPr>
          <p:cNvPr id="7" name="Slide Number Placeholder 5"/>
          <p:cNvSpPr>
            <a:spLocks noGrp="1"/>
          </p:cNvSpPr>
          <p:nvPr>
            <p:ph type="sldNum" sz="quarter" idx="12"/>
          </p:nvPr>
        </p:nvSpPr>
        <p:spPr/>
        <p:txBody>
          <a:bodyPr/>
          <a:lstStyle>
            <a:lvl1pPr>
              <a:defRPr/>
            </a:lvl1pPr>
          </a:lstStyle>
          <a:p>
            <a:fld id="{63D10EEA-996B-42F1-9986-050816E21B85}" type="slidenum">
              <a:rPr lang="tr-TR" smtClean="0"/>
              <a:pPr/>
              <a:t>‹#›</a:t>
            </a:fld>
            <a:endParaRPr lang="tr-TR"/>
          </a:p>
        </p:txBody>
      </p:sp>
    </p:spTree>
    <p:extLst>
      <p:ext uri="{BB962C8B-B14F-4D97-AF65-F5344CB8AC3E}">
        <p14:creationId xmlns:p14="http://schemas.microsoft.com/office/powerpoint/2010/main" val="99341880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Karşılaştırm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tr-TR" smtClean="0"/>
              <a:t>Asıl başlık stili için tıklatın</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tr-TR" smtClean="0"/>
              <a:t>Asıl metin stillerini düzenlemek için tıklatın</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tr-TR" smtClean="0"/>
              <a:t>Asıl metin stillerini düzenlemek için tıklatın</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en-US"/>
          </a:p>
        </p:txBody>
      </p:sp>
      <p:sp>
        <p:nvSpPr>
          <p:cNvPr id="7" name="Date Placeholder 3"/>
          <p:cNvSpPr>
            <a:spLocks noGrp="1"/>
          </p:cNvSpPr>
          <p:nvPr>
            <p:ph type="dt" sz="half" idx="10"/>
          </p:nvPr>
        </p:nvSpPr>
        <p:spPr/>
        <p:txBody>
          <a:bodyPr/>
          <a:lstStyle>
            <a:lvl1pPr>
              <a:defRPr/>
            </a:lvl1pPr>
          </a:lstStyle>
          <a:p>
            <a:fld id="{F1ACDC0D-D936-48C8-9933-7702535382B4}" type="datetimeFigureOut">
              <a:rPr lang="tr-TR" smtClean="0"/>
              <a:pPr/>
              <a:t>16.08.2013</a:t>
            </a:fld>
            <a:endParaRPr lang="tr-TR"/>
          </a:p>
        </p:txBody>
      </p:sp>
      <p:sp>
        <p:nvSpPr>
          <p:cNvPr id="8" name="Footer Placeholder 4"/>
          <p:cNvSpPr>
            <a:spLocks noGrp="1"/>
          </p:cNvSpPr>
          <p:nvPr>
            <p:ph type="ftr" sz="quarter" idx="11"/>
          </p:nvPr>
        </p:nvSpPr>
        <p:spPr/>
        <p:txBody>
          <a:bodyPr/>
          <a:lstStyle>
            <a:lvl1pPr>
              <a:defRPr/>
            </a:lvl1pPr>
          </a:lstStyle>
          <a:p>
            <a:endParaRPr lang="tr-TR"/>
          </a:p>
        </p:txBody>
      </p:sp>
      <p:sp>
        <p:nvSpPr>
          <p:cNvPr id="9" name="Slide Number Placeholder 5"/>
          <p:cNvSpPr>
            <a:spLocks noGrp="1"/>
          </p:cNvSpPr>
          <p:nvPr>
            <p:ph type="sldNum" sz="quarter" idx="12"/>
          </p:nvPr>
        </p:nvSpPr>
        <p:spPr/>
        <p:txBody>
          <a:bodyPr/>
          <a:lstStyle>
            <a:lvl1pPr>
              <a:defRPr/>
            </a:lvl1pPr>
          </a:lstStyle>
          <a:p>
            <a:fld id="{63D10EEA-996B-42F1-9986-050816E21B85}" type="slidenum">
              <a:rPr lang="tr-TR" smtClean="0"/>
              <a:pPr/>
              <a:t>‹#›</a:t>
            </a:fld>
            <a:endParaRPr lang="tr-TR"/>
          </a:p>
        </p:txBody>
      </p:sp>
    </p:spTree>
    <p:extLst>
      <p:ext uri="{BB962C8B-B14F-4D97-AF65-F5344CB8AC3E}">
        <p14:creationId xmlns:p14="http://schemas.microsoft.com/office/powerpoint/2010/main" val="149276251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Yalnızca Başlı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tr-TR" smtClean="0"/>
              <a:t>Asıl başlık stili için tıklatın</a:t>
            </a:r>
            <a:endParaRPr lang="en-US"/>
          </a:p>
        </p:txBody>
      </p:sp>
      <p:sp>
        <p:nvSpPr>
          <p:cNvPr id="3" name="Date Placeholder 3"/>
          <p:cNvSpPr>
            <a:spLocks noGrp="1"/>
          </p:cNvSpPr>
          <p:nvPr>
            <p:ph type="dt" sz="half" idx="10"/>
          </p:nvPr>
        </p:nvSpPr>
        <p:spPr/>
        <p:txBody>
          <a:bodyPr/>
          <a:lstStyle>
            <a:lvl1pPr>
              <a:defRPr/>
            </a:lvl1pPr>
          </a:lstStyle>
          <a:p>
            <a:fld id="{F1ACDC0D-D936-48C8-9933-7702535382B4}" type="datetimeFigureOut">
              <a:rPr lang="tr-TR" smtClean="0"/>
              <a:pPr/>
              <a:t>16.08.2013</a:t>
            </a:fld>
            <a:endParaRPr lang="tr-TR"/>
          </a:p>
        </p:txBody>
      </p:sp>
      <p:sp>
        <p:nvSpPr>
          <p:cNvPr id="4" name="Footer Placeholder 4"/>
          <p:cNvSpPr>
            <a:spLocks noGrp="1"/>
          </p:cNvSpPr>
          <p:nvPr>
            <p:ph type="ftr" sz="quarter" idx="11"/>
          </p:nvPr>
        </p:nvSpPr>
        <p:spPr/>
        <p:txBody>
          <a:bodyPr/>
          <a:lstStyle>
            <a:lvl1pPr>
              <a:defRPr/>
            </a:lvl1pPr>
          </a:lstStyle>
          <a:p>
            <a:endParaRPr lang="tr-TR"/>
          </a:p>
        </p:txBody>
      </p:sp>
      <p:sp>
        <p:nvSpPr>
          <p:cNvPr id="5" name="Slide Number Placeholder 5"/>
          <p:cNvSpPr>
            <a:spLocks noGrp="1"/>
          </p:cNvSpPr>
          <p:nvPr>
            <p:ph type="sldNum" sz="quarter" idx="12"/>
          </p:nvPr>
        </p:nvSpPr>
        <p:spPr/>
        <p:txBody>
          <a:bodyPr/>
          <a:lstStyle>
            <a:lvl1pPr>
              <a:defRPr/>
            </a:lvl1pPr>
          </a:lstStyle>
          <a:p>
            <a:fld id="{63D10EEA-996B-42F1-9986-050816E21B85}" type="slidenum">
              <a:rPr lang="tr-TR" smtClean="0"/>
              <a:pPr/>
              <a:t>‹#›</a:t>
            </a:fld>
            <a:endParaRPr lang="tr-TR"/>
          </a:p>
        </p:txBody>
      </p:sp>
    </p:spTree>
    <p:extLst>
      <p:ext uri="{BB962C8B-B14F-4D97-AF65-F5344CB8AC3E}">
        <p14:creationId xmlns:p14="http://schemas.microsoft.com/office/powerpoint/2010/main" val="40675488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oş">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fld id="{F1ACDC0D-D936-48C8-9933-7702535382B4}" type="datetimeFigureOut">
              <a:rPr lang="tr-TR" smtClean="0"/>
              <a:pPr/>
              <a:t>16.08.2013</a:t>
            </a:fld>
            <a:endParaRPr lang="tr-TR"/>
          </a:p>
        </p:txBody>
      </p:sp>
      <p:sp>
        <p:nvSpPr>
          <p:cNvPr id="3" name="Footer Placeholder 4"/>
          <p:cNvSpPr>
            <a:spLocks noGrp="1"/>
          </p:cNvSpPr>
          <p:nvPr>
            <p:ph type="ftr" sz="quarter" idx="11"/>
          </p:nvPr>
        </p:nvSpPr>
        <p:spPr/>
        <p:txBody>
          <a:bodyPr/>
          <a:lstStyle>
            <a:lvl1pPr>
              <a:defRPr/>
            </a:lvl1pPr>
          </a:lstStyle>
          <a:p>
            <a:endParaRPr lang="tr-TR"/>
          </a:p>
        </p:txBody>
      </p:sp>
      <p:sp>
        <p:nvSpPr>
          <p:cNvPr id="4" name="Slide Number Placeholder 5"/>
          <p:cNvSpPr>
            <a:spLocks noGrp="1"/>
          </p:cNvSpPr>
          <p:nvPr>
            <p:ph type="sldNum" sz="quarter" idx="12"/>
          </p:nvPr>
        </p:nvSpPr>
        <p:spPr/>
        <p:txBody>
          <a:bodyPr/>
          <a:lstStyle>
            <a:lvl1pPr>
              <a:defRPr/>
            </a:lvl1pPr>
          </a:lstStyle>
          <a:p>
            <a:fld id="{63D10EEA-996B-42F1-9986-050816E21B85}" type="slidenum">
              <a:rPr lang="tr-TR" smtClean="0"/>
              <a:pPr/>
              <a:t>‹#›</a:t>
            </a:fld>
            <a:endParaRPr lang="tr-TR"/>
          </a:p>
        </p:txBody>
      </p:sp>
    </p:spTree>
    <p:extLst>
      <p:ext uri="{BB962C8B-B14F-4D97-AF65-F5344CB8AC3E}">
        <p14:creationId xmlns:p14="http://schemas.microsoft.com/office/powerpoint/2010/main" val="26707459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Başlıklı İçerik">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tr-TR" smtClean="0"/>
              <a:t>Asıl başlık stili için tıklatın</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tr-TR" smtClean="0"/>
              <a:t>Asıl metin stillerini düzenlemek için tıklatın</a:t>
            </a:r>
          </a:p>
        </p:txBody>
      </p:sp>
      <p:sp>
        <p:nvSpPr>
          <p:cNvPr id="5" name="Date Placeholder 3"/>
          <p:cNvSpPr>
            <a:spLocks noGrp="1"/>
          </p:cNvSpPr>
          <p:nvPr>
            <p:ph type="dt" sz="half" idx="10"/>
          </p:nvPr>
        </p:nvSpPr>
        <p:spPr/>
        <p:txBody>
          <a:bodyPr/>
          <a:lstStyle>
            <a:lvl1pPr>
              <a:defRPr/>
            </a:lvl1pPr>
          </a:lstStyle>
          <a:p>
            <a:fld id="{F1ACDC0D-D936-48C8-9933-7702535382B4}" type="datetimeFigureOut">
              <a:rPr lang="tr-TR" smtClean="0"/>
              <a:pPr/>
              <a:t>16.08.2013</a:t>
            </a:fld>
            <a:endParaRPr lang="tr-TR"/>
          </a:p>
        </p:txBody>
      </p:sp>
      <p:sp>
        <p:nvSpPr>
          <p:cNvPr id="6" name="Footer Placeholder 4"/>
          <p:cNvSpPr>
            <a:spLocks noGrp="1"/>
          </p:cNvSpPr>
          <p:nvPr>
            <p:ph type="ftr" sz="quarter" idx="11"/>
          </p:nvPr>
        </p:nvSpPr>
        <p:spPr/>
        <p:txBody>
          <a:bodyPr/>
          <a:lstStyle>
            <a:lvl1pPr>
              <a:defRPr/>
            </a:lvl1pPr>
          </a:lstStyle>
          <a:p>
            <a:endParaRPr lang="tr-TR"/>
          </a:p>
        </p:txBody>
      </p:sp>
      <p:sp>
        <p:nvSpPr>
          <p:cNvPr id="7" name="Slide Number Placeholder 5"/>
          <p:cNvSpPr>
            <a:spLocks noGrp="1"/>
          </p:cNvSpPr>
          <p:nvPr>
            <p:ph type="sldNum" sz="quarter" idx="12"/>
          </p:nvPr>
        </p:nvSpPr>
        <p:spPr/>
        <p:txBody>
          <a:bodyPr/>
          <a:lstStyle>
            <a:lvl1pPr>
              <a:defRPr/>
            </a:lvl1pPr>
          </a:lstStyle>
          <a:p>
            <a:fld id="{63D10EEA-996B-42F1-9986-050816E21B85}" type="slidenum">
              <a:rPr lang="tr-TR" smtClean="0"/>
              <a:pPr/>
              <a:t>‹#›</a:t>
            </a:fld>
            <a:endParaRPr lang="tr-TR"/>
          </a:p>
        </p:txBody>
      </p:sp>
    </p:spTree>
    <p:extLst>
      <p:ext uri="{BB962C8B-B14F-4D97-AF65-F5344CB8AC3E}">
        <p14:creationId xmlns:p14="http://schemas.microsoft.com/office/powerpoint/2010/main" val="356929158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aşlıklı Resim">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tr-TR" smtClean="0"/>
              <a:t>Asıl başlık stili için tıklatın</a:t>
            </a:r>
            <a:endParaRPr lang="en-US"/>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tr-TR" noProof="0" smtClean="0"/>
              <a:t>Resim eklemek için simgeyi tıklatın</a:t>
            </a:r>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tr-TR" smtClean="0"/>
              <a:t>Asıl metin stillerini düzenlemek için tıklatın</a:t>
            </a:r>
          </a:p>
        </p:txBody>
      </p:sp>
      <p:sp>
        <p:nvSpPr>
          <p:cNvPr id="5" name="Date Placeholder 3"/>
          <p:cNvSpPr>
            <a:spLocks noGrp="1"/>
          </p:cNvSpPr>
          <p:nvPr>
            <p:ph type="dt" sz="half" idx="10"/>
          </p:nvPr>
        </p:nvSpPr>
        <p:spPr/>
        <p:txBody>
          <a:bodyPr/>
          <a:lstStyle>
            <a:lvl1pPr>
              <a:defRPr/>
            </a:lvl1pPr>
          </a:lstStyle>
          <a:p>
            <a:fld id="{F1ACDC0D-D936-48C8-9933-7702535382B4}" type="datetimeFigureOut">
              <a:rPr lang="tr-TR" smtClean="0"/>
              <a:pPr/>
              <a:t>16.08.2013</a:t>
            </a:fld>
            <a:endParaRPr lang="tr-TR"/>
          </a:p>
        </p:txBody>
      </p:sp>
      <p:sp>
        <p:nvSpPr>
          <p:cNvPr id="6" name="Footer Placeholder 4"/>
          <p:cNvSpPr>
            <a:spLocks noGrp="1"/>
          </p:cNvSpPr>
          <p:nvPr>
            <p:ph type="ftr" sz="quarter" idx="11"/>
          </p:nvPr>
        </p:nvSpPr>
        <p:spPr/>
        <p:txBody>
          <a:bodyPr/>
          <a:lstStyle>
            <a:lvl1pPr>
              <a:defRPr/>
            </a:lvl1pPr>
          </a:lstStyle>
          <a:p>
            <a:endParaRPr lang="tr-TR"/>
          </a:p>
        </p:txBody>
      </p:sp>
      <p:sp>
        <p:nvSpPr>
          <p:cNvPr id="7" name="Slide Number Placeholder 5"/>
          <p:cNvSpPr>
            <a:spLocks noGrp="1"/>
          </p:cNvSpPr>
          <p:nvPr>
            <p:ph type="sldNum" sz="quarter" idx="12"/>
          </p:nvPr>
        </p:nvSpPr>
        <p:spPr/>
        <p:txBody>
          <a:bodyPr/>
          <a:lstStyle>
            <a:lvl1pPr>
              <a:defRPr/>
            </a:lvl1pPr>
          </a:lstStyle>
          <a:p>
            <a:fld id="{63D10EEA-996B-42F1-9986-050816E21B85}" type="slidenum">
              <a:rPr lang="tr-TR" smtClean="0"/>
              <a:pPr/>
              <a:t>‹#›</a:t>
            </a:fld>
            <a:endParaRPr lang="tr-TR"/>
          </a:p>
        </p:txBody>
      </p:sp>
    </p:spTree>
    <p:extLst>
      <p:ext uri="{BB962C8B-B14F-4D97-AF65-F5344CB8AC3E}">
        <p14:creationId xmlns:p14="http://schemas.microsoft.com/office/powerpoint/2010/main" val="84545711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2" Type="http://schemas.openxmlformats.org/officeDocument/2006/relationships/slideLayout" Target="../slideLayouts/slideLayout17.xml"/><Relationship Id="rId16" Type="http://schemas.openxmlformats.org/officeDocument/2006/relationships/theme" Target="../theme/theme2.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tr-TR" smtClean="0"/>
              <a:t>Asıl başlık stili için tıklatın</a:t>
            </a:r>
            <a:endParaRPr lang="en-US" smtClean="0"/>
          </a:p>
        </p:txBody>
      </p:sp>
      <p:sp>
        <p:nvSpPr>
          <p:cNvPr id="1027"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en-US" smtClean="0"/>
          </a:p>
        </p:txBody>
      </p:sp>
      <p:sp>
        <p:nvSpPr>
          <p:cNvPr id="4" name="Date Placeholder 3"/>
          <p:cNvSpPr>
            <a:spLocks noGrp="1"/>
          </p:cNvSpPr>
          <p:nvPr>
            <p:ph type="dt" sz="half" idx="2"/>
          </p:nvPr>
        </p:nvSpPr>
        <p:spPr>
          <a:xfrm>
            <a:off x="457200" y="6356350"/>
            <a:ext cx="2133600" cy="365125"/>
          </a:xfrm>
          <a:prstGeom prst="rect">
            <a:avLst/>
          </a:prstGeom>
        </p:spPr>
        <p:txBody>
          <a:bodyPr vert="horz" wrap="square" lIns="91440" tIns="45720" rIns="91440" bIns="45720" numCol="1" anchor="ctr" anchorCtr="0" compatLnSpc="1">
            <a:prstTxWarp prst="textNoShape">
              <a:avLst/>
            </a:prstTxWarp>
          </a:bodyPr>
          <a:lstStyle>
            <a:lvl1pPr>
              <a:defRPr sz="1200">
                <a:solidFill>
                  <a:srgbClr val="898989"/>
                </a:solidFill>
              </a:defRPr>
            </a:lvl1pPr>
          </a:lstStyle>
          <a:p>
            <a:fld id="{F6C24C92-B3C7-4645-A4D6-634054B48184}" type="datetime1">
              <a:rPr lang="en-US" smtClean="0"/>
              <a:pPr/>
              <a:t>8/16/2013</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wrap="square" lIns="91440" tIns="45720" rIns="91440" bIns="45720" numCol="1" anchor="ctr" anchorCtr="0" compatLnSpc="1">
            <a:prstTxWarp prst="textNoShape">
              <a:avLst/>
            </a:prstTxWarp>
          </a:bodyPr>
          <a:lstStyle>
            <a:lvl1pPr algn="ctr">
              <a:defRPr sz="1200">
                <a:solidFill>
                  <a:srgbClr val="898989"/>
                </a:solidFill>
              </a:defRPr>
            </a:lvl1pPr>
          </a:lstStyle>
          <a:p>
            <a:pPr>
              <a:defRPr/>
            </a:pPr>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98989"/>
                </a:solidFill>
              </a:defRPr>
            </a:lvl1pPr>
          </a:lstStyle>
          <a:p>
            <a:fld id="{23DB9D20-96A7-4AA7-97D8-5C2E7164E9D4}"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Lst>
  <p:txStyles>
    <p:title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rtl="0" eaLnBrk="1" fontAlgn="base" hangingPunct="1">
        <a:spcBef>
          <a:spcPct val="20000"/>
        </a:spcBef>
        <a:spcAft>
          <a:spcPct val="0"/>
        </a:spcAft>
        <a:buFont typeface="Arial" pitchFamily="34" charset="0"/>
        <a:buChar char="•"/>
        <a:defRPr sz="3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pitchFamily="34" charset="0"/>
        <a:buChar char="–"/>
        <a:defRPr sz="28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pitchFamily="34" charset="0"/>
        <a:buChar char="•"/>
        <a:defRPr sz="24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chemeClr val="bg1"/>
            </a:gs>
            <a:gs pos="100000">
              <a:schemeClr val="bg1">
                <a:lumMod val="85000"/>
              </a:schemeClr>
            </a:gs>
          </a:gsLst>
          <a:lin ang="5400000" scaled="0"/>
          <a:tileRect/>
        </a:gradFill>
        <a:effectLst/>
      </p:bgPr>
    </p:bg>
    <p:spTree>
      <p:nvGrpSpPr>
        <p:cNvPr id="1" name=""/>
        <p:cNvGrpSpPr/>
        <p:nvPr/>
      </p:nvGrpSpPr>
      <p:grpSpPr>
        <a:xfrm>
          <a:off x="0" y="0"/>
          <a:ext cx="0" cy="0"/>
          <a:chOff x="0" y="0"/>
          <a:chExt cx="0" cy="0"/>
        </a:xfrm>
      </p:grpSpPr>
      <p:sp>
        <p:nvSpPr>
          <p:cNvPr id="2050" name="Title Placeholder 1"/>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tr-TR" smtClean="0"/>
              <a:t>Asıl başlık stili için tıklatın</a:t>
            </a:r>
            <a:endParaRPr lang="en-US" smtClean="0"/>
          </a:p>
        </p:txBody>
      </p:sp>
      <p:sp>
        <p:nvSpPr>
          <p:cNvPr id="2051"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en-US" smtClean="0"/>
          </a:p>
        </p:txBody>
      </p:sp>
      <p:sp>
        <p:nvSpPr>
          <p:cNvPr id="4" name="Date Placeholder 3"/>
          <p:cNvSpPr>
            <a:spLocks noGrp="1"/>
          </p:cNvSpPr>
          <p:nvPr>
            <p:ph type="dt" sz="half" idx="2"/>
          </p:nvPr>
        </p:nvSpPr>
        <p:spPr>
          <a:xfrm>
            <a:off x="457200" y="6356350"/>
            <a:ext cx="2133600" cy="365125"/>
          </a:xfrm>
          <a:prstGeom prst="rect">
            <a:avLst/>
          </a:prstGeom>
        </p:spPr>
        <p:txBody>
          <a:bodyPr vert="horz" wrap="square" lIns="91440" tIns="45720" rIns="91440" bIns="45720" numCol="1" anchor="ctr" anchorCtr="0" compatLnSpc="1">
            <a:prstTxWarp prst="textNoShape">
              <a:avLst/>
            </a:prstTxWarp>
          </a:bodyPr>
          <a:lstStyle>
            <a:lvl1pPr defTabSz="457200">
              <a:defRPr sz="1200">
                <a:solidFill>
                  <a:srgbClr val="898989"/>
                </a:solidFill>
                <a:ea typeface="MS PGothic" pitchFamily="34" charset="-128"/>
              </a:defRPr>
            </a:lvl1pPr>
          </a:lstStyle>
          <a:p>
            <a:fld id="{9724FB1D-F6BE-49D9-841D-959F6CD17BD3}" type="datetimeFigureOut">
              <a:rPr lang="en-US"/>
              <a:pPr/>
              <a:t>8/16/2013</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wrap="square" lIns="91440" tIns="45720" rIns="91440" bIns="45720" numCol="1" anchor="ctr" anchorCtr="0" compatLnSpc="1">
            <a:prstTxWarp prst="textNoShape">
              <a:avLst/>
            </a:prstTxWarp>
          </a:bodyPr>
          <a:lstStyle>
            <a:lvl1pPr algn="ctr" defTabSz="457200">
              <a:defRPr sz="1200">
                <a:solidFill>
                  <a:srgbClr val="898989"/>
                </a:solidFill>
              </a:defRPr>
            </a:lvl1pPr>
          </a:lstStyle>
          <a:p>
            <a:endParaRPr lang="tr-T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defTabSz="457200">
              <a:defRPr sz="1200">
                <a:solidFill>
                  <a:srgbClr val="898989"/>
                </a:solidFill>
                <a:ea typeface="MS PGothic" pitchFamily="34" charset="-128"/>
              </a:defRPr>
            </a:lvl1pPr>
          </a:lstStyle>
          <a:p>
            <a:fld id="{E62E1260-A12E-46DF-BB14-EF7632BBBAA8}" type="slidenum">
              <a:rPr lang="en-US"/>
              <a:pPr/>
              <a:t>‹#›</a:t>
            </a:fld>
            <a:endParaRPr lang="en-US"/>
          </a:p>
        </p:txBody>
      </p:sp>
    </p:spTree>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 id="2147483726" r:id="rId14"/>
    <p:sldLayoutId id="2147483727" r:id="rId15"/>
  </p:sldLayoutIdLst>
  <p:txStyles>
    <p:titleStyle>
      <a:lvl1pPr algn="ctr" defTabSz="457200" rtl="0" eaLnBrk="1" fontAlgn="base" hangingPunct="1">
        <a:spcBef>
          <a:spcPct val="0"/>
        </a:spcBef>
        <a:spcAft>
          <a:spcPct val="0"/>
        </a:spcAft>
        <a:defRPr sz="4400" kern="1200">
          <a:solidFill>
            <a:schemeClr val="tx1"/>
          </a:solidFill>
          <a:latin typeface="+mj-lt"/>
          <a:ea typeface="MS PGothic" pitchFamily="34" charset="-128"/>
          <a:cs typeface="ＭＳ Ｐゴシック" charset="0"/>
        </a:defRPr>
      </a:lvl1pPr>
      <a:lvl2pPr algn="ctr" defTabSz="457200" rtl="0" eaLnBrk="1" fontAlgn="base" hangingPunct="1">
        <a:spcBef>
          <a:spcPct val="0"/>
        </a:spcBef>
        <a:spcAft>
          <a:spcPct val="0"/>
        </a:spcAft>
        <a:defRPr sz="4400">
          <a:solidFill>
            <a:schemeClr val="tx1"/>
          </a:solidFill>
          <a:latin typeface="Calibri" charset="0"/>
          <a:ea typeface="MS PGothic" pitchFamily="34" charset="-128"/>
          <a:cs typeface="ＭＳ Ｐゴシック" charset="0"/>
        </a:defRPr>
      </a:lvl2pPr>
      <a:lvl3pPr algn="ctr" defTabSz="457200" rtl="0" eaLnBrk="1" fontAlgn="base" hangingPunct="1">
        <a:spcBef>
          <a:spcPct val="0"/>
        </a:spcBef>
        <a:spcAft>
          <a:spcPct val="0"/>
        </a:spcAft>
        <a:defRPr sz="4400">
          <a:solidFill>
            <a:schemeClr val="tx1"/>
          </a:solidFill>
          <a:latin typeface="Calibri" charset="0"/>
          <a:ea typeface="MS PGothic" pitchFamily="34" charset="-128"/>
          <a:cs typeface="ＭＳ Ｐゴシック" charset="0"/>
        </a:defRPr>
      </a:lvl3pPr>
      <a:lvl4pPr algn="ctr" defTabSz="457200" rtl="0" eaLnBrk="1" fontAlgn="base" hangingPunct="1">
        <a:spcBef>
          <a:spcPct val="0"/>
        </a:spcBef>
        <a:spcAft>
          <a:spcPct val="0"/>
        </a:spcAft>
        <a:defRPr sz="4400">
          <a:solidFill>
            <a:schemeClr val="tx1"/>
          </a:solidFill>
          <a:latin typeface="Calibri" charset="0"/>
          <a:ea typeface="MS PGothic" pitchFamily="34" charset="-128"/>
          <a:cs typeface="ＭＳ Ｐゴシック" charset="0"/>
        </a:defRPr>
      </a:lvl4pPr>
      <a:lvl5pPr algn="ctr" defTabSz="457200" rtl="0" eaLnBrk="1" fontAlgn="base" hangingPunct="1">
        <a:spcBef>
          <a:spcPct val="0"/>
        </a:spcBef>
        <a:spcAft>
          <a:spcPct val="0"/>
        </a:spcAft>
        <a:defRPr sz="4400">
          <a:solidFill>
            <a:schemeClr val="tx1"/>
          </a:solidFill>
          <a:latin typeface="Calibri" charset="0"/>
          <a:ea typeface="MS PGothic" pitchFamily="34" charset="-128"/>
          <a:cs typeface="ＭＳ Ｐゴシック" charset="0"/>
        </a:defRPr>
      </a:lvl5pPr>
      <a:lvl6pPr marL="457200"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6pPr>
      <a:lvl7pPr marL="914400"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7pPr>
      <a:lvl8pPr marL="1371600"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8pPr>
      <a:lvl9pPr marL="1828800"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9pPr>
    </p:titleStyle>
    <p:bodyStyle>
      <a:lvl1pPr marL="342900" indent="-342900" algn="l" defTabSz="457200" rtl="0" eaLnBrk="1" fontAlgn="base" hangingPunct="1">
        <a:spcBef>
          <a:spcPct val="20000"/>
        </a:spcBef>
        <a:spcAft>
          <a:spcPct val="0"/>
        </a:spcAft>
        <a:buFont typeface="Arial" pitchFamily="34" charset="0"/>
        <a:buChar char="•"/>
        <a:defRPr sz="3200" kern="1200">
          <a:solidFill>
            <a:schemeClr val="tx1"/>
          </a:solidFill>
          <a:latin typeface="+mn-lt"/>
          <a:ea typeface="MS PGothic" pitchFamily="34" charset="-128"/>
          <a:cs typeface="ＭＳ Ｐゴシック" charset="0"/>
        </a:defRPr>
      </a:lvl1pPr>
      <a:lvl2pPr marL="742950" indent="-285750" algn="l" defTabSz="457200" rtl="0" eaLnBrk="1" fontAlgn="base" hangingPunct="1">
        <a:spcBef>
          <a:spcPct val="20000"/>
        </a:spcBef>
        <a:spcAft>
          <a:spcPct val="0"/>
        </a:spcAft>
        <a:buFont typeface="Arial" pitchFamily="34" charset="0"/>
        <a:buChar char="–"/>
        <a:defRPr sz="2800" kern="1200">
          <a:solidFill>
            <a:schemeClr val="tx1"/>
          </a:solidFill>
          <a:latin typeface="+mn-lt"/>
          <a:ea typeface="MS PGothic" pitchFamily="34" charset="-128"/>
          <a:cs typeface="+mn-cs"/>
        </a:defRPr>
      </a:lvl2pPr>
      <a:lvl3pPr marL="1143000" indent="-228600" algn="l" defTabSz="457200" rtl="0" eaLnBrk="1" fontAlgn="base" hangingPunct="1">
        <a:spcBef>
          <a:spcPct val="20000"/>
        </a:spcBef>
        <a:spcAft>
          <a:spcPct val="0"/>
        </a:spcAft>
        <a:buFont typeface="Arial" pitchFamily="34" charset="0"/>
        <a:buChar char="•"/>
        <a:defRPr sz="2400" kern="1200">
          <a:solidFill>
            <a:schemeClr val="tx1"/>
          </a:solidFill>
          <a:latin typeface="+mn-lt"/>
          <a:ea typeface="MS PGothic" pitchFamily="34" charset="-128"/>
          <a:cs typeface="+mn-cs"/>
        </a:defRPr>
      </a:lvl3pPr>
      <a:lvl4pPr marL="1600200" indent="-228600" algn="l" defTabSz="457200" rtl="0" eaLnBrk="1" fontAlgn="base" hangingPunct="1">
        <a:spcBef>
          <a:spcPct val="20000"/>
        </a:spcBef>
        <a:spcAft>
          <a:spcPct val="0"/>
        </a:spcAft>
        <a:buFont typeface="Arial" pitchFamily="34" charset="0"/>
        <a:buChar char="–"/>
        <a:defRPr sz="2000" kern="1200">
          <a:solidFill>
            <a:schemeClr val="tx1"/>
          </a:solidFill>
          <a:latin typeface="+mn-lt"/>
          <a:ea typeface="MS PGothic" pitchFamily="34" charset="-128"/>
          <a:cs typeface="+mn-cs"/>
        </a:defRPr>
      </a:lvl4pPr>
      <a:lvl5pPr marL="2057400" indent="-228600" algn="l" defTabSz="457200" rtl="0" eaLnBrk="1" fontAlgn="base" hangingPunct="1">
        <a:spcBef>
          <a:spcPct val="20000"/>
        </a:spcBef>
        <a:spcAft>
          <a:spcPct val="0"/>
        </a:spcAft>
        <a:buFont typeface="Arial" pitchFamily="34" charset="0"/>
        <a:buChar char="»"/>
        <a:defRPr sz="2000" kern="1200">
          <a:solidFill>
            <a:schemeClr val="tx1"/>
          </a:solidFill>
          <a:latin typeface="+mn-lt"/>
          <a:ea typeface="MS PGothic"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Layout" Target="../slideLayouts/slideLayout16.xml"/><Relationship Id="rId6" Type="http://schemas.openxmlformats.org/officeDocument/2006/relationships/image" Target="../media/image5.png"/><Relationship Id="rId5" Type="http://schemas.openxmlformats.org/officeDocument/2006/relationships/image" Target="../media/image4.jpeg"/><Relationship Id="rId4" Type="http://schemas.openxmlformats.org/officeDocument/2006/relationships/image" Target="../media/image3.jpe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2.xml"/><Relationship Id="rId1" Type="http://schemas.openxmlformats.org/officeDocument/2006/relationships/slideLayout" Target="../slideLayouts/slideLayout22.xml"/><Relationship Id="rId4" Type="http://schemas.openxmlformats.org/officeDocument/2006/relationships/image" Target="../media/image33.png"/></Relationships>
</file>

<file path=ppt/slides/_rels/slide1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xml"/><Relationship Id="rId1" Type="http://schemas.openxmlformats.org/officeDocument/2006/relationships/slideLayout" Target="../slideLayouts/slideLayout22.xml"/><Relationship Id="rId4" Type="http://schemas.openxmlformats.org/officeDocument/2006/relationships/image" Target="../media/image35.png"/></Relationships>
</file>

<file path=ppt/slides/_rels/slide14.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4.xml"/><Relationship Id="rId1" Type="http://schemas.openxmlformats.org/officeDocument/2006/relationships/slideLayout" Target="../slideLayouts/slideLayout22.xml"/><Relationship Id="rId4" Type="http://schemas.openxmlformats.org/officeDocument/2006/relationships/image" Target="../media/image37.png"/></Relationships>
</file>

<file path=ppt/slides/_rels/slide1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5.xml"/><Relationship Id="rId1" Type="http://schemas.openxmlformats.org/officeDocument/2006/relationships/slideLayout" Target="../slideLayouts/slideLayout22.xml"/><Relationship Id="rId4" Type="http://schemas.openxmlformats.org/officeDocument/2006/relationships/image" Target="../media/image39.png"/></Relationships>
</file>

<file path=ppt/slides/_rels/slide1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6.xml"/><Relationship Id="rId1" Type="http://schemas.openxmlformats.org/officeDocument/2006/relationships/slideLayout" Target="../slideLayouts/slideLayout22.xml"/><Relationship Id="rId4" Type="http://schemas.openxmlformats.org/officeDocument/2006/relationships/image" Target="../media/image41.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9.png"/><Relationship Id="rId1" Type="http://schemas.openxmlformats.org/officeDocument/2006/relationships/slideLayout" Target="../slideLayouts/slideLayout27.xml"/></Relationships>
</file>

<file path=ppt/slides/_rels/slide19.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tags" Target="../tags/tag12.xml"/><Relationship Id="rId18" Type="http://schemas.openxmlformats.org/officeDocument/2006/relationships/tags" Target="../tags/tag17.xml"/><Relationship Id="rId3" Type="http://schemas.openxmlformats.org/officeDocument/2006/relationships/tags" Target="../tags/tag2.xml"/><Relationship Id="rId21" Type="http://schemas.openxmlformats.org/officeDocument/2006/relationships/oleObject" Target="../embeddings/oleObject1.bin"/><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tags" Target="../tags/tag16.xml"/><Relationship Id="rId2" Type="http://schemas.openxmlformats.org/officeDocument/2006/relationships/tags" Target="../tags/tag1.xml"/><Relationship Id="rId16" Type="http://schemas.openxmlformats.org/officeDocument/2006/relationships/tags" Target="../tags/tag15.xml"/><Relationship Id="rId20" Type="http://schemas.openxmlformats.org/officeDocument/2006/relationships/notesSlide" Target="../notesSlides/notesSlide7.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tags" Target="../tags/tag10.xml"/><Relationship Id="rId5" Type="http://schemas.openxmlformats.org/officeDocument/2006/relationships/tags" Target="../tags/tag4.xml"/><Relationship Id="rId15" Type="http://schemas.openxmlformats.org/officeDocument/2006/relationships/tags" Target="../tags/tag14.xml"/><Relationship Id="rId10" Type="http://schemas.openxmlformats.org/officeDocument/2006/relationships/tags" Target="../tags/tag9.xml"/><Relationship Id="rId19" Type="http://schemas.openxmlformats.org/officeDocument/2006/relationships/slideLayout" Target="../slideLayouts/slideLayout17.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 Id="rId22" Type="http://schemas.openxmlformats.org/officeDocument/2006/relationships/image" Target="../media/image43.emf"/></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16.xml"/><Relationship Id="rId4" Type="http://schemas.openxmlformats.org/officeDocument/2006/relationships/image" Target="../media/image8.png"/></Relationships>
</file>

<file path=ppt/slides/_rels/slide20.xml.rels><?xml version="1.0" encoding="UTF-8" standalone="yes"?>
<Relationships xmlns="http://schemas.openxmlformats.org/package/2006/relationships"><Relationship Id="rId3" Type="http://schemas.openxmlformats.org/officeDocument/2006/relationships/image" Target="../media/image44.png"/><Relationship Id="rId7" Type="http://schemas.openxmlformats.org/officeDocument/2006/relationships/image" Target="../media/image48.jpeg"/><Relationship Id="rId2" Type="http://schemas.openxmlformats.org/officeDocument/2006/relationships/notesSlide" Target="../notesSlides/notesSlide8.xml"/><Relationship Id="rId1" Type="http://schemas.openxmlformats.org/officeDocument/2006/relationships/slideLayout" Target="../slideLayouts/slideLayout22.xml"/><Relationship Id="rId6" Type="http://schemas.openxmlformats.org/officeDocument/2006/relationships/image" Target="../media/image47.png"/><Relationship Id="rId5" Type="http://schemas.openxmlformats.org/officeDocument/2006/relationships/image" Target="../media/image46.jpeg"/><Relationship Id="rId4" Type="http://schemas.openxmlformats.org/officeDocument/2006/relationships/image" Target="../media/image45.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7.xml"/></Relationships>
</file>

<file path=ppt/slides/_rels/slide22.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9.xml"/></Relationships>
</file>

<file path=ppt/slides/_rels/slide2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9.png"/><Relationship Id="rId1" Type="http://schemas.openxmlformats.org/officeDocument/2006/relationships/slideLayout" Target="../slideLayouts/slideLayout27.xml"/><Relationship Id="rId4" Type="http://schemas.openxmlformats.org/officeDocument/2006/relationships/image" Target="../media/image49.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7.xml"/></Relationships>
</file>

<file path=ppt/slides/_rels/slide2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1.xml"/><Relationship Id="rId1" Type="http://schemas.openxmlformats.org/officeDocument/2006/relationships/slideLayout" Target="../slideLayouts/slideLayout16.xml"/><Relationship Id="rId4" Type="http://schemas.openxmlformats.org/officeDocument/2006/relationships/image" Target="../media/image51.png"/></Relationships>
</file>

<file path=ppt/slides/_rels/slide2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2.xml"/><Relationship Id="rId1" Type="http://schemas.openxmlformats.org/officeDocument/2006/relationships/slideLayout" Target="../slideLayouts/slideLayout30.xml"/><Relationship Id="rId4" Type="http://schemas.openxmlformats.org/officeDocument/2006/relationships/image" Target="../media/image53.png"/></Relationships>
</file>

<file path=ppt/slides/_rels/slide27.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19.xml"/></Relationships>
</file>

<file path=ppt/slides/_rels/slide28.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notesSlide" Target="../notesSlides/notesSlide13.xml"/><Relationship Id="rId1" Type="http://schemas.openxmlformats.org/officeDocument/2006/relationships/slideLayout" Target="../slideLayouts/slideLayout16.xml"/><Relationship Id="rId4" Type="http://schemas.openxmlformats.org/officeDocument/2006/relationships/image" Target="../media/image56.png"/></Relationships>
</file>

<file path=ppt/slides/_rels/slide29.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notesSlide" Target="../notesSlides/notesSlide14.xml"/><Relationship Id="rId1" Type="http://schemas.openxmlformats.org/officeDocument/2006/relationships/slideLayout" Target="../slideLayouts/slideLayout16.xml"/><Relationship Id="rId4" Type="http://schemas.openxmlformats.org/officeDocument/2006/relationships/image" Target="../media/image56.png"/></Relationships>
</file>

<file path=ppt/slides/_rels/slide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7.xml"/></Relationships>
</file>

<file path=ppt/slides/_rels/slide30.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notesSlide" Target="../notesSlides/notesSlide15.xml"/><Relationship Id="rId1" Type="http://schemas.openxmlformats.org/officeDocument/2006/relationships/slideLayout" Target="../slideLayouts/slideLayout16.xml"/><Relationship Id="rId5" Type="http://schemas.openxmlformats.org/officeDocument/2006/relationships/image" Target="../media/image57.png"/><Relationship Id="rId4" Type="http://schemas.openxmlformats.org/officeDocument/2006/relationships/image" Target="../media/image56.png"/></Relationships>
</file>

<file path=ppt/slides/_rels/slide31.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notesSlide" Target="../notesSlides/notesSlide16.xml"/><Relationship Id="rId1" Type="http://schemas.openxmlformats.org/officeDocument/2006/relationships/slideLayout" Target="../slideLayouts/slideLayout16.xml"/><Relationship Id="rId5" Type="http://schemas.openxmlformats.org/officeDocument/2006/relationships/image" Target="../media/image58.png"/><Relationship Id="rId4" Type="http://schemas.openxmlformats.org/officeDocument/2006/relationships/image" Target="../media/image56.png"/></Relationships>
</file>

<file path=ppt/slides/_rels/slide3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7.xml"/><Relationship Id="rId1" Type="http://schemas.openxmlformats.org/officeDocument/2006/relationships/slideLayout" Target="../slideLayouts/slideLayout22.xml"/></Relationships>
</file>

<file path=ppt/slides/_rels/slide33.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1.xml"/><Relationship Id="rId1" Type="http://schemas.openxmlformats.org/officeDocument/2006/relationships/slideLayout" Target="../slideLayouts/slideLayout21.xml"/><Relationship Id="rId4" Type="http://schemas.openxmlformats.org/officeDocument/2006/relationships/image" Target="../media/image11.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slideLayout" Target="../slideLayouts/slideLayout17.xml"/><Relationship Id="rId6" Type="http://schemas.openxmlformats.org/officeDocument/2006/relationships/image" Target="../media/image16.png"/><Relationship Id="rId5" Type="http://schemas.openxmlformats.org/officeDocument/2006/relationships/image" Target="../media/image15.png"/><Relationship Id="rId10" Type="http://schemas.openxmlformats.org/officeDocument/2006/relationships/image" Target="../media/image5.png"/><Relationship Id="rId4" Type="http://schemas.openxmlformats.org/officeDocument/2006/relationships/image" Target="../media/image14.png"/><Relationship Id="rId9" Type="http://schemas.openxmlformats.org/officeDocument/2006/relationships/image" Target="../media/image19.png"/></Relationships>
</file>

<file path=ppt/slides/_rels/slide7.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png"/><Relationship Id="rId1" Type="http://schemas.openxmlformats.org/officeDocument/2006/relationships/slideLayout" Target="../slideLayouts/slideLayout17.xml"/><Relationship Id="rId5" Type="http://schemas.openxmlformats.org/officeDocument/2006/relationships/image" Target="../media/image23.png"/><Relationship Id="rId4" Type="http://schemas.openxmlformats.org/officeDocument/2006/relationships/image" Target="../media/image22.png"/></Relationships>
</file>

<file path=ppt/slides/_rels/slide8.xml.rels><?xml version="1.0" encoding="UTF-8" standalone="yes"?>
<Relationships xmlns="http://schemas.openxmlformats.org/package/2006/relationships"><Relationship Id="rId8" Type="http://schemas.openxmlformats.org/officeDocument/2006/relationships/image" Target="../media/image21.jpeg"/><Relationship Id="rId3" Type="http://schemas.openxmlformats.org/officeDocument/2006/relationships/image" Target="../media/image25.png"/><Relationship Id="rId7" Type="http://schemas.openxmlformats.org/officeDocument/2006/relationships/image" Target="../media/image29.jpeg"/><Relationship Id="rId2" Type="http://schemas.openxmlformats.org/officeDocument/2006/relationships/image" Target="../media/image24.png"/><Relationship Id="rId1" Type="http://schemas.openxmlformats.org/officeDocument/2006/relationships/slideLayout" Target="../slideLayouts/slideLayout17.xml"/><Relationship Id="rId6" Type="http://schemas.openxmlformats.org/officeDocument/2006/relationships/image" Target="../media/image28.png"/><Relationship Id="rId5" Type="http://schemas.openxmlformats.org/officeDocument/2006/relationships/image" Target="../media/image27.png"/><Relationship Id="rId10" Type="http://schemas.openxmlformats.org/officeDocument/2006/relationships/image" Target="../media/image31.png"/><Relationship Id="rId4" Type="http://schemas.openxmlformats.org/officeDocument/2006/relationships/image" Target="../media/image26.png"/><Relationship Id="rId9" Type="http://schemas.openxmlformats.org/officeDocument/2006/relationships/image" Target="../media/image30.png"/></Relationships>
</file>

<file path=ppt/slides/_rels/slide9.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6.png"/><Relationship Id="rId7" Type="http://schemas.openxmlformats.org/officeDocument/2006/relationships/image" Target="../media/image21.jpeg"/><Relationship Id="rId2" Type="http://schemas.openxmlformats.org/officeDocument/2006/relationships/image" Target="../media/image25.png"/><Relationship Id="rId1" Type="http://schemas.openxmlformats.org/officeDocument/2006/relationships/slideLayout" Target="../slideLayouts/slideLayout17.xml"/><Relationship Id="rId6" Type="http://schemas.openxmlformats.org/officeDocument/2006/relationships/image" Target="../media/image29.jpeg"/><Relationship Id="rId5" Type="http://schemas.openxmlformats.org/officeDocument/2006/relationships/image" Target="../media/image28.png"/><Relationship Id="rId10" Type="http://schemas.openxmlformats.org/officeDocument/2006/relationships/image" Target="../media/image24.png"/><Relationship Id="rId4" Type="http://schemas.openxmlformats.org/officeDocument/2006/relationships/image" Target="../media/image27.png"/><Relationship Id="rId9" Type="http://schemas.openxmlformats.org/officeDocument/2006/relationships/image" Target="../media/image3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531" name="Picture 3" descr="C:\Users\ildas_tugba\Desktop\e-arşiv\kurum-haf¦-zas¦-1.jpg"/>
          <p:cNvPicPr>
            <a:picLocks noChangeAspect="1" noChangeArrowheads="1"/>
          </p:cNvPicPr>
          <p:nvPr/>
        </p:nvPicPr>
        <p:blipFill>
          <a:blip r:embed="rId2">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0" y="343785"/>
            <a:ext cx="2981325" cy="206692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p:spPr>
      </p:pic>
      <p:pic>
        <p:nvPicPr>
          <p:cNvPr id="22530" name="Picture 2" descr="C:\Users\ildas_tugba\Desktop\e-arşiv\Sburo.jpg"/>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665669" y="390061"/>
            <a:ext cx="2218510" cy="177557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p:spPr>
      </p:pic>
      <p:sp>
        <p:nvSpPr>
          <p:cNvPr id="6" name="Rektangel 27"/>
          <p:cNvSpPr/>
          <p:nvPr/>
        </p:nvSpPr>
        <p:spPr>
          <a:xfrm>
            <a:off x="-1" y="1814894"/>
            <a:ext cx="7141313" cy="3034383"/>
          </a:xfrm>
          <a:prstGeom prst="rect">
            <a:avLst/>
          </a:prstGeom>
          <a:solidFill>
            <a:schemeClr val="accent1">
              <a:lumMod val="75000"/>
            </a:scheme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defTabSz="457200" fontAlgn="base">
              <a:spcBef>
                <a:spcPct val="0"/>
              </a:spcBef>
              <a:spcAft>
                <a:spcPct val="0"/>
              </a:spcAft>
              <a:defRPr/>
            </a:pPr>
            <a:endParaRPr lang="da-DK" dirty="0">
              <a:solidFill>
                <a:prstClr val="white"/>
              </a:solidFill>
              <a:latin typeface="Arial" pitchFamily="34" charset="0"/>
            </a:endParaRPr>
          </a:p>
        </p:txBody>
      </p:sp>
      <p:sp>
        <p:nvSpPr>
          <p:cNvPr id="7" name="Rektangel 27"/>
          <p:cNvSpPr/>
          <p:nvPr/>
        </p:nvSpPr>
        <p:spPr>
          <a:xfrm>
            <a:off x="2992727" y="334002"/>
            <a:ext cx="5913438" cy="3119757"/>
          </a:xfrm>
          <a:prstGeom prst="rect">
            <a:avLst/>
          </a:prstGeom>
          <a:solidFill>
            <a:schemeClr val="bg1">
              <a:lumMod val="95000"/>
              <a:alpha val="42000"/>
            </a:scheme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defTabSz="457200" fontAlgn="base">
              <a:spcBef>
                <a:spcPct val="0"/>
              </a:spcBef>
              <a:spcAft>
                <a:spcPct val="0"/>
              </a:spcAft>
              <a:defRPr/>
            </a:pPr>
            <a:endParaRPr lang="da-DK" dirty="0">
              <a:solidFill>
                <a:prstClr val="white"/>
              </a:solidFill>
              <a:latin typeface="Arial" pitchFamily="34" charset="0"/>
            </a:endParaRPr>
          </a:p>
        </p:txBody>
      </p:sp>
      <p:pic>
        <p:nvPicPr>
          <p:cNvPr id="22532" name="Picture 4" descr="C:\Users\ildas_tugba\Desktop\e-arşiv\arşiv.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750" y="4766057"/>
            <a:ext cx="5899148" cy="140161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p:spPr>
      </p:pic>
      <p:pic>
        <p:nvPicPr>
          <p:cNvPr id="22533" name="Picture 5" descr="C:\Users\ildas_tugba\Desktop\e-arşiv\DigitalArsiv.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821218" y="3558587"/>
            <a:ext cx="3112655" cy="258138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p:spPr>
      </p:pic>
      <p:sp>
        <p:nvSpPr>
          <p:cNvPr id="10" name="Metin kutusu 9"/>
          <p:cNvSpPr txBox="1"/>
          <p:nvPr/>
        </p:nvSpPr>
        <p:spPr>
          <a:xfrm>
            <a:off x="1039005" y="3463541"/>
            <a:ext cx="6984776" cy="1116000"/>
          </a:xfrm>
          <a:prstGeom prst="rect">
            <a:avLst/>
          </a:prstGeom>
          <a:solidFill>
            <a:schemeClr val="bg1">
              <a:lumMod val="95000"/>
              <a:alpha val="84000"/>
            </a:schemeClr>
          </a:solidFill>
        </p:spPr>
        <p:txBody>
          <a:bodyPr wrap="square" rtlCol="0">
            <a:spAutoFit/>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algn="ctr"/>
            <a:r>
              <a:rPr lang="tr-TR" sz="2800" b="1" dirty="0" smtClean="0"/>
              <a:t>Hüdaverdi AKKOCA</a:t>
            </a:r>
            <a:endParaRPr lang="tr-TR" sz="2800" b="1" dirty="0"/>
          </a:p>
          <a:p>
            <a:pPr algn="ctr"/>
            <a:r>
              <a:rPr lang="tr-TR" sz="2800" dirty="0"/>
              <a:t>Uygulama ve Veri Yönetimi Daire </a:t>
            </a:r>
            <a:r>
              <a:rPr lang="tr-TR" sz="2800" dirty="0" smtClean="0"/>
              <a:t>Başkanı</a:t>
            </a:r>
            <a:endParaRPr lang="tr-TR" sz="2800" dirty="0"/>
          </a:p>
        </p:txBody>
      </p:sp>
      <p:sp>
        <p:nvSpPr>
          <p:cNvPr id="11" name="Metin kutusu 10"/>
          <p:cNvSpPr txBox="1"/>
          <p:nvPr/>
        </p:nvSpPr>
        <p:spPr>
          <a:xfrm>
            <a:off x="1331640" y="1893881"/>
            <a:ext cx="5809673" cy="1569660"/>
          </a:xfrm>
          <a:prstGeom prst="rect">
            <a:avLst/>
          </a:prstGeom>
          <a:solidFill>
            <a:schemeClr val="bg1">
              <a:alpha val="47000"/>
            </a:schemeClr>
          </a:solidFill>
        </p:spPr>
        <p:txBody>
          <a:bodyPr wrap="square" rtlCol="0">
            <a:spAutoFit/>
          </a:bodyPr>
          <a:lstStyle/>
          <a:p>
            <a:pPr algn="ctr"/>
            <a:r>
              <a:rPr lang="tr-TR" sz="4800" b="1" dirty="0"/>
              <a:t>e</a:t>
            </a:r>
            <a:r>
              <a:rPr lang="tr-TR" sz="4800" b="1" dirty="0" smtClean="0"/>
              <a:t>-FATURA UYGULAMASI</a:t>
            </a:r>
            <a:endParaRPr lang="tr-TR" sz="4800" b="1" dirty="0"/>
          </a:p>
        </p:txBody>
      </p:sp>
      <p:pic>
        <p:nvPicPr>
          <p:cNvPr id="12" name="Picture 5" descr="C:\Users\Administrator\Desktop\LOGO2.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763158" y="5857595"/>
            <a:ext cx="946636" cy="113199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6336916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341" name="Group 240"/>
          <p:cNvGrpSpPr>
            <a:grpSpLocks/>
          </p:cNvGrpSpPr>
          <p:nvPr/>
        </p:nvGrpSpPr>
        <p:grpSpPr bwMode="auto">
          <a:xfrm>
            <a:off x="-9525" y="874713"/>
            <a:ext cx="9072563" cy="5209118"/>
            <a:chOff x="-18727" y="874800"/>
            <a:chExt cx="9246332" cy="5209027"/>
          </a:xfrm>
        </p:grpSpPr>
        <p:sp>
          <p:nvSpPr>
            <p:cNvPr id="6" name="Round Same Side Corner Rectangle 5"/>
            <p:cNvSpPr>
              <a:spLocks/>
            </p:cNvSpPr>
            <p:nvPr/>
          </p:nvSpPr>
          <p:spPr bwMode="auto">
            <a:xfrm rot="5400000">
              <a:off x="-1216902" y="2281238"/>
              <a:ext cx="4460797" cy="2032090"/>
            </a:xfrm>
            <a:custGeom>
              <a:avLst/>
              <a:gdLst>
                <a:gd name="T0" fmla="*/ 72581 w 4460797"/>
                <a:gd name="T1" fmla="*/ 0 h 2031933"/>
                <a:gd name="T2" fmla="*/ 4388216 w 4460797"/>
                <a:gd name="T3" fmla="*/ 0 h 2031933"/>
                <a:gd name="T4" fmla="*/ 4460797 w 4460797"/>
                <a:gd name="T5" fmla="*/ 72581 h 2031933"/>
                <a:gd name="T6" fmla="*/ 4460797 w 4460797"/>
                <a:gd name="T7" fmla="*/ 2031933 h 2031933"/>
                <a:gd name="T8" fmla="*/ 4460797 w 4460797"/>
                <a:gd name="T9" fmla="*/ 2031933 h 2031933"/>
                <a:gd name="T10" fmla="*/ 0 w 4460797"/>
                <a:gd name="T11" fmla="*/ 2031933 h 2031933"/>
                <a:gd name="T12" fmla="*/ 0 w 4460797"/>
                <a:gd name="T13" fmla="*/ 2031933 h 2031933"/>
                <a:gd name="T14" fmla="*/ 0 w 4460797"/>
                <a:gd name="T15" fmla="*/ 72581 h 2031933"/>
                <a:gd name="T16" fmla="*/ 72581 w 4460797"/>
                <a:gd name="T17" fmla="*/ 0 h 20319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460797" h="2031933">
                  <a:moveTo>
                    <a:pt x="72581" y="0"/>
                  </a:moveTo>
                  <a:lnTo>
                    <a:pt x="4388216" y="0"/>
                  </a:lnTo>
                  <a:cubicBezTo>
                    <a:pt x="4428301" y="0"/>
                    <a:pt x="4460797" y="32496"/>
                    <a:pt x="4460797" y="72581"/>
                  </a:cubicBezTo>
                  <a:lnTo>
                    <a:pt x="4460797" y="2031933"/>
                  </a:lnTo>
                  <a:lnTo>
                    <a:pt x="0" y="2031933"/>
                  </a:lnTo>
                  <a:lnTo>
                    <a:pt x="0" y="72581"/>
                  </a:lnTo>
                  <a:cubicBezTo>
                    <a:pt x="0" y="32496"/>
                    <a:pt x="32496" y="0"/>
                    <a:pt x="72581" y="0"/>
                  </a:cubicBezTo>
                  <a:close/>
                </a:path>
              </a:pathLst>
            </a:custGeom>
            <a:solidFill>
              <a:srgbClr val="0D0D0D"/>
            </a:solidFill>
            <a:ln>
              <a:noFill/>
            </a:ln>
            <a:effectLst>
              <a:outerShdw blurRad="40000" dist="23000" dir="5400000" rotWithShape="0">
                <a:srgbClr val="000000">
                  <a:alpha val="34999"/>
                </a:srgbClr>
              </a:outerShdw>
            </a:effectLst>
            <a:extLst>
              <a:ext uri="{91240B29-F687-4F45-9708-019B960494DF}">
                <a14:hiddenLine xmlns:a14="http://schemas.microsoft.com/office/drawing/2010/main" w="9525" cap="flat" cmpd="sng">
                  <a:solidFill>
                    <a:srgbClr val="000000"/>
                  </a:solidFill>
                  <a:prstDash val="solid"/>
                  <a:round/>
                  <a:headEnd/>
                  <a:tailEnd/>
                </a14:hiddenLine>
              </a:ext>
            </a:extLst>
          </p:spPr>
          <p:txBody>
            <a:bodyPr anchor="ctr"/>
            <a:lstStyle/>
            <a:p>
              <a:pPr defTabSz="457200" fontAlgn="base">
                <a:spcBef>
                  <a:spcPct val="0"/>
                </a:spcBef>
                <a:spcAft>
                  <a:spcPct val="0"/>
                </a:spcAft>
                <a:defRPr/>
              </a:pPr>
              <a:endParaRPr lang="tr-TR" sz="1600">
                <a:solidFill>
                  <a:prstClr val="black"/>
                </a:solidFill>
                <a:ea typeface="MS PGothic" pitchFamily="34" charset="-128"/>
              </a:endParaRPr>
            </a:p>
          </p:txBody>
        </p:sp>
        <p:sp>
          <p:nvSpPr>
            <p:cNvPr id="7" name="Rounded Rectangle 6"/>
            <p:cNvSpPr>
              <a:spLocks noChangeArrowheads="1"/>
            </p:cNvSpPr>
            <p:nvPr/>
          </p:nvSpPr>
          <p:spPr bwMode="auto">
            <a:xfrm>
              <a:off x="2196187" y="1116096"/>
              <a:ext cx="6667389" cy="4389361"/>
            </a:xfrm>
            <a:prstGeom prst="roundRect">
              <a:avLst>
                <a:gd name="adj" fmla="val 2741"/>
              </a:avLst>
            </a:prstGeom>
            <a:solidFill>
              <a:srgbClr val="0D0D0D"/>
            </a:solidFill>
            <a:ln>
              <a:noFill/>
            </a:ln>
            <a:effectLst>
              <a:outerShdw blurRad="40000" dist="23000" dir="5400000" rotWithShape="0">
                <a:srgbClr val="808080">
                  <a:alpha val="34999"/>
                </a:srgbClr>
              </a:outerShdw>
            </a:effectLst>
            <a:extLst>
              <a:ext uri="{91240B29-F687-4F45-9708-019B960494DF}">
                <a14:hiddenLine xmlns:a14="http://schemas.microsoft.com/office/drawing/2010/main" w="9525">
                  <a:solidFill>
                    <a:srgbClr val="000000"/>
                  </a:solidFill>
                  <a:round/>
                  <a:headEnd/>
                  <a:tailEnd/>
                </a14:hiddenLine>
              </a:ext>
            </a:extLst>
          </p:spPr>
          <p:txBody>
            <a:bodyPr anchor="ctr"/>
            <a:lstStyle/>
            <a:p>
              <a:pPr algn="ctr" defTabSz="457200" fontAlgn="base">
                <a:spcBef>
                  <a:spcPct val="0"/>
                </a:spcBef>
                <a:spcAft>
                  <a:spcPct val="0"/>
                </a:spcAft>
                <a:defRPr/>
              </a:pPr>
              <a:endParaRPr lang="en-US" sz="1600">
                <a:solidFill>
                  <a:srgbClr val="FFFFFF"/>
                </a:solidFill>
                <a:ea typeface="ＭＳ Ｐゴシック" charset="0"/>
                <a:cs typeface="ＭＳ Ｐゴシック" charset="0"/>
              </a:endParaRPr>
            </a:p>
          </p:txBody>
        </p:sp>
        <p:sp>
          <p:nvSpPr>
            <p:cNvPr id="8" name="Oval 7"/>
            <p:cNvSpPr>
              <a:spLocks noChangeArrowheads="1"/>
            </p:cNvSpPr>
            <p:nvPr/>
          </p:nvSpPr>
          <p:spPr bwMode="auto">
            <a:xfrm>
              <a:off x="-13874" y="5697541"/>
              <a:ext cx="1891332" cy="169859"/>
            </a:xfrm>
            <a:prstGeom prst="ellipse">
              <a:avLst/>
            </a:prstGeom>
            <a:gradFill rotWithShape="1">
              <a:gsLst>
                <a:gs pos="0">
                  <a:srgbClr val="0D0D0D">
                    <a:alpha val="47000"/>
                  </a:srgbClr>
                </a:gs>
                <a:gs pos="100000">
                  <a:srgbClr val="9BC1FF">
                    <a:alpha val="0"/>
                  </a:srgbClr>
                </a:gs>
              </a:gsLst>
              <a:path path="shape">
                <a:fillToRect l="50000" t="50000" r="50000" b="50000"/>
              </a:path>
            </a:gradFill>
            <a:ln w="9525">
              <a:noFill/>
              <a:round/>
              <a:headEnd/>
              <a:tailEnd/>
            </a:ln>
            <a:effectLst>
              <a:outerShdw blurRad="63500" dist="23000" dir="5400000" rotWithShape="0">
                <a:srgbClr val="000000">
                  <a:alpha val="34999"/>
                </a:srgbClr>
              </a:outerShdw>
            </a:effectLst>
          </p:spPr>
          <p:txBody>
            <a:bodyPr anchor="ctr"/>
            <a:lstStyle/>
            <a:p>
              <a:pPr algn="ctr" defTabSz="457200" fontAlgn="base">
                <a:spcBef>
                  <a:spcPct val="0"/>
                </a:spcBef>
                <a:spcAft>
                  <a:spcPct val="0"/>
                </a:spcAft>
                <a:defRPr/>
              </a:pPr>
              <a:endParaRPr lang="en-US" sz="1600">
                <a:solidFill>
                  <a:srgbClr val="FFFFFF"/>
                </a:solidFill>
                <a:ea typeface="ＭＳ Ｐゴシック" charset="0"/>
                <a:cs typeface="Arial" charset="0"/>
              </a:endParaRPr>
            </a:p>
          </p:txBody>
        </p:sp>
        <p:sp>
          <p:nvSpPr>
            <p:cNvPr id="9" name="Oval 8"/>
            <p:cNvSpPr>
              <a:spLocks noChangeArrowheads="1"/>
            </p:cNvSpPr>
            <p:nvPr/>
          </p:nvSpPr>
          <p:spPr bwMode="auto">
            <a:xfrm>
              <a:off x="1087112" y="5913968"/>
              <a:ext cx="6880954" cy="169859"/>
            </a:xfrm>
            <a:prstGeom prst="ellipse">
              <a:avLst/>
            </a:prstGeom>
            <a:gradFill rotWithShape="1">
              <a:gsLst>
                <a:gs pos="0">
                  <a:srgbClr val="0D0D0D">
                    <a:alpha val="47000"/>
                  </a:srgbClr>
                </a:gs>
                <a:gs pos="100000">
                  <a:srgbClr val="9BC1FF">
                    <a:alpha val="0"/>
                  </a:srgbClr>
                </a:gs>
              </a:gsLst>
              <a:path path="shape">
                <a:fillToRect l="50000" t="50000" r="50000" b="50000"/>
              </a:path>
            </a:gradFill>
            <a:ln w="9525">
              <a:noFill/>
              <a:round/>
              <a:headEnd/>
              <a:tailEnd/>
            </a:ln>
            <a:effectLst>
              <a:outerShdw blurRad="63500" dist="23000" dir="5400000" rotWithShape="0">
                <a:srgbClr val="000000">
                  <a:alpha val="34999"/>
                </a:srgbClr>
              </a:outerShdw>
            </a:effectLst>
          </p:spPr>
          <p:txBody>
            <a:bodyPr anchor="ctr"/>
            <a:lstStyle/>
            <a:p>
              <a:pPr algn="ctr" defTabSz="457200" fontAlgn="base">
                <a:spcBef>
                  <a:spcPct val="0"/>
                </a:spcBef>
                <a:spcAft>
                  <a:spcPct val="0"/>
                </a:spcAft>
                <a:defRPr/>
              </a:pPr>
              <a:endParaRPr lang="en-US" sz="1600">
                <a:solidFill>
                  <a:srgbClr val="FFFFFF"/>
                </a:solidFill>
                <a:ea typeface="ＭＳ Ｐゴシック" charset="0"/>
                <a:cs typeface="Arial" charset="0"/>
              </a:endParaRPr>
            </a:p>
          </p:txBody>
        </p:sp>
        <p:sp>
          <p:nvSpPr>
            <p:cNvPr id="10" name="Round Same Side Corner Rectangle 9"/>
            <p:cNvSpPr>
              <a:spLocks/>
            </p:cNvSpPr>
            <p:nvPr/>
          </p:nvSpPr>
          <p:spPr bwMode="auto">
            <a:xfrm rot="5400000">
              <a:off x="-1135116" y="2320131"/>
              <a:ext cx="4300462" cy="2032090"/>
            </a:xfrm>
            <a:custGeom>
              <a:avLst/>
              <a:gdLst>
                <a:gd name="T0" fmla="*/ 72581 w 4300462"/>
                <a:gd name="T1" fmla="*/ 0 h 2031932"/>
                <a:gd name="T2" fmla="*/ 4227881 w 4300462"/>
                <a:gd name="T3" fmla="*/ 0 h 2031932"/>
                <a:gd name="T4" fmla="*/ 4300462 w 4300462"/>
                <a:gd name="T5" fmla="*/ 72581 h 2031932"/>
                <a:gd name="T6" fmla="*/ 4300462 w 4300462"/>
                <a:gd name="T7" fmla="*/ 2031932 h 2031932"/>
                <a:gd name="T8" fmla="*/ 4300462 w 4300462"/>
                <a:gd name="T9" fmla="*/ 2031932 h 2031932"/>
                <a:gd name="T10" fmla="*/ 0 w 4300462"/>
                <a:gd name="T11" fmla="*/ 2031932 h 2031932"/>
                <a:gd name="T12" fmla="*/ 0 w 4300462"/>
                <a:gd name="T13" fmla="*/ 2031932 h 2031932"/>
                <a:gd name="T14" fmla="*/ 0 w 4300462"/>
                <a:gd name="T15" fmla="*/ 72581 h 2031932"/>
                <a:gd name="T16" fmla="*/ 72581 w 4300462"/>
                <a:gd name="T17" fmla="*/ 0 h 203193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300462" h="2031932">
                  <a:moveTo>
                    <a:pt x="72581" y="0"/>
                  </a:moveTo>
                  <a:lnTo>
                    <a:pt x="4227881" y="0"/>
                  </a:lnTo>
                  <a:cubicBezTo>
                    <a:pt x="4267966" y="0"/>
                    <a:pt x="4300462" y="32496"/>
                    <a:pt x="4300462" y="72581"/>
                  </a:cubicBezTo>
                  <a:lnTo>
                    <a:pt x="4300462" y="2031932"/>
                  </a:lnTo>
                  <a:lnTo>
                    <a:pt x="0" y="2031932"/>
                  </a:lnTo>
                  <a:lnTo>
                    <a:pt x="0" y="72581"/>
                  </a:lnTo>
                  <a:cubicBezTo>
                    <a:pt x="0" y="32496"/>
                    <a:pt x="32496" y="0"/>
                    <a:pt x="72581" y="0"/>
                  </a:cubicBezTo>
                  <a:close/>
                </a:path>
              </a:pathLst>
            </a:custGeom>
            <a:gradFill rotWithShape="1">
              <a:gsLst>
                <a:gs pos="0">
                  <a:schemeClr val="bg1"/>
                </a:gs>
                <a:gs pos="100000">
                  <a:srgbClr val="D9D9D9"/>
                </a:gs>
              </a:gsLst>
              <a:lin ang="0"/>
            </a:gradFill>
            <a:ln>
              <a:noFill/>
            </a:ln>
            <a:effectLst>
              <a:outerShdw blurRad="40000" dist="23000" dir="5400000" rotWithShape="0">
                <a:srgbClr val="000000">
                  <a:alpha val="34999"/>
                </a:srgbClr>
              </a:outerShdw>
            </a:effectLst>
            <a:extLst>
              <a:ext uri="{91240B29-F687-4F45-9708-019B960494DF}">
                <a14:hiddenLine xmlns:a14="http://schemas.microsoft.com/office/drawing/2010/main" w="9525" cap="flat" cmpd="sng">
                  <a:solidFill>
                    <a:srgbClr val="000000"/>
                  </a:solidFill>
                  <a:prstDash val="solid"/>
                  <a:round/>
                  <a:headEnd/>
                  <a:tailEnd/>
                </a14:hiddenLine>
              </a:ext>
            </a:extLst>
          </p:spPr>
          <p:txBody>
            <a:bodyPr anchor="ctr"/>
            <a:lstStyle/>
            <a:p>
              <a:pPr defTabSz="457200" fontAlgn="base">
                <a:spcBef>
                  <a:spcPct val="0"/>
                </a:spcBef>
                <a:spcAft>
                  <a:spcPct val="0"/>
                </a:spcAft>
                <a:defRPr/>
              </a:pPr>
              <a:endParaRPr lang="tr-TR" sz="1600">
                <a:solidFill>
                  <a:prstClr val="black"/>
                </a:solidFill>
                <a:ea typeface="MS PGothic" pitchFamily="34" charset="-128"/>
              </a:endParaRPr>
            </a:p>
          </p:txBody>
        </p:sp>
        <p:sp>
          <p:nvSpPr>
            <p:cNvPr id="11" name="Rounded Rectangle 10"/>
            <p:cNvSpPr>
              <a:spLocks noChangeArrowheads="1"/>
            </p:cNvSpPr>
            <p:nvPr/>
          </p:nvSpPr>
          <p:spPr bwMode="auto">
            <a:xfrm>
              <a:off x="2351505" y="1187532"/>
              <a:ext cx="6876100" cy="4268714"/>
            </a:xfrm>
            <a:prstGeom prst="roundRect">
              <a:avLst>
                <a:gd name="adj" fmla="val 2741"/>
              </a:avLst>
            </a:prstGeom>
            <a:gradFill rotWithShape="1">
              <a:gsLst>
                <a:gs pos="0">
                  <a:schemeClr val="bg1"/>
                </a:gs>
                <a:gs pos="100000">
                  <a:srgbClr val="D9D9D9"/>
                </a:gs>
              </a:gsLst>
              <a:lin ang="5400000"/>
            </a:gradFill>
            <a:ln>
              <a:noFill/>
            </a:ln>
            <a:effectLst>
              <a:outerShdw blurRad="40000" dist="23000" dir="5400000" rotWithShape="0">
                <a:srgbClr val="808080">
                  <a:alpha val="34999"/>
                </a:srgbClr>
              </a:outerShdw>
            </a:effectLst>
            <a:extLst>
              <a:ext uri="{91240B29-F687-4F45-9708-019B960494DF}">
                <a14:hiddenLine xmlns:a14="http://schemas.microsoft.com/office/drawing/2010/main" w="9525">
                  <a:solidFill>
                    <a:srgbClr val="000000"/>
                  </a:solidFill>
                  <a:round/>
                  <a:headEnd/>
                  <a:tailEnd/>
                </a14:hiddenLine>
              </a:ext>
            </a:extLst>
          </p:spPr>
          <p:txBody>
            <a:bodyPr anchor="ctr"/>
            <a:lstStyle/>
            <a:p>
              <a:pPr algn="ctr" defTabSz="457200" fontAlgn="base">
                <a:spcBef>
                  <a:spcPct val="0"/>
                </a:spcBef>
                <a:spcAft>
                  <a:spcPct val="0"/>
                </a:spcAft>
                <a:defRPr/>
              </a:pPr>
              <a:endParaRPr lang="en-US" sz="1600">
                <a:solidFill>
                  <a:srgbClr val="FFFFFF"/>
                </a:solidFill>
                <a:ea typeface="ＭＳ Ｐゴシック" charset="0"/>
                <a:cs typeface="ＭＳ Ｐゴシック" charset="0"/>
              </a:endParaRPr>
            </a:p>
          </p:txBody>
        </p:sp>
        <p:sp>
          <p:nvSpPr>
            <p:cNvPr id="12" name="Rounded Rectangle 11"/>
            <p:cNvSpPr>
              <a:spLocks noChangeArrowheads="1"/>
            </p:cNvSpPr>
            <p:nvPr/>
          </p:nvSpPr>
          <p:spPr bwMode="auto">
            <a:xfrm>
              <a:off x="2133088" y="1171657"/>
              <a:ext cx="6596202" cy="4267126"/>
            </a:xfrm>
            <a:prstGeom prst="roundRect">
              <a:avLst>
                <a:gd name="adj" fmla="val 2741"/>
              </a:avLst>
            </a:prstGeom>
            <a:gradFill rotWithShape="1">
              <a:gsLst>
                <a:gs pos="0">
                  <a:schemeClr val="bg1"/>
                </a:gs>
                <a:gs pos="100000">
                  <a:srgbClr val="D9D9D9"/>
                </a:gs>
              </a:gsLst>
              <a:lin ang="5400000"/>
            </a:gradFill>
            <a:ln>
              <a:noFill/>
            </a:ln>
            <a:effectLst>
              <a:outerShdw blurRad="40000" dist="23000" dir="5400000" rotWithShape="0">
                <a:srgbClr val="808080">
                  <a:alpha val="34999"/>
                </a:srgbClr>
              </a:outerShdw>
            </a:effectLst>
            <a:extLst>
              <a:ext uri="{91240B29-F687-4F45-9708-019B960494DF}">
                <a14:hiddenLine xmlns:a14="http://schemas.microsoft.com/office/drawing/2010/main" w="9525">
                  <a:solidFill>
                    <a:srgbClr val="000000"/>
                  </a:solidFill>
                  <a:round/>
                  <a:headEnd/>
                  <a:tailEnd/>
                </a14:hiddenLine>
              </a:ext>
            </a:extLst>
          </p:spPr>
          <p:txBody>
            <a:bodyPr anchor="ctr"/>
            <a:lstStyle/>
            <a:p>
              <a:pPr algn="ctr" defTabSz="457200" fontAlgn="base">
                <a:spcBef>
                  <a:spcPct val="0"/>
                </a:spcBef>
                <a:spcAft>
                  <a:spcPct val="0"/>
                </a:spcAft>
                <a:defRPr/>
              </a:pPr>
              <a:endParaRPr lang="en-US" sz="1600">
                <a:solidFill>
                  <a:srgbClr val="FFFFFF"/>
                </a:solidFill>
                <a:ea typeface="ＭＳ Ｐゴシック" charset="0"/>
                <a:cs typeface="ＭＳ Ｐゴシック" charset="0"/>
              </a:endParaRPr>
            </a:p>
          </p:txBody>
        </p:sp>
        <p:sp>
          <p:nvSpPr>
            <p:cNvPr id="13" name="Round Same Side Corner Rectangle 12"/>
            <p:cNvSpPr/>
            <p:nvPr/>
          </p:nvSpPr>
          <p:spPr>
            <a:xfrm>
              <a:off x="-930" y="914486"/>
              <a:ext cx="2001349" cy="250821"/>
            </a:xfrm>
            <a:prstGeom prst="round2SameRect">
              <a:avLst/>
            </a:prstGeom>
            <a:gradFill rotWithShape="1">
              <a:gsLst>
                <a:gs pos="0">
                  <a:schemeClr val="tx2">
                    <a:lumMod val="60000"/>
                    <a:lumOff val="40000"/>
                  </a:schemeClr>
                </a:gs>
                <a:gs pos="100000">
                  <a:schemeClr val="tx2">
                    <a:lumMod val="40000"/>
                    <a:lumOff val="60000"/>
                  </a:schemeClr>
                </a:gs>
              </a:gsLst>
              <a:lin ang="16200000" scaled="0"/>
            </a:gradFill>
            <a:ln w="9525" cap="flat" cmpd="sng" algn="ctr">
              <a:noFill/>
              <a:prstDash val="solid"/>
            </a:ln>
            <a:effectLst/>
          </p:spPr>
          <p:txBody>
            <a:bodyPr anchor="ctr"/>
            <a:lstStyle/>
            <a:p>
              <a:pPr algn="ctr" fontAlgn="base">
                <a:spcBef>
                  <a:spcPct val="0"/>
                </a:spcBef>
                <a:spcAft>
                  <a:spcPct val="0"/>
                </a:spcAft>
                <a:defRPr/>
              </a:pPr>
              <a:endParaRPr lang="en-US" sz="1600">
                <a:solidFill>
                  <a:srgbClr val="FFFFFF"/>
                </a:solidFill>
                <a:ea typeface="ＭＳ Ｐゴシック" charset="0"/>
                <a:cs typeface="ＭＳ Ｐゴシック" charset="0"/>
              </a:endParaRPr>
            </a:p>
          </p:txBody>
        </p:sp>
        <p:sp>
          <p:nvSpPr>
            <p:cNvPr id="14368" name="TextBox 51"/>
            <p:cNvSpPr txBox="1">
              <a:spLocks noChangeArrowheads="1"/>
            </p:cNvSpPr>
            <p:nvPr/>
          </p:nvSpPr>
          <p:spPr bwMode="auto">
            <a:xfrm>
              <a:off x="228337" y="874800"/>
              <a:ext cx="968342" cy="3385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Calibri" pitchFamily="34" charset="0"/>
                  <a:ea typeface="MS PGothic" pitchFamily="34" charset="-128"/>
                </a:defRPr>
              </a:lvl9pPr>
            </a:lstStyle>
            <a:p>
              <a:pPr eaLnBrk="1" fontAlgn="base" hangingPunct="1">
                <a:spcBef>
                  <a:spcPct val="0"/>
                </a:spcBef>
                <a:spcAft>
                  <a:spcPct val="0"/>
                </a:spcAft>
              </a:pPr>
              <a:endParaRPr lang="en-US" sz="1600" smtClean="0">
                <a:solidFill>
                  <a:srgbClr val="FFFFFF"/>
                </a:solidFill>
              </a:endParaRPr>
            </a:p>
          </p:txBody>
        </p:sp>
        <p:sp>
          <p:nvSpPr>
            <p:cNvPr id="15" name="Round Same Side Corner Rectangle 14"/>
            <p:cNvSpPr>
              <a:spLocks/>
            </p:cNvSpPr>
            <p:nvPr/>
          </p:nvSpPr>
          <p:spPr bwMode="auto">
            <a:xfrm rot="5400000">
              <a:off x="-1323964" y="2445144"/>
              <a:ext cx="4642563" cy="2032090"/>
            </a:xfrm>
            <a:custGeom>
              <a:avLst/>
              <a:gdLst>
                <a:gd name="T0" fmla="*/ 72581 w 4298875"/>
                <a:gd name="T1" fmla="*/ 0 h 2031932"/>
                <a:gd name="T2" fmla="*/ 4226294 w 4298875"/>
                <a:gd name="T3" fmla="*/ 0 h 2031932"/>
                <a:gd name="T4" fmla="*/ 4298875 w 4298875"/>
                <a:gd name="T5" fmla="*/ 72581 h 2031932"/>
                <a:gd name="T6" fmla="*/ 4298875 w 4298875"/>
                <a:gd name="T7" fmla="*/ 2031932 h 2031932"/>
                <a:gd name="T8" fmla="*/ 4298875 w 4298875"/>
                <a:gd name="T9" fmla="*/ 2031932 h 2031932"/>
                <a:gd name="T10" fmla="*/ 0 w 4298875"/>
                <a:gd name="T11" fmla="*/ 2031932 h 2031932"/>
                <a:gd name="T12" fmla="*/ 0 w 4298875"/>
                <a:gd name="T13" fmla="*/ 2031932 h 2031932"/>
                <a:gd name="T14" fmla="*/ 0 w 4298875"/>
                <a:gd name="T15" fmla="*/ 72581 h 2031932"/>
                <a:gd name="T16" fmla="*/ 72581 w 4298875"/>
                <a:gd name="T17" fmla="*/ 0 h 203193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298875" h="2031932">
                  <a:moveTo>
                    <a:pt x="72581" y="0"/>
                  </a:moveTo>
                  <a:lnTo>
                    <a:pt x="4226294" y="0"/>
                  </a:lnTo>
                  <a:cubicBezTo>
                    <a:pt x="4266379" y="0"/>
                    <a:pt x="4298875" y="32496"/>
                    <a:pt x="4298875" y="72581"/>
                  </a:cubicBezTo>
                  <a:lnTo>
                    <a:pt x="4298875" y="2031932"/>
                  </a:lnTo>
                  <a:lnTo>
                    <a:pt x="0" y="2031932"/>
                  </a:lnTo>
                  <a:lnTo>
                    <a:pt x="0" y="72581"/>
                  </a:lnTo>
                  <a:cubicBezTo>
                    <a:pt x="0" y="32496"/>
                    <a:pt x="32496" y="0"/>
                    <a:pt x="72581" y="0"/>
                  </a:cubicBezTo>
                  <a:close/>
                </a:path>
              </a:pathLst>
            </a:custGeom>
            <a:gradFill rotWithShape="1">
              <a:gsLst>
                <a:gs pos="0">
                  <a:schemeClr val="bg1"/>
                </a:gs>
                <a:gs pos="100000">
                  <a:srgbClr val="D9D9D9"/>
                </a:gs>
              </a:gsLst>
              <a:lin ang="0"/>
            </a:gradFill>
            <a:ln>
              <a:noFill/>
            </a:ln>
            <a:effectLst>
              <a:outerShdw blurRad="40000" dist="23000" dir="5400000" rotWithShape="0">
                <a:srgbClr val="000000">
                  <a:alpha val="34999"/>
                </a:srgbClr>
              </a:outerShdw>
            </a:effectLst>
            <a:extLst>
              <a:ext uri="{91240B29-F687-4F45-9708-019B960494DF}">
                <a14:hiddenLine xmlns:a14="http://schemas.microsoft.com/office/drawing/2010/main" w="9525" cap="flat" cmpd="sng">
                  <a:solidFill>
                    <a:srgbClr val="000000"/>
                  </a:solidFill>
                  <a:prstDash val="solid"/>
                  <a:round/>
                  <a:headEnd/>
                  <a:tailEnd/>
                </a14:hiddenLine>
              </a:ext>
            </a:extLst>
          </p:spPr>
          <p:txBody>
            <a:bodyPr anchor="ctr"/>
            <a:lstStyle/>
            <a:p>
              <a:pPr defTabSz="457200" fontAlgn="base">
                <a:spcBef>
                  <a:spcPct val="0"/>
                </a:spcBef>
                <a:spcAft>
                  <a:spcPct val="0"/>
                </a:spcAft>
                <a:defRPr/>
              </a:pPr>
              <a:endParaRPr lang="tr-TR" sz="1600">
                <a:solidFill>
                  <a:prstClr val="black"/>
                </a:solidFill>
                <a:ea typeface="MS PGothic" pitchFamily="34" charset="-128"/>
              </a:endParaRPr>
            </a:p>
          </p:txBody>
        </p:sp>
        <p:sp>
          <p:nvSpPr>
            <p:cNvPr id="16" name="Rounded Rectangle 20"/>
            <p:cNvSpPr>
              <a:spLocks noChangeArrowheads="1"/>
            </p:cNvSpPr>
            <p:nvPr/>
          </p:nvSpPr>
          <p:spPr bwMode="auto">
            <a:xfrm>
              <a:off x="2091022" y="1141495"/>
              <a:ext cx="7136583" cy="4556046"/>
            </a:xfrm>
            <a:prstGeom prst="roundRect">
              <a:avLst>
                <a:gd name="adj" fmla="val 2741"/>
              </a:avLst>
            </a:prstGeom>
            <a:gradFill rotWithShape="1">
              <a:gsLst>
                <a:gs pos="0">
                  <a:schemeClr val="bg1"/>
                </a:gs>
                <a:gs pos="100000">
                  <a:srgbClr val="D9D9D9"/>
                </a:gs>
              </a:gsLst>
              <a:lin ang="5400000"/>
            </a:gradFill>
            <a:ln>
              <a:noFill/>
            </a:ln>
            <a:effectLst>
              <a:outerShdw blurRad="40000" dist="23000" dir="5400000" rotWithShape="0">
                <a:srgbClr val="808080">
                  <a:alpha val="34999"/>
                </a:srgbClr>
              </a:outerShdw>
            </a:effectLst>
            <a:extLst>
              <a:ext uri="{91240B29-F687-4F45-9708-019B960494DF}">
                <a14:hiddenLine xmlns:a14="http://schemas.microsoft.com/office/drawing/2010/main" w="9525">
                  <a:solidFill>
                    <a:srgbClr val="000000"/>
                  </a:solidFill>
                  <a:round/>
                  <a:headEnd/>
                  <a:tailEnd/>
                </a14:hiddenLine>
              </a:ext>
            </a:extLst>
          </p:spPr>
          <p:txBody>
            <a:bodyPr anchor="ctr"/>
            <a:lstStyle/>
            <a:p>
              <a:pPr algn="ctr" defTabSz="457200" fontAlgn="base">
                <a:spcBef>
                  <a:spcPct val="0"/>
                </a:spcBef>
                <a:spcAft>
                  <a:spcPct val="0"/>
                </a:spcAft>
                <a:defRPr/>
              </a:pPr>
              <a:endParaRPr lang="en-US" sz="1600">
                <a:solidFill>
                  <a:srgbClr val="FFFFFF"/>
                </a:solidFill>
                <a:ea typeface="ＭＳ Ｐゴシック" charset="0"/>
                <a:cs typeface="ＭＳ Ｐゴシック" charset="0"/>
              </a:endParaRPr>
            </a:p>
          </p:txBody>
        </p:sp>
        <p:grpSp>
          <p:nvGrpSpPr>
            <p:cNvPr id="14371" name="Group 17"/>
            <p:cNvGrpSpPr>
              <a:grpSpLocks/>
            </p:cNvGrpSpPr>
            <p:nvPr/>
          </p:nvGrpSpPr>
          <p:grpSpPr bwMode="auto">
            <a:xfrm>
              <a:off x="2122152" y="1517726"/>
              <a:ext cx="6971812" cy="3063822"/>
              <a:chOff x="2122069" y="1517726"/>
              <a:chExt cx="6209230" cy="3063822"/>
            </a:xfrm>
          </p:grpSpPr>
          <p:cxnSp>
            <p:nvCxnSpPr>
              <p:cNvPr id="19" name="Straight Connector 18"/>
              <p:cNvCxnSpPr/>
              <p:nvPr/>
            </p:nvCxnSpPr>
            <p:spPr>
              <a:xfrm>
                <a:off x="2121722" y="1517726"/>
                <a:ext cx="6209001" cy="1588"/>
              </a:xfrm>
              <a:prstGeom prst="line">
                <a:avLst/>
              </a:prstGeom>
              <a:ln w="12700" cap="flat" cmpd="sng" algn="ctr">
                <a:solidFill>
                  <a:schemeClr val="tx1">
                    <a:lumMod val="65000"/>
                    <a:lumOff val="35000"/>
                  </a:schemeClr>
                </a:solidFill>
                <a:prstDash val="sysDash"/>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nvCxnSpPr>
            <p:spPr>
              <a:xfrm>
                <a:off x="2121722" y="1893957"/>
                <a:ext cx="6209001" cy="1587"/>
              </a:xfrm>
              <a:prstGeom prst="line">
                <a:avLst/>
              </a:prstGeom>
              <a:ln w="12700" cap="flat" cmpd="sng" algn="ctr">
                <a:solidFill>
                  <a:schemeClr val="tx1">
                    <a:lumMod val="65000"/>
                    <a:lumOff val="35000"/>
                  </a:schemeClr>
                </a:solidFill>
                <a:prstDash val="sysDash"/>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a:off x="2121722" y="2292413"/>
                <a:ext cx="6209001" cy="1588"/>
              </a:xfrm>
              <a:prstGeom prst="line">
                <a:avLst/>
              </a:prstGeom>
              <a:ln w="12700" cap="flat" cmpd="sng" algn="ctr">
                <a:solidFill>
                  <a:schemeClr val="tx1">
                    <a:lumMod val="65000"/>
                    <a:lumOff val="35000"/>
                  </a:schemeClr>
                </a:solidFill>
                <a:prstDash val="sysDash"/>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p:nvCxnSpPr>
            <p:spPr>
              <a:xfrm>
                <a:off x="2121722" y="2670231"/>
                <a:ext cx="6209001" cy="1588"/>
              </a:xfrm>
              <a:prstGeom prst="line">
                <a:avLst/>
              </a:prstGeom>
              <a:ln w="12700" cap="flat" cmpd="sng" algn="ctr">
                <a:solidFill>
                  <a:schemeClr val="tx1">
                    <a:lumMod val="65000"/>
                    <a:lumOff val="35000"/>
                  </a:schemeClr>
                </a:solidFill>
                <a:prstDash val="sysDash"/>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p:nvCxnSpPr>
            <p:spPr>
              <a:xfrm>
                <a:off x="2121722" y="3048050"/>
                <a:ext cx="6209001" cy="1588"/>
              </a:xfrm>
              <a:prstGeom prst="line">
                <a:avLst/>
              </a:prstGeom>
              <a:ln w="12700" cap="flat" cmpd="sng" algn="ctr">
                <a:solidFill>
                  <a:schemeClr val="tx1">
                    <a:lumMod val="65000"/>
                    <a:lumOff val="35000"/>
                  </a:schemeClr>
                </a:solidFill>
                <a:prstDash val="sysDash"/>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p:nvCxnSpPr>
            <p:spPr>
              <a:xfrm>
                <a:off x="2121722" y="3427456"/>
                <a:ext cx="6209001" cy="1587"/>
              </a:xfrm>
              <a:prstGeom prst="line">
                <a:avLst/>
              </a:prstGeom>
              <a:ln w="12700" cap="flat" cmpd="sng" algn="ctr">
                <a:solidFill>
                  <a:schemeClr val="tx1">
                    <a:lumMod val="65000"/>
                    <a:lumOff val="35000"/>
                  </a:schemeClr>
                </a:solidFill>
                <a:prstDash val="sysDash"/>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p:nvCxnSpPr>
            <p:spPr>
              <a:xfrm>
                <a:off x="2121722" y="3805274"/>
                <a:ext cx="6209001" cy="1587"/>
              </a:xfrm>
              <a:prstGeom prst="line">
                <a:avLst/>
              </a:prstGeom>
              <a:ln w="12700" cap="flat" cmpd="sng" algn="ctr">
                <a:solidFill>
                  <a:schemeClr val="tx1">
                    <a:lumMod val="65000"/>
                    <a:lumOff val="35000"/>
                  </a:schemeClr>
                </a:solidFill>
                <a:prstDash val="sysDash"/>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p:nvCxnSpPr>
            <p:spPr>
              <a:xfrm>
                <a:off x="2121722" y="4183093"/>
                <a:ext cx="6209001" cy="1587"/>
              </a:xfrm>
              <a:prstGeom prst="line">
                <a:avLst/>
              </a:prstGeom>
              <a:ln w="12700" cap="flat" cmpd="sng" algn="ctr">
                <a:solidFill>
                  <a:schemeClr val="tx1">
                    <a:lumMod val="65000"/>
                    <a:lumOff val="35000"/>
                  </a:schemeClr>
                </a:solidFill>
                <a:prstDash val="sysDash"/>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p:nvCxnSpPr>
            <p:spPr>
              <a:xfrm>
                <a:off x="2121722" y="4579961"/>
                <a:ext cx="6209001" cy="1587"/>
              </a:xfrm>
              <a:prstGeom prst="line">
                <a:avLst/>
              </a:prstGeom>
              <a:ln w="12700" cap="flat" cmpd="sng" algn="ctr">
                <a:solidFill>
                  <a:schemeClr val="tx1">
                    <a:lumMod val="65000"/>
                    <a:lumOff val="35000"/>
                  </a:schemeClr>
                </a:solidFill>
                <a:prstDash val="sysDash"/>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cxnSp>
          <p:nvCxnSpPr>
            <p:cNvPr id="37" name="Straight Connector 36"/>
            <p:cNvCxnSpPr/>
            <p:nvPr/>
          </p:nvCxnSpPr>
          <p:spPr bwMode="auto">
            <a:xfrm>
              <a:off x="-930" y="4581548"/>
              <a:ext cx="1999731" cy="1588"/>
            </a:xfrm>
            <a:prstGeom prst="line">
              <a:avLst/>
            </a:prstGeom>
            <a:ln w="12700" cap="flat" cmpd="sng" algn="ctr">
              <a:solidFill>
                <a:schemeClr val="tx1">
                  <a:lumMod val="65000"/>
                  <a:lumOff val="35000"/>
                </a:schemeClr>
              </a:solidFill>
              <a:prstDash val="sysDash"/>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nvGrpSpPr>
            <p:cNvPr id="14382" name="Group 66"/>
            <p:cNvGrpSpPr>
              <a:grpSpLocks/>
            </p:cNvGrpSpPr>
            <p:nvPr/>
          </p:nvGrpSpPr>
          <p:grpSpPr bwMode="auto">
            <a:xfrm>
              <a:off x="2211060" y="919245"/>
              <a:ext cx="6365660" cy="219073"/>
              <a:chOff x="2211060" y="914938"/>
              <a:chExt cx="8536304" cy="222950"/>
            </a:xfrm>
          </p:grpSpPr>
          <p:sp>
            <p:nvSpPr>
              <p:cNvPr id="152" name="Round Same Side Corner Rectangle 13"/>
              <p:cNvSpPr/>
              <p:nvPr/>
            </p:nvSpPr>
            <p:spPr bwMode="auto">
              <a:xfrm>
                <a:off x="2210640" y="914942"/>
                <a:ext cx="279879" cy="221332"/>
              </a:xfrm>
              <a:prstGeom prst="round2SameRect">
                <a:avLst/>
              </a:prstGeom>
              <a:gradFill rotWithShape="1">
                <a:gsLst>
                  <a:gs pos="0">
                    <a:schemeClr val="tx2">
                      <a:lumMod val="60000"/>
                      <a:lumOff val="40000"/>
                    </a:schemeClr>
                  </a:gs>
                  <a:gs pos="100000">
                    <a:schemeClr val="tx2">
                      <a:lumMod val="40000"/>
                      <a:lumOff val="60000"/>
                    </a:schemeClr>
                  </a:gs>
                </a:gsLst>
                <a:lin ang="16200000" scaled="0"/>
              </a:gradFill>
              <a:ln w="9525" cap="flat" cmpd="sng" algn="ctr">
                <a:noFill/>
                <a:prstDash val="solid"/>
              </a:ln>
              <a:effectLst/>
            </p:spPr>
            <p:txBody>
              <a:bodyPr anchor="ctr"/>
              <a:lstStyle/>
              <a:p>
                <a:pPr algn="ctr" fontAlgn="base">
                  <a:spcBef>
                    <a:spcPct val="0"/>
                  </a:spcBef>
                  <a:spcAft>
                    <a:spcPct val="0"/>
                  </a:spcAft>
                  <a:defRPr/>
                </a:pPr>
                <a:endParaRPr lang="en-US" sz="1600">
                  <a:solidFill>
                    <a:srgbClr val="FFFFFF"/>
                  </a:solidFill>
                  <a:ea typeface="ＭＳ Ｐゴシック" charset="0"/>
                  <a:cs typeface="ＭＳ Ｐゴシック" charset="0"/>
                </a:endParaRPr>
              </a:p>
            </p:txBody>
          </p:sp>
          <p:sp>
            <p:nvSpPr>
              <p:cNvPr id="150" name="Round Same Side Corner Rectangle 149"/>
              <p:cNvSpPr/>
              <p:nvPr/>
            </p:nvSpPr>
            <p:spPr bwMode="auto">
              <a:xfrm>
                <a:off x="2516555" y="914942"/>
                <a:ext cx="279878" cy="221332"/>
              </a:xfrm>
              <a:prstGeom prst="round2SameRect">
                <a:avLst/>
              </a:prstGeom>
              <a:gradFill rotWithShape="1">
                <a:gsLst>
                  <a:gs pos="0">
                    <a:schemeClr val="tx2">
                      <a:lumMod val="60000"/>
                      <a:lumOff val="40000"/>
                    </a:schemeClr>
                  </a:gs>
                  <a:gs pos="100000">
                    <a:schemeClr val="tx2">
                      <a:lumMod val="40000"/>
                      <a:lumOff val="60000"/>
                    </a:schemeClr>
                  </a:gs>
                </a:gsLst>
                <a:lin ang="16200000" scaled="0"/>
              </a:gradFill>
              <a:ln w="9525" cap="flat" cmpd="sng" algn="ctr">
                <a:noFill/>
                <a:prstDash val="solid"/>
              </a:ln>
              <a:effectLst/>
            </p:spPr>
            <p:txBody>
              <a:bodyPr anchor="ctr"/>
              <a:lstStyle/>
              <a:p>
                <a:pPr algn="ctr" fontAlgn="base">
                  <a:spcBef>
                    <a:spcPct val="0"/>
                  </a:spcBef>
                  <a:spcAft>
                    <a:spcPct val="0"/>
                  </a:spcAft>
                  <a:defRPr/>
                </a:pPr>
                <a:endParaRPr lang="en-US" sz="1600">
                  <a:solidFill>
                    <a:srgbClr val="FFFFFF"/>
                  </a:solidFill>
                  <a:ea typeface="ＭＳ Ｐゴシック" charset="0"/>
                  <a:cs typeface="ＭＳ Ｐゴシック" charset="0"/>
                </a:endParaRPr>
              </a:p>
            </p:txBody>
          </p:sp>
          <p:sp>
            <p:nvSpPr>
              <p:cNvPr id="148" name="Round Same Side Corner Rectangle 147"/>
              <p:cNvSpPr/>
              <p:nvPr/>
            </p:nvSpPr>
            <p:spPr bwMode="auto">
              <a:xfrm>
                <a:off x="2824638" y="914942"/>
                <a:ext cx="275539" cy="221332"/>
              </a:xfrm>
              <a:prstGeom prst="round2SameRect">
                <a:avLst/>
              </a:prstGeom>
              <a:gradFill rotWithShape="1">
                <a:gsLst>
                  <a:gs pos="0">
                    <a:schemeClr val="tx2">
                      <a:lumMod val="60000"/>
                      <a:lumOff val="40000"/>
                    </a:schemeClr>
                  </a:gs>
                  <a:gs pos="100000">
                    <a:schemeClr val="tx2">
                      <a:lumMod val="40000"/>
                      <a:lumOff val="60000"/>
                    </a:schemeClr>
                  </a:gs>
                </a:gsLst>
                <a:lin ang="16200000" scaled="0"/>
              </a:gradFill>
              <a:ln w="9525" cap="flat" cmpd="sng" algn="ctr">
                <a:noFill/>
                <a:prstDash val="solid"/>
              </a:ln>
              <a:effectLst/>
            </p:spPr>
            <p:txBody>
              <a:bodyPr anchor="ctr"/>
              <a:lstStyle/>
              <a:p>
                <a:pPr algn="ctr" fontAlgn="base">
                  <a:spcBef>
                    <a:spcPct val="0"/>
                  </a:spcBef>
                  <a:spcAft>
                    <a:spcPct val="0"/>
                  </a:spcAft>
                  <a:defRPr/>
                </a:pPr>
                <a:endParaRPr lang="en-US" sz="1600">
                  <a:solidFill>
                    <a:srgbClr val="FFFFFF"/>
                  </a:solidFill>
                  <a:ea typeface="ＭＳ Ｐゴシック" charset="0"/>
                  <a:cs typeface="ＭＳ Ｐゴシック" charset="0"/>
                </a:endParaRPr>
              </a:p>
            </p:txBody>
          </p:sp>
          <p:sp>
            <p:nvSpPr>
              <p:cNvPr id="146" name="Round Same Side Corner Rectangle 145"/>
              <p:cNvSpPr/>
              <p:nvPr/>
            </p:nvSpPr>
            <p:spPr bwMode="auto">
              <a:xfrm>
                <a:off x="3128382" y="914942"/>
                <a:ext cx="277709" cy="221332"/>
              </a:xfrm>
              <a:prstGeom prst="round2SameRect">
                <a:avLst/>
              </a:prstGeom>
              <a:gradFill rotWithShape="1">
                <a:gsLst>
                  <a:gs pos="0">
                    <a:schemeClr val="tx2">
                      <a:lumMod val="60000"/>
                      <a:lumOff val="40000"/>
                    </a:schemeClr>
                  </a:gs>
                  <a:gs pos="100000">
                    <a:schemeClr val="tx2">
                      <a:lumMod val="40000"/>
                      <a:lumOff val="60000"/>
                    </a:schemeClr>
                  </a:gs>
                </a:gsLst>
                <a:lin ang="16200000" scaled="0"/>
              </a:gradFill>
              <a:ln w="9525" cap="flat" cmpd="sng" algn="ctr">
                <a:noFill/>
                <a:prstDash val="solid"/>
              </a:ln>
              <a:effectLst/>
            </p:spPr>
            <p:txBody>
              <a:bodyPr anchor="ctr"/>
              <a:lstStyle/>
              <a:p>
                <a:pPr algn="ctr" fontAlgn="base">
                  <a:spcBef>
                    <a:spcPct val="0"/>
                  </a:spcBef>
                  <a:spcAft>
                    <a:spcPct val="0"/>
                  </a:spcAft>
                  <a:defRPr/>
                </a:pPr>
                <a:endParaRPr lang="en-US" sz="1600">
                  <a:solidFill>
                    <a:srgbClr val="FFFFFF"/>
                  </a:solidFill>
                  <a:ea typeface="ＭＳ Ｐゴシック" charset="0"/>
                  <a:cs typeface="ＭＳ Ｐゴシック" charset="0"/>
                </a:endParaRPr>
              </a:p>
            </p:txBody>
          </p:sp>
          <p:sp>
            <p:nvSpPr>
              <p:cNvPr id="144" name="Round Same Side Corner Rectangle 143"/>
              <p:cNvSpPr/>
              <p:nvPr/>
            </p:nvSpPr>
            <p:spPr bwMode="auto">
              <a:xfrm>
                <a:off x="3434295" y="914942"/>
                <a:ext cx="279879" cy="221332"/>
              </a:xfrm>
              <a:prstGeom prst="round2SameRect">
                <a:avLst/>
              </a:prstGeom>
              <a:gradFill rotWithShape="1">
                <a:gsLst>
                  <a:gs pos="0">
                    <a:schemeClr val="tx2">
                      <a:lumMod val="60000"/>
                      <a:lumOff val="40000"/>
                    </a:schemeClr>
                  </a:gs>
                  <a:gs pos="100000">
                    <a:schemeClr val="tx2">
                      <a:lumMod val="40000"/>
                      <a:lumOff val="60000"/>
                    </a:schemeClr>
                  </a:gs>
                </a:gsLst>
                <a:lin ang="16200000" scaled="0"/>
              </a:gradFill>
              <a:ln w="9525" cap="flat" cmpd="sng" algn="ctr">
                <a:noFill/>
                <a:prstDash val="solid"/>
              </a:ln>
              <a:effectLst/>
            </p:spPr>
            <p:txBody>
              <a:bodyPr anchor="ctr"/>
              <a:lstStyle/>
              <a:p>
                <a:pPr algn="ctr" fontAlgn="base">
                  <a:spcBef>
                    <a:spcPct val="0"/>
                  </a:spcBef>
                  <a:spcAft>
                    <a:spcPct val="0"/>
                  </a:spcAft>
                  <a:defRPr/>
                </a:pPr>
                <a:endParaRPr lang="en-US" sz="1600">
                  <a:solidFill>
                    <a:srgbClr val="FFFFFF"/>
                  </a:solidFill>
                  <a:ea typeface="ＭＳ Ｐゴシック" charset="0"/>
                  <a:cs typeface="ＭＳ Ｐゴシック" charset="0"/>
                </a:endParaRPr>
              </a:p>
            </p:txBody>
          </p:sp>
          <p:sp>
            <p:nvSpPr>
              <p:cNvPr id="142" name="Round Same Side Corner Rectangle 141"/>
              <p:cNvSpPr/>
              <p:nvPr/>
            </p:nvSpPr>
            <p:spPr bwMode="auto">
              <a:xfrm>
                <a:off x="3738039" y="914942"/>
                <a:ext cx="277709" cy="221332"/>
              </a:xfrm>
              <a:prstGeom prst="round2SameRect">
                <a:avLst/>
              </a:prstGeom>
              <a:gradFill rotWithShape="1">
                <a:gsLst>
                  <a:gs pos="0">
                    <a:schemeClr val="tx2">
                      <a:lumMod val="60000"/>
                      <a:lumOff val="40000"/>
                    </a:schemeClr>
                  </a:gs>
                  <a:gs pos="100000">
                    <a:schemeClr val="tx2">
                      <a:lumMod val="40000"/>
                      <a:lumOff val="60000"/>
                    </a:schemeClr>
                  </a:gs>
                </a:gsLst>
                <a:lin ang="16200000" scaled="0"/>
              </a:gradFill>
              <a:ln w="9525" cap="flat" cmpd="sng" algn="ctr">
                <a:noFill/>
                <a:prstDash val="solid"/>
              </a:ln>
              <a:effectLst/>
            </p:spPr>
            <p:txBody>
              <a:bodyPr anchor="ctr"/>
              <a:lstStyle/>
              <a:p>
                <a:pPr algn="ctr" fontAlgn="base">
                  <a:spcBef>
                    <a:spcPct val="0"/>
                  </a:spcBef>
                  <a:spcAft>
                    <a:spcPct val="0"/>
                  </a:spcAft>
                  <a:defRPr/>
                </a:pPr>
                <a:endParaRPr lang="en-US" sz="1600">
                  <a:solidFill>
                    <a:srgbClr val="FFFFFF"/>
                  </a:solidFill>
                  <a:ea typeface="ＭＳ Ｐゴシック" charset="0"/>
                  <a:cs typeface="ＭＳ Ｐゴシック" charset="0"/>
                </a:endParaRPr>
              </a:p>
            </p:txBody>
          </p:sp>
          <p:sp>
            <p:nvSpPr>
              <p:cNvPr id="140" name="Round Same Side Corner Rectangle 139"/>
              <p:cNvSpPr/>
              <p:nvPr/>
            </p:nvSpPr>
            <p:spPr bwMode="auto">
              <a:xfrm>
                <a:off x="4046122" y="914942"/>
                <a:ext cx="277709" cy="221332"/>
              </a:xfrm>
              <a:prstGeom prst="round2SameRect">
                <a:avLst/>
              </a:prstGeom>
              <a:gradFill rotWithShape="1">
                <a:gsLst>
                  <a:gs pos="0">
                    <a:schemeClr val="tx2">
                      <a:lumMod val="60000"/>
                      <a:lumOff val="40000"/>
                    </a:schemeClr>
                  </a:gs>
                  <a:gs pos="100000">
                    <a:schemeClr val="tx2">
                      <a:lumMod val="40000"/>
                      <a:lumOff val="60000"/>
                    </a:schemeClr>
                  </a:gs>
                </a:gsLst>
                <a:lin ang="16200000" scaled="0"/>
              </a:gradFill>
              <a:ln w="9525" cap="flat" cmpd="sng" algn="ctr">
                <a:noFill/>
                <a:prstDash val="solid"/>
              </a:ln>
              <a:effectLst/>
            </p:spPr>
            <p:txBody>
              <a:bodyPr anchor="ctr"/>
              <a:lstStyle/>
              <a:p>
                <a:pPr algn="ctr" fontAlgn="base">
                  <a:spcBef>
                    <a:spcPct val="0"/>
                  </a:spcBef>
                  <a:spcAft>
                    <a:spcPct val="0"/>
                  </a:spcAft>
                  <a:defRPr/>
                </a:pPr>
                <a:endParaRPr lang="en-US" sz="1600">
                  <a:solidFill>
                    <a:srgbClr val="FFFFFF"/>
                  </a:solidFill>
                  <a:ea typeface="ＭＳ Ｐゴシック" charset="0"/>
                  <a:cs typeface="ＭＳ Ｐゴシック" charset="0"/>
                </a:endParaRPr>
              </a:p>
            </p:txBody>
          </p:sp>
          <p:sp>
            <p:nvSpPr>
              <p:cNvPr id="138" name="Round Same Side Corner Rectangle 137"/>
              <p:cNvSpPr/>
              <p:nvPr/>
            </p:nvSpPr>
            <p:spPr bwMode="auto">
              <a:xfrm>
                <a:off x="4352036" y="914942"/>
                <a:ext cx="279878" cy="222948"/>
              </a:xfrm>
              <a:prstGeom prst="round2SameRect">
                <a:avLst/>
              </a:prstGeom>
              <a:gradFill rotWithShape="1">
                <a:gsLst>
                  <a:gs pos="0">
                    <a:schemeClr val="tx2">
                      <a:lumMod val="60000"/>
                      <a:lumOff val="40000"/>
                    </a:schemeClr>
                  </a:gs>
                  <a:gs pos="100000">
                    <a:schemeClr val="tx2">
                      <a:lumMod val="40000"/>
                      <a:lumOff val="60000"/>
                    </a:schemeClr>
                  </a:gs>
                </a:gsLst>
                <a:lin ang="16200000" scaled="0"/>
              </a:gradFill>
              <a:ln w="9525" cap="flat" cmpd="sng" algn="ctr">
                <a:noFill/>
                <a:prstDash val="solid"/>
              </a:ln>
              <a:effectLst/>
            </p:spPr>
            <p:txBody>
              <a:bodyPr anchor="ctr"/>
              <a:lstStyle/>
              <a:p>
                <a:pPr algn="ctr" fontAlgn="base">
                  <a:spcBef>
                    <a:spcPct val="0"/>
                  </a:spcBef>
                  <a:spcAft>
                    <a:spcPct val="0"/>
                  </a:spcAft>
                  <a:defRPr/>
                </a:pPr>
                <a:endParaRPr lang="en-US" sz="1600">
                  <a:solidFill>
                    <a:srgbClr val="FFFFFF"/>
                  </a:solidFill>
                  <a:ea typeface="ＭＳ Ｐゴシック" charset="0"/>
                  <a:cs typeface="ＭＳ Ｐゴシック" charset="0"/>
                </a:endParaRPr>
              </a:p>
            </p:txBody>
          </p:sp>
          <p:sp>
            <p:nvSpPr>
              <p:cNvPr id="136" name="Round Same Side Corner Rectangle 135"/>
              <p:cNvSpPr/>
              <p:nvPr/>
            </p:nvSpPr>
            <p:spPr bwMode="auto">
              <a:xfrm>
                <a:off x="4657949" y="914942"/>
                <a:ext cx="279879" cy="222948"/>
              </a:xfrm>
              <a:prstGeom prst="round2SameRect">
                <a:avLst/>
              </a:prstGeom>
              <a:gradFill rotWithShape="1">
                <a:gsLst>
                  <a:gs pos="0">
                    <a:schemeClr val="tx2">
                      <a:lumMod val="60000"/>
                      <a:lumOff val="40000"/>
                    </a:schemeClr>
                  </a:gs>
                  <a:gs pos="100000">
                    <a:schemeClr val="tx2">
                      <a:lumMod val="40000"/>
                      <a:lumOff val="60000"/>
                    </a:schemeClr>
                  </a:gs>
                </a:gsLst>
                <a:lin ang="16200000" scaled="0"/>
              </a:gradFill>
              <a:ln w="9525" cap="flat" cmpd="sng" algn="ctr">
                <a:noFill/>
                <a:prstDash val="solid"/>
              </a:ln>
              <a:effectLst/>
            </p:spPr>
            <p:txBody>
              <a:bodyPr anchor="ctr"/>
              <a:lstStyle/>
              <a:p>
                <a:pPr algn="ctr" fontAlgn="base">
                  <a:spcBef>
                    <a:spcPct val="0"/>
                  </a:spcBef>
                  <a:spcAft>
                    <a:spcPct val="0"/>
                  </a:spcAft>
                  <a:defRPr/>
                </a:pPr>
                <a:endParaRPr lang="en-US" sz="1600">
                  <a:solidFill>
                    <a:srgbClr val="FFFFFF"/>
                  </a:solidFill>
                  <a:ea typeface="ＭＳ Ｐゴシック" charset="0"/>
                  <a:cs typeface="ＭＳ Ｐゴシック" charset="0"/>
                </a:endParaRPr>
              </a:p>
            </p:txBody>
          </p:sp>
          <p:sp>
            <p:nvSpPr>
              <p:cNvPr id="134" name="Round Same Side Corner Rectangle 133"/>
              <p:cNvSpPr/>
              <p:nvPr/>
            </p:nvSpPr>
            <p:spPr bwMode="auto">
              <a:xfrm>
                <a:off x="4966032" y="914942"/>
                <a:ext cx="275540" cy="221332"/>
              </a:xfrm>
              <a:prstGeom prst="round2SameRect">
                <a:avLst/>
              </a:prstGeom>
              <a:gradFill rotWithShape="1">
                <a:gsLst>
                  <a:gs pos="0">
                    <a:schemeClr val="tx2">
                      <a:lumMod val="60000"/>
                      <a:lumOff val="40000"/>
                    </a:schemeClr>
                  </a:gs>
                  <a:gs pos="100000">
                    <a:schemeClr val="tx2">
                      <a:lumMod val="40000"/>
                      <a:lumOff val="60000"/>
                    </a:schemeClr>
                  </a:gs>
                </a:gsLst>
                <a:lin ang="16200000" scaled="0"/>
              </a:gradFill>
              <a:ln w="9525" cap="flat" cmpd="sng" algn="ctr">
                <a:noFill/>
                <a:prstDash val="solid"/>
              </a:ln>
              <a:effectLst/>
            </p:spPr>
            <p:txBody>
              <a:bodyPr anchor="ctr"/>
              <a:lstStyle/>
              <a:p>
                <a:pPr algn="ctr" fontAlgn="base">
                  <a:spcBef>
                    <a:spcPct val="0"/>
                  </a:spcBef>
                  <a:spcAft>
                    <a:spcPct val="0"/>
                  </a:spcAft>
                  <a:defRPr/>
                </a:pPr>
                <a:endParaRPr lang="en-US" sz="1600">
                  <a:solidFill>
                    <a:srgbClr val="FFFFFF"/>
                  </a:solidFill>
                  <a:ea typeface="ＭＳ Ｐゴシック" charset="0"/>
                  <a:cs typeface="ＭＳ Ｐゴシック" charset="0"/>
                </a:endParaRPr>
              </a:p>
            </p:txBody>
          </p:sp>
          <p:sp>
            <p:nvSpPr>
              <p:cNvPr id="132" name="Round Same Side Corner Rectangle 131"/>
              <p:cNvSpPr/>
              <p:nvPr/>
            </p:nvSpPr>
            <p:spPr bwMode="auto">
              <a:xfrm>
                <a:off x="5269776" y="914942"/>
                <a:ext cx="279879" cy="221332"/>
              </a:xfrm>
              <a:prstGeom prst="round2SameRect">
                <a:avLst/>
              </a:prstGeom>
              <a:gradFill rotWithShape="1">
                <a:gsLst>
                  <a:gs pos="0">
                    <a:schemeClr val="tx2">
                      <a:lumMod val="60000"/>
                      <a:lumOff val="40000"/>
                    </a:schemeClr>
                  </a:gs>
                  <a:gs pos="100000">
                    <a:schemeClr val="tx2">
                      <a:lumMod val="40000"/>
                      <a:lumOff val="60000"/>
                    </a:schemeClr>
                  </a:gs>
                </a:gsLst>
                <a:lin ang="16200000" scaled="0"/>
              </a:gradFill>
              <a:ln w="9525" cap="flat" cmpd="sng" algn="ctr">
                <a:noFill/>
                <a:prstDash val="solid"/>
              </a:ln>
              <a:effectLst/>
            </p:spPr>
            <p:txBody>
              <a:bodyPr anchor="ctr"/>
              <a:lstStyle/>
              <a:p>
                <a:pPr algn="ctr" fontAlgn="base">
                  <a:spcBef>
                    <a:spcPct val="0"/>
                  </a:spcBef>
                  <a:spcAft>
                    <a:spcPct val="0"/>
                  </a:spcAft>
                  <a:defRPr/>
                </a:pPr>
                <a:endParaRPr lang="en-US" sz="1600">
                  <a:solidFill>
                    <a:srgbClr val="FFFFFF"/>
                  </a:solidFill>
                  <a:ea typeface="ＭＳ Ｐゴシック" charset="0"/>
                  <a:cs typeface="ＭＳ Ｐゴシック" charset="0"/>
                </a:endParaRPr>
              </a:p>
            </p:txBody>
          </p:sp>
          <p:sp>
            <p:nvSpPr>
              <p:cNvPr id="130" name="Round Same Side Corner Rectangle 129"/>
              <p:cNvSpPr/>
              <p:nvPr/>
            </p:nvSpPr>
            <p:spPr bwMode="auto">
              <a:xfrm>
                <a:off x="5575691" y="914942"/>
                <a:ext cx="279878" cy="221332"/>
              </a:xfrm>
              <a:prstGeom prst="round2SameRect">
                <a:avLst/>
              </a:prstGeom>
              <a:gradFill rotWithShape="1">
                <a:gsLst>
                  <a:gs pos="0">
                    <a:schemeClr val="tx2">
                      <a:lumMod val="60000"/>
                      <a:lumOff val="40000"/>
                    </a:schemeClr>
                  </a:gs>
                  <a:gs pos="100000">
                    <a:schemeClr val="tx2">
                      <a:lumMod val="40000"/>
                      <a:lumOff val="60000"/>
                    </a:schemeClr>
                  </a:gs>
                </a:gsLst>
                <a:lin ang="16200000" scaled="0"/>
              </a:gradFill>
              <a:ln w="9525" cap="flat" cmpd="sng" algn="ctr">
                <a:noFill/>
                <a:prstDash val="solid"/>
              </a:ln>
              <a:effectLst/>
            </p:spPr>
            <p:txBody>
              <a:bodyPr anchor="ctr"/>
              <a:lstStyle/>
              <a:p>
                <a:pPr algn="ctr" fontAlgn="base">
                  <a:spcBef>
                    <a:spcPct val="0"/>
                  </a:spcBef>
                  <a:spcAft>
                    <a:spcPct val="0"/>
                  </a:spcAft>
                  <a:defRPr/>
                </a:pPr>
                <a:endParaRPr lang="en-US" sz="1600">
                  <a:solidFill>
                    <a:srgbClr val="FFFFFF"/>
                  </a:solidFill>
                  <a:ea typeface="ＭＳ Ｐゴシック" charset="0"/>
                  <a:cs typeface="ＭＳ Ｐゴシック" charset="0"/>
                </a:endParaRPr>
              </a:p>
            </p:txBody>
          </p:sp>
          <p:sp>
            <p:nvSpPr>
              <p:cNvPr id="128" name="Round Same Side Corner Rectangle 127"/>
              <p:cNvSpPr/>
              <p:nvPr/>
            </p:nvSpPr>
            <p:spPr bwMode="auto">
              <a:xfrm>
                <a:off x="5879435" y="914942"/>
                <a:ext cx="282048" cy="221332"/>
              </a:xfrm>
              <a:prstGeom prst="round2SameRect">
                <a:avLst/>
              </a:prstGeom>
              <a:gradFill rotWithShape="1">
                <a:gsLst>
                  <a:gs pos="0">
                    <a:schemeClr val="tx2">
                      <a:lumMod val="60000"/>
                      <a:lumOff val="40000"/>
                    </a:schemeClr>
                  </a:gs>
                  <a:gs pos="100000">
                    <a:schemeClr val="tx2">
                      <a:lumMod val="40000"/>
                      <a:lumOff val="60000"/>
                    </a:schemeClr>
                  </a:gs>
                </a:gsLst>
                <a:lin ang="16200000" scaled="0"/>
              </a:gradFill>
              <a:ln w="9525" cap="flat" cmpd="sng" algn="ctr">
                <a:noFill/>
                <a:prstDash val="solid"/>
              </a:ln>
              <a:effectLst/>
            </p:spPr>
            <p:txBody>
              <a:bodyPr anchor="ctr"/>
              <a:lstStyle/>
              <a:p>
                <a:pPr algn="ctr" fontAlgn="base">
                  <a:spcBef>
                    <a:spcPct val="0"/>
                  </a:spcBef>
                  <a:spcAft>
                    <a:spcPct val="0"/>
                  </a:spcAft>
                  <a:defRPr/>
                </a:pPr>
                <a:endParaRPr lang="en-US" sz="1600">
                  <a:solidFill>
                    <a:srgbClr val="FFFFFF"/>
                  </a:solidFill>
                  <a:ea typeface="ＭＳ Ｐゴシック" charset="0"/>
                  <a:cs typeface="ＭＳ Ｐゴシック" charset="0"/>
                </a:endParaRPr>
              </a:p>
            </p:txBody>
          </p:sp>
          <p:sp>
            <p:nvSpPr>
              <p:cNvPr id="126" name="Round Same Side Corner Rectangle 125"/>
              <p:cNvSpPr/>
              <p:nvPr/>
            </p:nvSpPr>
            <p:spPr bwMode="auto">
              <a:xfrm>
                <a:off x="6187518" y="914942"/>
                <a:ext cx="279878" cy="221332"/>
              </a:xfrm>
              <a:prstGeom prst="round2SameRect">
                <a:avLst/>
              </a:prstGeom>
              <a:gradFill rotWithShape="1">
                <a:gsLst>
                  <a:gs pos="0">
                    <a:schemeClr val="tx2">
                      <a:lumMod val="60000"/>
                      <a:lumOff val="40000"/>
                    </a:schemeClr>
                  </a:gs>
                  <a:gs pos="100000">
                    <a:schemeClr val="tx2">
                      <a:lumMod val="40000"/>
                      <a:lumOff val="60000"/>
                    </a:schemeClr>
                  </a:gs>
                </a:gsLst>
                <a:lin ang="16200000" scaled="0"/>
              </a:gradFill>
              <a:ln w="9525" cap="flat" cmpd="sng" algn="ctr">
                <a:noFill/>
                <a:prstDash val="solid"/>
              </a:ln>
              <a:effectLst/>
            </p:spPr>
            <p:txBody>
              <a:bodyPr anchor="ctr"/>
              <a:lstStyle/>
              <a:p>
                <a:pPr algn="ctr" fontAlgn="base">
                  <a:spcBef>
                    <a:spcPct val="0"/>
                  </a:spcBef>
                  <a:spcAft>
                    <a:spcPct val="0"/>
                  </a:spcAft>
                  <a:defRPr/>
                </a:pPr>
                <a:endParaRPr lang="en-US" sz="1600">
                  <a:solidFill>
                    <a:srgbClr val="FFFFFF"/>
                  </a:solidFill>
                  <a:ea typeface="ＭＳ Ｐゴシック" charset="0"/>
                  <a:cs typeface="ＭＳ Ｐゴシック" charset="0"/>
                </a:endParaRPr>
              </a:p>
            </p:txBody>
          </p:sp>
          <p:grpSp>
            <p:nvGrpSpPr>
              <p:cNvPr id="14468" name="Group 185"/>
              <p:cNvGrpSpPr>
                <a:grpSpLocks/>
              </p:cNvGrpSpPr>
              <p:nvPr/>
            </p:nvGrpSpPr>
            <p:grpSpPr bwMode="auto">
              <a:xfrm>
                <a:off x="6496239" y="914939"/>
                <a:ext cx="2113855" cy="221331"/>
                <a:chOff x="8480165" y="831931"/>
                <a:chExt cx="3135992" cy="328357"/>
              </a:xfrm>
            </p:grpSpPr>
            <p:sp>
              <p:nvSpPr>
                <p:cNvPr id="124" name="Round Same Side Corner Rectangle 165"/>
                <p:cNvSpPr/>
                <p:nvPr/>
              </p:nvSpPr>
              <p:spPr bwMode="auto">
                <a:xfrm>
                  <a:off x="8479218" y="831936"/>
                  <a:ext cx="415210" cy="328359"/>
                </a:xfrm>
                <a:prstGeom prst="round2SameRect">
                  <a:avLst/>
                </a:prstGeom>
                <a:gradFill rotWithShape="1">
                  <a:gsLst>
                    <a:gs pos="0">
                      <a:schemeClr val="tx2">
                        <a:lumMod val="60000"/>
                        <a:lumOff val="40000"/>
                      </a:schemeClr>
                    </a:gs>
                    <a:gs pos="100000">
                      <a:schemeClr val="tx2">
                        <a:lumMod val="40000"/>
                        <a:lumOff val="60000"/>
                      </a:schemeClr>
                    </a:gs>
                  </a:gsLst>
                  <a:lin ang="16200000" scaled="0"/>
                </a:gradFill>
                <a:ln w="9525" cap="flat" cmpd="sng" algn="ctr">
                  <a:noFill/>
                  <a:prstDash val="solid"/>
                </a:ln>
                <a:effectLst/>
              </p:spPr>
              <p:txBody>
                <a:bodyPr anchor="ctr"/>
                <a:lstStyle/>
                <a:p>
                  <a:pPr algn="ctr" fontAlgn="base">
                    <a:spcBef>
                      <a:spcPct val="0"/>
                    </a:spcBef>
                    <a:spcAft>
                      <a:spcPct val="0"/>
                    </a:spcAft>
                    <a:defRPr/>
                  </a:pPr>
                  <a:endParaRPr lang="en-US" sz="1600">
                    <a:solidFill>
                      <a:srgbClr val="FFFFFF"/>
                    </a:solidFill>
                    <a:ea typeface="ＭＳ Ｐゴシック" charset="0"/>
                    <a:cs typeface="ＭＳ Ｐゴシック" charset="0"/>
                  </a:endParaRPr>
                </a:p>
              </p:txBody>
            </p:sp>
            <p:sp>
              <p:nvSpPr>
                <p:cNvPr id="122" name="Round Same Side Corner Rectangle 168"/>
                <p:cNvSpPr/>
                <p:nvPr/>
              </p:nvSpPr>
              <p:spPr bwMode="auto">
                <a:xfrm>
                  <a:off x="8933053" y="831936"/>
                  <a:ext cx="415212" cy="328359"/>
                </a:xfrm>
                <a:prstGeom prst="round2SameRect">
                  <a:avLst/>
                </a:prstGeom>
                <a:gradFill rotWithShape="1">
                  <a:gsLst>
                    <a:gs pos="0">
                      <a:schemeClr val="tx2">
                        <a:lumMod val="60000"/>
                        <a:lumOff val="40000"/>
                      </a:schemeClr>
                    </a:gs>
                    <a:gs pos="100000">
                      <a:schemeClr val="tx2">
                        <a:lumMod val="40000"/>
                        <a:lumOff val="60000"/>
                      </a:schemeClr>
                    </a:gs>
                  </a:gsLst>
                  <a:lin ang="16200000" scaled="0"/>
                </a:gradFill>
                <a:ln w="9525" cap="flat" cmpd="sng" algn="ctr">
                  <a:noFill/>
                  <a:prstDash val="solid"/>
                </a:ln>
                <a:effectLst/>
              </p:spPr>
              <p:txBody>
                <a:bodyPr anchor="ctr"/>
                <a:lstStyle/>
                <a:p>
                  <a:pPr algn="ctr" fontAlgn="base">
                    <a:spcBef>
                      <a:spcPct val="0"/>
                    </a:spcBef>
                    <a:spcAft>
                      <a:spcPct val="0"/>
                    </a:spcAft>
                    <a:defRPr/>
                  </a:pPr>
                  <a:endParaRPr lang="en-US" sz="1600">
                    <a:solidFill>
                      <a:srgbClr val="FFFFFF"/>
                    </a:solidFill>
                    <a:ea typeface="ＭＳ Ｐゴシック" charset="0"/>
                    <a:cs typeface="ＭＳ Ｐゴシック" charset="0"/>
                  </a:endParaRPr>
                </a:p>
              </p:txBody>
            </p:sp>
            <p:sp>
              <p:nvSpPr>
                <p:cNvPr id="120" name="Round Same Side Corner Rectangle 171"/>
                <p:cNvSpPr/>
                <p:nvPr/>
              </p:nvSpPr>
              <p:spPr bwMode="auto">
                <a:xfrm>
                  <a:off x="9386889" y="831936"/>
                  <a:ext cx="411993" cy="328359"/>
                </a:xfrm>
                <a:prstGeom prst="round2SameRect">
                  <a:avLst/>
                </a:prstGeom>
                <a:gradFill rotWithShape="1">
                  <a:gsLst>
                    <a:gs pos="0">
                      <a:schemeClr val="tx2">
                        <a:lumMod val="60000"/>
                        <a:lumOff val="40000"/>
                      </a:schemeClr>
                    </a:gs>
                    <a:gs pos="100000">
                      <a:schemeClr val="tx2">
                        <a:lumMod val="40000"/>
                        <a:lumOff val="60000"/>
                      </a:schemeClr>
                    </a:gs>
                  </a:gsLst>
                  <a:lin ang="16200000" scaled="0"/>
                </a:gradFill>
                <a:ln w="9525" cap="flat" cmpd="sng" algn="ctr">
                  <a:noFill/>
                  <a:prstDash val="solid"/>
                </a:ln>
                <a:effectLst/>
              </p:spPr>
              <p:txBody>
                <a:bodyPr anchor="ctr"/>
                <a:lstStyle/>
                <a:p>
                  <a:pPr algn="ctr" fontAlgn="base">
                    <a:spcBef>
                      <a:spcPct val="0"/>
                    </a:spcBef>
                    <a:spcAft>
                      <a:spcPct val="0"/>
                    </a:spcAft>
                    <a:defRPr/>
                  </a:pPr>
                  <a:endParaRPr lang="en-US" sz="1600">
                    <a:solidFill>
                      <a:srgbClr val="FFFFFF"/>
                    </a:solidFill>
                    <a:ea typeface="ＭＳ Ｐゴシック" charset="0"/>
                    <a:cs typeface="ＭＳ Ｐゴシック" charset="0"/>
                  </a:endParaRPr>
                </a:p>
              </p:txBody>
            </p:sp>
            <p:sp>
              <p:nvSpPr>
                <p:cNvPr id="118" name="Round Same Side Corner Rectangle 174"/>
                <p:cNvSpPr/>
                <p:nvPr/>
              </p:nvSpPr>
              <p:spPr bwMode="auto">
                <a:xfrm>
                  <a:off x="9840724" y="831936"/>
                  <a:ext cx="415212" cy="328359"/>
                </a:xfrm>
                <a:prstGeom prst="round2SameRect">
                  <a:avLst/>
                </a:prstGeom>
                <a:gradFill rotWithShape="1">
                  <a:gsLst>
                    <a:gs pos="0">
                      <a:schemeClr val="tx2">
                        <a:lumMod val="60000"/>
                        <a:lumOff val="40000"/>
                      </a:schemeClr>
                    </a:gs>
                    <a:gs pos="100000">
                      <a:schemeClr val="tx2">
                        <a:lumMod val="40000"/>
                        <a:lumOff val="60000"/>
                      </a:schemeClr>
                    </a:gs>
                  </a:gsLst>
                  <a:lin ang="16200000" scaled="0"/>
                </a:gradFill>
                <a:ln w="9525" cap="flat" cmpd="sng" algn="ctr">
                  <a:noFill/>
                  <a:prstDash val="solid"/>
                </a:ln>
                <a:effectLst/>
              </p:spPr>
              <p:txBody>
                <a:bodyPr anchor="ctr"/>
                <a:lstStyle/>
                <a:p>
                  <a:pPr algn="ctr" fontAlgn="base">
                    <a:spcBef>
                      <a:spcPct val="0"/>
                    </a:spcBef>
                    <a:spcAft>
                      <a:spcPct val="0"/>
                    </a:spcAft>
                    <a:defRPr/>
                  </a:pPr>
                  <a:endParaRPr lang="en-US" sz="1600">
                    <a:solidFill>
                      <a:srgbClr val="FFFFFF"/>
                    </a:solidFill>
                    <a:ea typeface="ＭＳ Ｐゴシック" charset="0"/>
                    <a:cs typeface="ＭＳ Ｐゴシック" charset="0"/>
                  </a:endParaRPr>
                </a:p>
              </p:txBody>
            </p:sp>
            <p:sp>
              <p:nvSpPr>
                <p:cNvPr id="116" name="Round Same Side Corner Rectangle 177"/>
                <p:cNvSpPr/>
                <p:nvPr/>
              </p:nvSpPr>
              <p:spPr bwMode="auto">
                <a:xfrm>
                  <a:off x="10297778" y="831936"/>
                  <a:ext cx="411993" cy="328359"/>
                </a:xfrm>
                <a:prstGeom prst="round2SameRect">
                  <a:avLst/>
                </a:prstGeom>
                <a:gradFill rotWithShape="1">
                  <a:gsLst>
                    <a:gs pos="0">
                      <a:schemeClr val="tx2">
                        <a:lumMod val="60000"/>
                        <a:lumOff val="40000"/>
                      </a:schemeClr>
                    </a:gs>
                    <a:gs pos="100000">
                      <a:schemeClr val="tx2">
                        <a:lumMod val="40000"/>
                        <a:lumOff val="60000"/>
                      </a:schemeClr>
                    </a:gs>
                  </a:gsLst>
                  <a:lin ang="16200000" scaled="0"/>
                </a:gradFill>
                <a:ln w="9525" cap="flat" cmpd="sng" algn="ctr">
                  <a:noFill/>
                  <a:prstDash val="solid"/>
                </a:ln>
                <a:effectLst/>
              </p:spPr>
              <p:txBody>
                <a:bodyPr anchor="ctr"/>
                <a:lstStyle/>
                <a:p>
                  <a:pPr algn="ctr" fontAlgn="base">
                    <a:spcBef>
                      <a:spcPct val="0"/>
                    </a:spcBef>
                    <a:spcAft>
                      <a:spcPct val="0"/>
                    </a:spcAft>
                    <a:defRPr/>
                  </a:pPr>
                  <a:endParaRPr lang="en-US" sz="1600">
                    <a:solidFill>
                      <a:srgbClr val="FFFFFF"/>
                    </a:solidFill>
                    <a:ea typeface="ＭＳ Ｐゴシック" charset="0"/>
                    <a:cs typeface="ＭＳ Ｐゴシック" charset="0"/>
                  </a:endParaRPr>
                </a:p>
              </p:txBody>
            </p:sp>
            <p:sp>
              <p:nvSpPr>
                <p:cNvPr id="114" name="Round Same Side Corner Rectangle 180"/>
                <p:cNvSpPr/>
                <p:nvPr/>
              </p:nvSpPr>
              <p:spPr bwMode="auto">
                <a:xfrm>
                  <a:off x="10748395" y="831936"/>
                  <a:ext cx="411993" cy="328359"/>
                </a:xfrm>
                <a:prstGeom prst="round2SameRect">
                  <a:avLst/>
                </a:prstGeom>
                <a:gradFill rotWithShape="1">
                  <a:gsLst>
                    <a:gs pos="0">
                      <a:schemeClr val="tx2">
                        <a:lumMod val="60000"/>
                        <a:lumOff val="40000"/>
                      </a:schemeClr>
                    </a:gs>
                    <a:gs pos="100000">
                      <a:schemeClr val="tx2">
                        <a:lumMod val="40000"/>
                        <a:lumOff val="60000"/>
                      </a:schemeClr>
                    </a:gs>
                  </a:gsLst>
                  <a:lin ang="16200000" scaled="0"/>
                </a:gradFill>
                <a:ln w="9525" cap="flat" cmpd="sng" algn="ctr">
                  <a:noFill/>
                  <a:prstDash val="solid"/>
                </a:ln>
                <a:effectLst/>
              </p:spPr>
              <p:txBody>
                <a:bodyPr anchor="ctr"/>
                <a:lstStyle/>
                <a:p>
                  <a:pPr algn="ctr" fontAlgn="base">
                    <a:spcBef>
                      <a:spcPct val="0"/>
                    </a:spcBef>
                    <a:spcAft>
                      <a:spcPct val="0"/>
                    </a:spcAft>
                    <a:defRPr/>
                  </a:pPr>
                  <a:endParaRPr lang="en-US" sz="1600">
                    <a:solidFill>
                      <a:srgbClr val="FFFFFF"/>
                    </a:solidFill>
                    <a:ea typeface="ＭＳ Ｐゴシック" charset="0"/>
                    <a:cs typeface="ＭＳ Ｐゴシック" charset="0"/>
                  </a:endParaRPr>
                </a:p>
              </p:txBody>
            </p:sp>
            <p:sp>
              <p:nvSpPr>
                <p:cNvPr id="112" name="Round Same Side Corner Rectangle 183"/>
                <p:cNvSpPr/>
                <p:nvPr/>
              </p:nvSpPr>
              <p:spPr bwMode="auto">
                <a:xfrm>
                  <a:off x="11202232" y="831936"/>
                  <a:ext cx="415210" cy="328359"/>
                </a:xfrm>
                <a:prstGeom prst="round2SameRect">
                  <a:avLst/>
                </a:prstGeom>
                <a:gradFill rotWithShape="1">
                  <a:gsLst>
                    <a:gs pos="0">
                      <a:schemeClr val="tx2">
                        <a:lumMod val="60000"/>
                        <a:lumOff val="40000"/>
                      </a:schemeClr>
                    </a:gs>
                    <a:gs pos="100000">
                      <a:schemeClr val="tx2">
                        <a:lumMod val="40000"/>
                        <a:lumOff val="60000"/>
                      </a:schemeClr>
                    </a:gs>
                  </a:gsLst>
                  <a:lin ang="16200000" scaled="0"/>
                </a:gradFill>
                <a:ln w="9525" cap="flat" cmpd="sng" algn="ctr">
                  <a:noFill/>
                  <a:prstDash val="solid"/>
                </a:ln>
                <a:effectLst/>
              </p:spPr>
              <p:txBody>
                <a:bodyPr anchor="ctr"/>
                <a:lstStyle/>
                <a:p>
                  <a:pPr algn="ctr" fontAlgn="base">
                    <a:spcBef>
                      <a:spcPct val="0"/>
                    </a:spcBef>
                    <a:spcAft>
                      <a:spcPct val="0"/>
                    </a:spcAft>
                    <a:defRPr/>
                  </a:pPr>
                  <a:endParaRPr lang="en-US" sz="1600">
                    <a:solidFill>
                      <a:srgbClr val="FFFFFF"/>
                    </a:solidFill>
                    <a:ea typeface="ＭＳ Ｐゴシック" charset="0"/>
                    <a:cs typeface="ＭＳ Ｐゴシック" charset="0"/>
                  </a:endParaRPr>
                </a:p>
              </p:txBody>
            </p:sp>
          </p:grpSp>
          <p:grpSp>
            <p:nvGrpSpPr>
              <p:cNvPr id="14469" name="Group 185"/>
              <p:cNvGrpSpPr>
                <a:grpSpLocks/>
              </p:cNvGrpSpPr>
              <p:nvPr/>
            </p:nvGrpSpPr>
            <p:grpSpPr bwMode="auto">
              <a:xfrm>
                <a:off x="8633512" y="914940"/>
                <a:ext cx="2113852" cy="221332"/>
                <a:chOff x="8480925" y="832160"/>
                <a:chExt cx="3135991" cy="328356"/>
              </a:xfrm>
            </p:grpSpPr>
            <p:sp>
              <p:nvSpPr>
                <p:cNvPr id="103" name="Round Same Side Corner Rectangle 165"/>
                <p:cNvSpPr/>
                <p:nvPr/>
              </p:nvSpPr>
              <p:spPr bwMode="auto">
                <a:xfrm>
                  <a:off x="8482875" y="832163"/>
                  <a:ext cx="411993" cy="328356"/>
                </a:xfrm>
                <a:prstGeom prst="round2SameRect">
                  <a:avLst/>
                </a:prstGeom>
                <a:gradFill rotWithShape="1">
                  <a:gsLst>
                    <a:gs pos="0">
                      <a:schemeClr val="tx2">
                        <a:lumMod val="60000"/>
                        <a:lumOff val="40000"/>
                      </a:schemeClr>
                    </a:gs>
                    <a:gs pos="100000">
                      <a:schemeClr val="tx2">
                        <a:lumMod val="40000"/>
                        <a:lumOff val="60000"/>
                      </a:schemeClr>
                    </a:gs>
                  </a:gsLst>
                  <a:lin ang="16200000" scaled="0"/>
                </a:gradFill>
                <a:ln w="9525" cap="flat" cmpd="sng" algn="ctr">
                  <a:noFill/>
                  <a:prstDash val="solid"/>
                </a:ln>
                <a:effectLst/>
              </p:spPr>
              <p:txBody>
                <a:bodyPr anchor="ctr"/>
                <a:lstStyle/>
                <a:p>
                  <a:pPr algn="ctr" fontAlgn="base">
                    <a:spcBef>
                      <a:spcPct val="0"/>
                    </a:spcBef>
                    <a:spcAft>
                      <a:spcPct val="0"/>
                    </a:spcAft>
                    <a:defRPr/>
                  </a:pPr>
                  <a:endParaRPr lang="en-US" sz="1600">
                    <a:solidFill>
                      <a:srgbClr val="FFFFFF"/>
                    </a:solidFill>
                    <a:ea typeface="ＭＳ Ｐゴシック" charset="0"/>
                    <a:cs typeface="ＭＳ Ｐゴシック" charset="0"/>
                  </a:endParaRPr>
                </a:p>
              </p:txBody>
            </p:sp>
            <p:sp>
              <p:nvSpPr>
                <p:cNvPr id="101" name="Round Same Side Corner Rectangle 168"/>
                <p:cNvSpPr/>
                <p:nvPr/>
              </p:nvSpPr>
              <p:spPr bwMode="auto">
                <a:xfrm>
                  <a:off x="8933493" y="832163"/>
                  <a:ext cx="421648" cy="328356"/>
                </a:xfrm>
                <a:prstGeom prst="round2SameRect">
                  <a:avLst/>
                </a:prstGeom>
                <a:gradFill rotWithShape="1">
                  <a:gsLst>
                    <a:gs pos="0">
                      <a:schemeClr val="tx2">
                        <a:lumMod val="60000"/>
                        <a:lumOff val="40000"/>
                      </a:schemeClr>
                    </a:gs>
                    <a:gs pos="100000">
                      <a:schemeClr val="tx2">
                        <a:lumMod val="40000"/>
                        <a:lumOff val="60000"/>
                      </a:schemeClr>
                    </a:gs>
                  </a:gsLst>
                  <a:lin ang="16200000" scaled="0"/>
                </a:gradFill>
                <a:ln w="9525" cap="flat" cmpd="sng" algn="ctr">
                  <a:noFill/>
                  <a:prstDash val="solid"/>
                </a:ln>
                <a:effectLst/>
              </p:spPr>
              <p:txBody>
                <a:bodyPr anchor="ctr"/>
                <a:lstStyle/>
                <a:p>
                  <a:pPr algn="ctr" fontAlgn="base">
                    <a:spcBef>
                      <a:spcPct val="0"/>
                    </a:spcBef>
                    <a:spcAft>
                      <a:spcPct val="0"/>
                    </a:spcAft>
                    <a:defRPr/>
                  </a:pPr>
                  <a:endParaRPr lang="en-US" sz="1600">
                    <a:solidFill>
                      <a:srgbClr val="FFFFFF"/>
                    </a:solidFill>
                    <a:ea typeface="ＭＳ Ｐゴシック" charset="0"/>
                    <a:cs typeface="ＭＳ Ｐゴシック" charset="0"/>
                  </a:endParaRPr>
                </a:p>
              </p:txBody>
            </p:sp>
            <p:sp>
              <p:nvSpPr>
                <p:cNvPr id="99" name="Round Same Side Corner Rectangle 171"/>
                <p:cNvSpPr/>
                <p:nvPr/>
              </p:nvSpPr>
              <p:spPr bwMode="auto">
                <a:xfrm>
                  <a:off x="9390548" y="832163"/>
                  <a:ext cx="411993" cy="328356"/>
                </a:xfrm>
                <a:prstGeom prst="round2SameRect">
                  <a:avLst/>
                </a:prstGeom>
                <a:gradFill rotWithShape="1">
                  <a:gsLst>
                    <a:gs pos="0">
                      <a:schemeClr val="tx2">
                        <a:lumMod val="60000"/>
                        <a:lumOff val="40000"/>
                      </a:schemeClr>
                    </a:gs>
                    <a:gs pos="100000">
                      <a:schemeClr val="tx2">
                        <a:lumMod val="40000"/>
                        <a:lumOff val="60000"/>
                      </a:schemeClr>
                    </a:gs>
                  </a:gsLst>
                  <a:lin ang="16200000" scaled="0"/>
                </a:gradFill>
                <a:ln w="9525" cap="flat" cmpd="sng" algn="ctr">
                  <a:noFill/>
                  <a:prstDash val="solid"/>
                </a:ln>
                <a:effectLst/>
              </p:spPr>
              <p:txBody>
                <a:bodyPr anchor="ctr"/>
                <a:lstStyle/>
                <a:p>
                  <a:pPr algn="ctr" fontAlgn="base">
                    <a:spcBef>
                      <a:spcPct val="0"/>
                    </a:spcBef>
                    <a:spcAft>
                      <a:spcPct val="0"/>
                    </a:spcAft>
                    <a:defRPr/>
                  </a:pPr>
                  <a:endParaRPr lang="en-US" sz="1600">
                    <a:solidFill>
                      <a:srgbClr val="FFFFFF"/>
                    </a:solidFill>
                    <a:ea typeface="ＭＳ Ｐゴシック" charset="0"/>
                    <a:cs typeface="ＭＳ Ｐゴシック" charset="0"/>
                  </a:endParaRPr>
                </a:p>
              </p:txBody>
            </p:sp>
            <p:sp>
              <p:nvSpPr>
                <p:cNvPr id="97" name="Round Same Side Corner Rectangle 174"/>
                <p:cNvSpPr/>
                <p:nvPr/>
              </p:nvSpPr>
              <p:spPr bwMode="auto">
                <a:xfrm>
                  <a:off x="9863695" y="832163"/>
                  <a:ext cx="411993" cy="328356"/>
                </a:xfrm>
                <a:prstGeom prst="round2SameRect">
                  <a:avLst/>
                </a:prstGeom>
                <a:gradFill rotWithShape="1">
                  <a:gsLst>
                    <a:gs pos="0">
                      <a:schemeClr val="tx2">
                        <a:lumMod val="60000"/>
                        <a:lumOff val="40000"/>
                      </a:schemeClr>
                    </a:gs>
                    <a:gs pos="100000">
                      <a:schemeClr val="tx2">
                        <a:lumMod val="40000"/>
                        <a:lumOff val="60000"/>
                      </a:schemeClr>
                    </a:gs>
                  </a:gsLst>
                  <a:lin ang="16200000" scaled="0"/>
                </a:gradFill>
                <a:ln w="9525" cap="flat" cmpd="sng" algn="ctr">
                  <a:noFill/>
                  <a:prstDash val="solid"/>
                </a:ln>
                <a:effectLst/>
              </p:spPr>
              <p:txBody>
                <a:bodyPr anchor="ctr"/>
                <a:lstStyle/>
                <a:p>
                  <a:pPr algn="ctr" fontAlgn="base">
                    <a:spcBef>
                      <a:spcPct val="0"/>
                    </a:spcBef>
                    <a:spcAft>
                      <a:spcPct val="0"/>
                    </a:spcAft>
                    <a:defRPr/>
                  </a:pPr>
                  <a:endParaRPr lang="en-US" sz="1600">
                    <a:solidFill>
                      <a:srgbClr val="FFFFFF"/>
                    </a:solidFill>
                    <a:ea typeface="ＭＳ Ｐゴシック" charset="0"/>
                    <a:cs typeface="ＭＳ Ｐゴシック" charset="0"/>
                  </a:endParaRPr>
                </a:p>
              </p:txBody>
            </p:sp>
            <p:sp>
              <p:nvSpPr>
                <p:cNvPr id="95" name="Round Same Side Corner Rectangle 177"/>
                <p:cNvSpPr/>
                <p:nvPr/>
              </p:nvSpPr>
              <p:spPr bwMode="auto">
                <a:xfrm>
                  <a:off x="10317532" y="832163"/>
                  <a:ext cx="411993" cy="328356"/>
                </a:xfrm>
                <a:prstGeom prst="round2SameRect">
                  <a:avLst/>
                </a:prstGeom>
                <a:gradFill rotWithShape="1">
                  <a:gsLst>
                    <a:gs pos="0">
                      <a:schemeClr val="tx2">
                        <a:lumMod val="60000"/>
                        <a:lumOff val="40000"/>
                      </a:schemeClr>
                    </a:gs>
                    <a:gs pos="100000">
                      <a:schemeClr val="tx2">
                        <a:lumMod val="40000"/>
                        <a:lumOff val="60000"/>
                      </a:schemeClr>
                    </a:gs>
                  </a:gsLst>
                  <a:lin ang="16200000" scaled="0"/>
                </a:gradFill>
                <a:ln w="9525" cap="flat" cmpd="sng" algn="ctr">
                  <a:noFill/>
                  <a:prstDash val="solid"/>
                </a:ln>
                <a:effectLst/>
              </p:spPr>
              <p:txBody>
                <a:bodyPr anchor="ctr"/>
                <a:lstStyle/>
                <a:p>
                  <a:pPr algn="ctr" fontAlgn="base">
                    <a:spcBef>
                      <a:spcPct val="0"/>
                    </a:spcBef>
                    <a:spcAft>
                      <a:spcPct val="0"/>
                    </a:spcAft>
                    <a:defRPr/>
                  </a:pPr>
                  <a:endParaRPr lang="en-US" sz="1600">
                    <a:solidFill>
                      <a:srgbClr val="FFFFFF"/>
                    </a:solidFill>
                    <a:ea typeface="ＭＳ Ｐゴシック" charset="0"/>
                    <a:cs typeface="ＭＳ Ｐゴシック" charset="0"/>
                  </a:endParaRPr>
                </a:p>
              </p:txBody>
            </p:sp>
            <p:sp>
              <p:nvSpPr>
                <p:cNvPr id="93" name="Round Same Side Corner Rectangle 180"/>
                <p:cNvSpPr/>
                <p:nvPr/>
              </p:nvSpPr>
              <p:spPr bwMode="auto">
                <a:xfrm>
                  <a:off x="10748837" y="832163"/>
                  <a:ext cx="415211" cy="328356"/>
                </a:xfrm>
                <a:prstGeom prst="round2SameRect">
                  <a:avLst/>
                </a:prstGeom>
                <a:gradFill rotWithShape="1">
                  <a:gsLst>
                    <a:gs pos="0">
                      <a:schemeClr val="tx2">
                        <a:lumMod val="60000"/>
                        <a:lumOff val="40000"/>
                      </a:schemeClr>
                    </a:gs>
                    <a:gs pos="100000">
                      <a:schemeClr val="tx2">
                        <a:lumMod val="40000"/>
                        <a:lumOff val="60000"/>
                      </a:schemeClr>
                    </a:gs>
                  </a:gsLst>
                  <a:lin ang="16200000" scaled="0"/>
                </a:gradFill>
                <a:ln w="9525" cap="flat" cmpd="sng" algn="ctr">
                  <a:noFill/>
                  <a:prstDash val="solid"/>
                </a:ln>
                <a:effectLst/>
              </p:spPr>
              <p:txBody>
                <a:bodyPr anchor="ctr"/>
                <a:lstStyle/>
                <a:p>
                  <a:pPr algn="ctr" fontAlgn="base">
                    <a:spcBef>
                      <a:spcPct val="0"/>
                    </a:spcBef>
                    <a:spcAft>
                      <a:spcPct val="0"/>
                    </a:spcAft>
                    <a:defRPr/>
                  </a:pPr>
                  <a:endParaRPr lang="en-US" sz="1600">
                    <a:solidFill>
                      <a:srgbClr val="FFFFFF"/>
                    </a:solidFill>
                    <a:ea typeface="ＭＳ Ｐゴシック" charset="0"/>
                    <a:cs typeface="ＭＳ Ｐゴシック" charset="0"/>
                  </a:endParaRPr>
                </a:p>
              </p:txBody>
            </p:sp>
            <p:sp>
              <p:nvSpPr>
                <p:cNvPr id="91" name="Round Same Side Corner Rectangle 183"/>
                <p:cNvSpPr/>
                <p:nvPr/>
              </p:nvSpPr>
              <p:spPr bwMode="auto">
                <a:xfrm>
                  <a:off x="11205892" y="832163"/>
                  <a:ext cx="411993" cy="328356"/>
                </a:xfrm>
                <a:prstGeom prst="round2SameRect">
                  <a:avLst/>
                </a:prstGeom>
                <a:gradFill rotWithShape="1">
                  <a:gsLst>
                    <a:gs pos="0">
                      <a:schemeClr val="tx2">
                        <a:lumMod val="60000"/>
                        <a:lumOff val="40000"/>
                      </a:schemeClr>
                    </a:gs>
                    <a:gs pos="100000">
                      <a:schemeClr val="tx2">
                        <a:lumMod val="40000"/>
                        <a:lumOff val="60000"/>
                      </a:schemeClr>
                    </a:gs>
                  </a:gsLst>
                  <a:lin ang="16200000" scaled="0"/>
                </a:gradFill>
                <a:ln w="9525" cap="flat" cmpd="sng" algn="ctr">
                  <a:noFill/>
                  <a:prstDash val="solid"/>
                </a:ln>
                <a:effectLst/>
              </p:spPr>
              <p:txBody>
                <a:bodyPr anchor="ctr"/>
                <a:lstStyle/>
                <a:p>
                  <a:pPr algn="ctr" fontAlgn="base">
                    <a:spcBef>
                      <a:spcPct val="0"/>
                    </a:spcBef>
                    <a:spcAft>
                      <a:spcPct val="0"/>
                    </a:spcAft>
                    <a:defRPr/>
                  </a:pPr>
                  <a:endParaRPr lang="en-US" sz="1600">
                    <a:solidFill>
                      <a:srgbClr val="FFFFFF"/>
                    </a:solidFill>
                    <a:ea typeface="ＭＳ Ｐゴシック" charset="0"/>
                    <a:cs typeface="ＭＳ Ｐゴシック" charset="0"/>
                  </a:endParaRPr>
                </a:p>
              </p:txBody>
            </p:sp>
          </p:grpSp>
        </p:grpSp>
        <p:cxnSp>
          <p:nvCxnSpPr>
            <p:cNvPr id="207" name="Straight Connector 206"/>
            <p:cNvCxnSpPr/>
            <p:nvPr/>
          </p:nvCxnSpPr>
          <p:spPr bwMode="auto">
            <a:xfrm rot="16200000" flipV="1">
              <a:off x="674655" y="3039257"/>
              <a:ext cx="3049535" cy="6472"/>
            </a:xfrm>
            <a:prstGeom prst="line">
              <a:avLst/>
            </a:prstGeom>
            <a:ln w="12700" cap="flat" cmpd="sng" algn="ctr">
              <a:solidFill>
                <a:schemeClr val="tx1">
                  <a:lumMod val="65000"/>
                  <a:lumOff val="35000"/>
                </a:schemeClr>
              </a:solidFill>
              <a:prstDash val="sysDash"/>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nvGrpSpPr>
            <p:cNvPr id="14386" name="Group 47"/>
            <p:cNvGrpSpPr>
              <a:grpSpLocks/>
            </p:cNvGrpSpPr>
            <p:nvPr/>
          </p:nvGrpSpPr>
          <p:grpSpPr bwMode="auto">
            <a:xfrm>
              <a:off x="1847800" y="1693062"/>
              <a:ext cx="425145" cy="2713193"/>
              <a:chOff x="2660955" y="1956236"/>
              <a:chExt cx="337507" cy="2153904"/>
            </a:xfrm>
          </p:grpSpPr>
          <p:grpSp>
            <p:nvGrpSpPr>
              <p:cNvPr id="14422" name="Group 107"/>
              <p:cNvGrpSpPr>
                <a:grpSpLocks/>
              </p:cNvGrpSpPr>
              <p:nvPr/>
            </p:nvGrpSpPr>
            <p:grpSpPr bwMode="auto">
              <a:xfrm>
                <a:off x="2660955" y="1956236"/>
                <a:ext cx="337507" cy="233260"/>
                <a:chOff x="2590800" y="2048880"/>
                <a:chExt cx="337507" cy="233260"/>
              </a:xfrm>
            </p:grpSpPr>
            <p:sp>
              <p:nvSpPr>
                <p:cNvPr id="222" name="Oval 61"/>
                <p:cNvSpPr/>
                <p:nvPr/>
              </p:nvSpPr>
              <p:spPr>
                <a:xfrm>
                  <a:off x="2590800" y="2103117"/>
                  <a:ext cx="120307" cy="107023"/>
                </a:xfrm>
                <a:prstGeom prst="ellipse">
                  <a:avLst/>
                </a:prstGeom>
                <a:gradFill flip="none" rotWithShape="1">
                  <a:gsLst>
                    <a:gs pos="28000">
                      <a:schemeClr val="tx1">
                        <a:lumMod val="95000"/>
                        <a:lumOff val="5000"/>
                      </a:schemeClr>
                    </a:gs>
                    <a:gs pos="100000">
                      <a:schemeClr val="tx1">
                        <a:lumMod val="75000"/>
                        <a:lumOff val="25000"/>
                      </a:schemeClr>
                    </a:gs>
                  </a:gsLst>
                  <a:path path="circle">
                    <a:fillToRect l="50000" t="50000" r="50000" b="50000"/>
                  </a:path>
                  <a:tileRect/>
                </a:gradFill>
                <a:ln>
                  <a:solidFill>
                    <a:schemeClr val="tx1">
                      <a:lumMod val="95000"/>
                      <a:lumOff val="5000"/>
                    </a:schemeClr>
                  </a:solidFill>
                </a:ln>
                <a:effectLst/>
              </p:spPr>
              <p:style>
                <a:lnRef idx="1">
                  <a:schemeClr val="accent1"/>
                </a:lnRef>
                <a:fillRef idx="3">
                  <a:schemeClr val="accent1"/>
                </a:fillRef>
                <a:effectRef idx="2">
                  <a:schemeClr val="accent1"/>
                </a:effectRef>
                <a:fontRef idx="minor">
                  <a:schemeClr val="lt1"/>
                </a:fontRef>
              </p:style>
              <p:txBody>
                <a:bodyPr anchor="ctr"/>
                <a:lstStyle>
                  <a:lvl1pPr>
                    <a:defRPr>
                      <a:solidFill>
                        <a:schemeClr val="tx1"/>
                      </a:solidFill>
                      <a:latin typeface="Calibri" charset="0"/>
                      <a:ea typeface="ＭＳ Ｐゴシック" charset="0"/>
                      <a:cs typeface="ＭＳ Ｐゴシック" charset="0"/>
                    </a:defRPr>
                  </a:lvl1pPr>
                  <a:lvl2pPr marL="37931725" indent="-37474525">
                    <a:defRPr>
                      <a:solidFill>
                        <a:schemeClr val="tx1"/>
                      </a:solidFill>
                      <a:latin typeface="Calibri" charset="0"/>
                      <a:ea typeface="ＭＳ Ｐゴシック" charset="0"/>
                    </a:defRPr>
                  </a:lvl2pPr>
                  <a:lvl3pPr>
                    <a:defRPr>
                      <a:solidFill>
                        <a:schemeClr val="tx1"/>
                      </a:solidFill>
                      <a:latin typeface="Calibri" charset="0"/>
                      <a:ea typeface="ＭＳ Ｐゴシック" charset="0"/>
                    </a:defRPr>
                  </a:lvl3pPr>
                  <a:lvl4pPr>
                    <a:defRPr>
                      <a:solidFill>
                        <a:schemeClr val="tx1"/>
                      </a:solidFill>
                      <a:latin typeface="Calibri" charset="0"/>
                      <a:ea typeface="ＭＳ Ｐゴシック" charset="0"/>
                    </a:defRPr>
                  </a:lvl4pPr>
                  <a:lvl5pPr>
                    <a:defRPr>
                      <a:solidFill>
                        <a:schemeClr val="tx1"/>
                      </a:solidFill>
                      <a:latin typeface="Calibri" charset="0"/>
                      <a:ea typeface="ＭＳ Ｐゴシック" charset="0"/>
                    </a:defRPr>
                  </a:lvl5pPr>
                  <a:lvl6pPr marL="457200" fontAlgn="base">
                    <a:spcBef>
                      <a:spcPct val="0"/>
                    </a:spcBef>
                    <a:spcAft>
                      <a:spcPct val="0"/>
                    </a:spcAft>
                    <a:defRPr>
                      <a:solidFill>
                        <a:schemeClr val="tx1"/>
                      </a:solidFill>
                      <a:latin typeface="Calibri" charset="0"/>
                      <a:ea typeface="ＭＳ Ｐゴシック" charset="0"/>
                    </a:defRPr>
                  </a:lvl6pPr>
                  <a:lvl7pPr marL="914400" fontAlgn="base">
                    <a:spcBef>
                      <a:spcPct val="0"/>
                    </a:spcBef>
                    <a:spcAft>
                      <a:spcPct val="0"/>
                    </a:spcAft>
                    <a:defRPr>
                      <a:solidFill>
                        <a:schemeClr val="tx1"/>
                      </a:solidFill>
                      <a:latin typeface="Calibri" charset="0"/>
                      <a:ea typeface="ＭＳ Ｐゴシック" charset="0"/>
                    </a:defRPr>
                  </a:lvl7pPr>
                  <a:lvl8pPr marL="1371600" fontAlgn="base">
                    <a:spcBef>
                      <a:spcPct val="0"/>
                    </a:spcBef>
                    <a:spcAft>
                      <a:spcPct val="0"/>
                    </a:spcAft>
                    <a:defRPr>
                      <a:solidFill>
                        <a:schemeClr val="tx1"/>
                      </a:solidFill>
                      <a:latin typeface="Calibri" charset="0"/>
                      <a:ea typeface="ＭＳ Ｐゴシック" charset="0"/>
                    </a:defRPr>
                  </a:lvl8pPr>
                  <a:lvl9pPr marL="1828800" fontAlgn="base">
                    <a:spcBef>
                      <a:spcPct val="0"/>
                    </a:spcBef>
                    <a:spcAft>
                      <a:spcPct val="0"/>
                    </a:spcAft>
                    <a:defRPr>
                      <a:solidFill>
                        <a:schemeClr val="tx1"/>
                      </a:solidFill>
                      <a:latin typeface="Calibri" charset="0"/>
                      <a:ea typeface="ＭＳ Ｐゴシック" charset="0"/>
                    </a:defRPr>
                  </a:lvl9pPr>
                </a:lstStyle>
                <a:p>
                  <a:pPr algn="ctr" defTabSz="457200" fontAlgn="base">
                    <a:spcBef>
                      <a:spcPct val="0"/>
                    </a:spcBef>
                    <a:spcAft>
                      <a:spcPct val="0"/>
                    </a:spcAft>
                    <a:defRPr/>
                  </a:pPr>
                  <a:endParaRPr lang="en-US" sz="1600" smtClean="0">
                    <a:solidFill>
                      <a:srgbClr val="FFFFFF"/>
                    </a:solidFill>
                  </a:endParaRPr>
                </a:p>
              </p:txBody>
            </p:sp>
            <p:sp>
              <p:nvSpPr>
                <p:cNvPr id="223" name="Oval 62"/>
                <p:cNvSpPr/>
                <p:nvPr/>
              </p:nvSpPr>
              <p:spPr>
                <a:xfrm>
                  <a:off x="2808000" y="2103117"/>
                  <a:ext cx="120307" cy="107023"/>
                </a:xfrm>
                <a:prstGeom prst="ellipse">
                  <a:avLst/>
                </a:prstGeom>
                <a:gradFill flip="none" rotWithShape="1">
                  <a:gsLst>
                    <a:gs pos="28000">
                      <a:schemeClr val="tx1">
                        <a:lumMod val="95000"/>
                        <a:lumOff val="5000"/>
                      </a:schemeClr>
                    </a:gs>
                    <a:gs pos="100000">
                      <a:schemeClr val="tx1">
                        <a:lumMod val="75000"/>
                        <a:lumOff val="25000"/>
                      </a:schemeClr>
                    </a:gs>
                  </a:gsLst>
                  <a:path path="circle">
                    <a:fillToRect l="50000" t="50000" r="50000" b="50000"/>
                  </a:path>
                  <a:tileRect/>
                </a:gradFill>
                <a:ln>
                  <a:solidFill>
                    <a:schemeClr val="tx1">
                      <a:lumMod val="95000"/>
                      <a:lumOff val="5000"/>
                    </a:schemeClr>
                  </a:solidFill>
                </a:ln>
                <a:effectLst/>
              </p:spPr>
              <p:style>
                <a:lnRef idx="1">
                  <a:schemeClr val="accent1"/>
                </a:lnRef>
                <a:fillRef idx="3">
                  <a:schemeClr val="accent1"/>
                </a:fillRef>
                <a:effectRef idx="2">
                  <a:schemeClr val="accent1"/>
                </a:effectRef>
                <a:fontRef idx="minor">
                  <a:schemeClr val="lt1"/>
                </a:fontRef>
              </p:style>
              <p:txBody>
                <a:bodyPr anchor="ctr"/>
                <a:lstStyle>
                  <a:lvl1pPr>
                    <a:defRPr>
                      <a:solidFill>
                        <a:schemeClr val="tx1"/>
                      </a:solidFill>
                      <a:latin typeface="Calibri" charset="0"/>
                      <a:ea typeface="ＭＳ Ｐゴシック" charset="0"/>
                      <a:cs typeface="ＭＳ Ｐゴシック" charset="0"/>
                    </a:defRPr>
                  </a:lvl1pPr>
                  <a:lvl2pPr marL="37931725" indent="-37474525">
                    <a:defRPr>
                      <a:solidFill>
                        <a:schemeClr val="tx1"/>
                      </a:solidFill>
                      <a:latin typeface="Calibri" charset="0"/>
                      <a:ea typeface="ＭＳ Ｐゴシック" charset="0"/>
                    </a:defRPr>
                  </a:lvl2pPr>
                  <a:lvl3pPr>
                    <a:defRPr>
                      <a:solidFill>
                        <a:schemeClr val="tx1"/>
                      </a:solidFill>
                      <a:latin typeface="Calibri" charset="0"/>
                      <a:ea typeface="ＭＳ Ｐゴシック" charset="0"/>
                    </a:defRPr>
                  </a:lvl3pPr>
                  <a:lvl4pPr>
                    <a:defRPr>
                      <a:solidFill>
                        <a:schemeClr val="tx1"/>
                      </a:solidFill>
                      <a:latin typeface="Calibri" charset="0"/>
                      <a:ea typeface="ＭＳ Ｐゴシック" charset="0"/>
                    </a:defRPr>
                  </a:lvl4pPr>
                  <a:lvl5pPr>
                    <a:defRPr>
                      <a:solidFill>
                        <a:schemeClr val="tx1"/>
                      </a:solidFill>
                      <a:latin typeface="Calibri" charset="0"/>
                      <a:ea typeface="ＭＳ Ｐゴシック" charset="0"/>
                    </a:defRPr>
                  </a:lvl5pPr>
                  <a:lvl6pPr marL="457200" fontAlgn="base">
                    <a:spcBef>
                      <a:spcPct val="0"/>
                    </a:spcBef>
                    <a:spcAft>
                      <a:spcPct val="0"/>
                    </a:spcAft>
                    <a:defRPr>
                      <a:solidFill>
                        <a:schemeClr val="tx1"/>
                      </a:solidFill>
                      <a:latin typeface="Calibri" charset="0"/>
                      <a:ea typeface="ＭＳ Ｐゴシック" charset="0"/>
                    </a:defRPr>
                  </a:lvl6pPr>
                  <a:lvl7pPr marL="914400" fontAlgn="base">
                    <a:spcBef>
                      <a:spcPct val="0"/>
                    </a:spcBef>
                    <a:spcAft>
                      <a:spcPct val="0"/>
                    </a:spcAft>
                    <a:defRPr>
                      <a:solidFill>
                        <a:schemeClr val="tx1"/>
                      </a:solidFill>
                      <a:latin typeface="Calibri" charset="0"/>
                      <a:ea typeface="ＭＳ Ｐゴシック" charset="0"/>
                    </a:defRPr>
                  </a:lvl7pPr>
                  <a:lvl8pPr marL="1371600" fontAlgn="base">
                    <a:spcBef>
                      <a:spcPct val="0"/>
                    </a:spcBef>
                    <a:spcAft>
                      <a:spcPct val="0"/>
                    </a:spcAft>
                    <a:defRPr>
                      <a:solidFill>
                        <a:schemeClr val="tx1"/>
                      </a:solidFill>
                      <a:latin typeface="Calibri" charset="0"/>
                      <a:ea typeface="ＭＳ Ｐゴシック" charset="0"/>
                    </a:defRPr>
                  </a:lvl8pPr>
                  <a:lvl9pPr marL="1828800" fontAlgn="base">
                    <a:spcBef>
                      <a:spcPct val="0"/>
                    </a:spcBef>
                    <a:spcAft>
                      <a:spcPct val="0"/>
                    </a:spcAft>
                    <a:defRPr>
                      <a:solidFill>
                        <a:schemeClr val="tx1"/>
                      </a:solidFill>
                      <a:latin typeface="Calibri" charset="0"/>
                      <a:ea typeface="ＭＳ Ｐゴシック" charset="0"/>
                    </a:defRPr>
                  </a:lvl9pPr>
                </a:lstStyle>
                <a:p>
                  <a:pPr algn="ctr" defTabSz="457200" fontAlgn="base">
                    <a:spcBef>
                      <a:spcPct val="0"/>
                    </a:spcBef>
                    <a:spcAft>
                      <a:spcPct val="0"/>
                    </a:spcAft>
                    <a:defRPr/>
                  </a:pPr>
                  <a:endParaRPr lang="en-US" sz="1600" smtClean="0">
                    <a:solidFill>
                      <a:srgbClr val="FFFFFF"/>
                    </a:solidFill>
                  </a:endParaRPr>
                </a:p>
              </p:txBody>
            </p:sp>
            <p:sp>
              <p:nvSpPr>
                <p:cNvPr id="224" name="Block Arc 63"/>
                <p:cNvSpPr/>
                <p:nvPr/>
              </p:nvSpPr>
              <p:spPr>
                <a:xfrm>
                  <a:off x="2614345" y="2048313"/>
                  <a:ext cx="281283" cy="230624"/>
                </a:xfrm>
                <a:prstGeom prst="blockArc">
                  <a:avLst/>
                </a:prstGeom>
                <a:gradFill>
                  <a:gsLst>
                    <a:gs pos="0">
                      <a:schemeClr val="bg1">
                        <a:lumMod val="50000"/>
                      </a:schemeClr>
                    </a:gs>
                    <a:gs pos="100000">
                      <a:schemeClr val="bg1">
                        <a:lumMod val="75000"/>
                      </a:schemeClr>
                    </a:gs>
                  </a:gsLst>
                </a:gra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fontAlgn="base">
                    <a:spcBef>
                      <a:spcPct val="0"/>
                    </a:spcBef>
                    <a:spcAft>
                      <a:spcPct val="0"/>
                    </a:spcAft>
                    <a:defRPr/>
                  </a:pPr>
                  <a:endParaRPr lang="en-US" sz="1600">
                    <a:solidFill>
                      <a:prstClr val="black"/>
                    </a:solidFill>
                    <a:ea typeface="ＭＳ Ｐゴシック" charset="0"/>
                    <a:cs typeface="ＭＳ Ｐゴシック" charset="0"/>
                  </a:endParaRPr>
                </a:p>
              </p:txBody>
            </p:sp>
          </p:grpSp>
          <p:grpSp>
            <p:nvGrpSpPr>
              <p:cNvPr id="14423" name="Group 108"/>
              <p:cNvGrpSpPr>
                <a:grpSpLocks/>
              </p:cNvGrpSpPr>
              <p:nvPr/>
            </p:nvGrpSpPr>
            <p:grpSpPr bwMode="auto">
              <a:xfrm>
                <a:off x="2660955" y="2256376"/>
                <a:ext cx="337507" cy="233260"/>
                <a:chOff x="2590800" y="2048880"/>
                <a:chExt cx="337507" cy="233260"/>
              </a:xfrm>
            </p:grpSpPr>
            <p:sp>
              <p:nvSpPr>
                <p:cNvPr id="219" name="Oval 58"/>
                <p:cNvSpPr/>
                <p:nvPr/>
              </p:nvSpPr>
              <p:spPr>
                <a:xfrm>
                  <a:off x="2590800" y="2103117"/>
                  <a:ext cx="120307" cy="107023"/>
                </a:xfrm>
                <a:prstGeom prst="ellipse">
                  <a:avLst/>
                </a:prstGeom>
                <a:gradFill flip="none" rotWithShape="1">
                  <a:gsLst>
                    <a:gs pos="28000">
                      <a:schemeClr val="tx1">
                        <a:lumMod val="95000"/>
                        <a:lumOff val="5000"/>
                      </a:schemeClr>
                    </a:gs>
                    <a:gs pos="100000">
                      <a:schemeClr val="tx1">
                        <a:lumMod val="75000"/>
                        <a:lumOff val="25000"/>
                      </a:schemeClr>
                    </a:gs>
                  </a:gsLst>
                  <a:path path="circle">
                    <a:fillToRect l="50000" t="50000" r="50000" b="50000"/>
                  </a:path>
                  <a:tileRect/>
                </a:gradFill>
                <a:ln>
                  <a:solidFill>
                    <a:schemeClr val="tx1">
                      <a:lumMod val="95000"/>
                      <a:lumOff val="5000"/>
                    </a:schemeClr>
                  </a:solidFill>
                </a:ln>
                <a:effectLst/>
              </p:spPr>
              <p:style>
                <a:lnRef idx="1">
                  <a:schemeClr val="accent1"/>
                </a:lnRef>
                <a:fillRef idx="3">
                  <a:schemeClr val="accent1"/>
                </a:fillRef>
                <a:effectRef idx="2">
                  <a:schemeClr val="accent1"/>
                </a:effectRef>
                <a:fontRef idx="minor">
                  <a:schemeClr val="lt1"/>
                </a:fontRef>
              </p:style>
              <p:txBody>
                <a:bodyPr anchor="ctr"/>
                <a:lstStyle>
                  <a:lvl1pPr>
                    <a:defRPr>
                      <a:solidFill>
                        <a:schemeClr val="tx1"/>
                      </a:solidFill>
                      <a:latin typeface="Calibri" charset="0"/>
                      <a:ea typeface="ＭＳ Ｐゴシック" charset="0"/>
                      <a:cs typeface="ＭＳ Ｐゴシック" charset="0"/>
                    </a:defRPr>
                  </a:lvl1pPr>
                  <a:lvl2pPr marL="37931725" indent="-37474525">
                    <a:defRPr>
                      <a:solidFill>
                        <a:schemeClr val="tx1"/>
                      </a:solidFill>
                      <a:latin typeface="Calibri" charset="0"/>
                      <a:ea typeface="ＭＳ Ｐゴシック" charset="0"/>
                    </a:defRPr>
                  </a:lvl2pPr>
                  <a:lvl3pPr>
                    <a:defRPr>
                      <a:solidFill>
                        <a:schemeClr val="tx1"/>
                      </a:solidFill>
                      <a:latin typeface="Calibri" charset="0"/>
                      <a:ea typeface="ＭＳ Ｐゴシック" charset="0"/>
                    </a:defRPr>
                  </a:lvl3pPr>
                  <a:lvl4pPr>
                    <a:defRPr>
                      <a:solidFill>
                        <a:schemeClr val="tx1"/>
                      </a:solidFill>
                      <a:latin typeface="Calibri" charset="0"/>
                      <a:ea typeface="ＭＳ Ｐゴシック" charset="0"/>
                    </a:defRPr>
                  </a:lvl4pPr>
                  <a:lvl5pPr>
                    <a:defRPr>
                      <a:solidFill>
                        <a:schemeClr val="tx1"/>
                      </a:solidFill>
                      <a:latin typeface="Calibri" charset="0"/>
                      <a:ea typeface="ＭＳ Ｐゴシック" charset="0"/>
                    </a:defRPr>
                  </a:lvl5pPr>
                  <a:lvl6pPr marL="457200" fontAlgn="base">
                    <a:spcBef>
                      <a:spcPct val="0"/>
                    </a:spcBef>
                    <a:spcAft>
                      <a:spcPct val="0"/>
                    </a:spcAft>
                    <a:defRPr>
                      <a:solidFill>
                        <a:schemeClr val="tx1"/>
                      </a:solidFill>
                      <a:latin typeface="Calibri" charset="0"/>
                      <a:ea typeface="ＭＳ Ｐゴシック" charset="0"/>
                    </a:defRPr>
                  </a:lvl6pPr>
                  <a:lvl7pPr marL="914400" fontAlgn="base">
                    <a:spcBef>
                      <a:spcPct val="0"/>
                    </a:spcBef>
                    <a:spcAft>
                      <a:spcPct val="0"/>
                    </a:spcAft>
                    <a:defRPr>
                      <a:solidFill>
                        <a:schemeClr val="tx1"/>
                      </a:solidFill>
                      <a:latin typeface="Calibri" charset="0"/>
                      <a:ea typeface="ＭＳ Ｐゴシック" charset="0"/>
                    </a:defRPr>
                  </a:lvl7pPr>
                  <a:lvl8pPr marL="1371600" fontAlgn="base">
                    <a:spcBef>
                      <a:spcPct val="0"/>
                    </a:spcBef>
                    <a:spcAft>
                      <a:spcPct val="0"/>
                    </a:spcAft>
                    <a:defRPr>
                      <a:solidFill>
                        <a:schemeClr val="tx1"/>
                      </a:solidFill>
                      <a:latin typeface="Calibri" charset="0"/>
                      <a:ea typeface="ＭＳ Ｐゴシック" charset="0"/>
                    </a:defRPr>
                  </a:lvl8pPr>
                  <a:lvl9pPr marL="1828800" fontAlgn="base">
                    <a:spcBef>
                      <a:spcPct val="0"/>
                    </a:spcBef>
                    <a:spcAft>
                      <a:spcPct val="0"/>
                    </a:spcAft>
                    <a:defRPr>
                      <a:solidFill>
                        <a:schemeClr val="tx1"/>
                      </a:solidFill>
                      <a:latin typeface="Calibri" charset="0"/>
                      <a:ea typeface="ＭＳ Ｐゴシック" charset="0"/>
                    </a:defRPr>
                  </a:lvl9pPr>
                </a:lstStyle>
                <a:p>
                  <a:pPr algn="ctr" defTabSz="457200" fontAlgn="base">
                    <a:spcBef>
                      <a:spcPct val="0"/>
                    </a:spcBef>
                    <a:spcAft>
                      <a:spcPct val="0"/>
                    </a:spcAft>
                    <a:defRPr/>
                  </a:pPr>
                  <a:endParaRPr lang="en-US" sz="1600" smtClean="0">
                    <a:solidFill>
                      <a:srgbClr val="FFFFFF"/>
                    </a:solidFill>
                  </a:endParaRPr>
                </a:p>
              </p:txBody>
            </p:sp>
            <p:sp>
              <p:nvSpPr>
                <p:cNvPr id="220" name="Oval 59"/>
                <p:cNvSpPr/>
                <p:nvPr/>
              </p:nvSpPr>
              <p:spPr>
                <a:xfrm>
                  <a:off x="2808000" y="2103117"/>
                  <a:ext cx="120307" cy="107023"/>
                </a:xfrm>
                <a:prstGeom prst="ellipse">
                  <a:avLst/>
                </a:prstGeom>
                <a:gradFill flip="none" rotWithShape="1">
                  <a:gsLst>
                    <a:gs pos="28000">
                      <a:schemeClr val="tx1">
                        <a:lumMod val="95000"/>
                        <a:lumOff val="5000"/>
                      </a:schemeClr>
                    </a:gs>
                    <a:gs pos="100000">
                      <a:schemeClr val="tx1">
                        <a:lumMod val="75000"/>
                        <a:lumOff val="25000"/>
                      </a:schemeClr>
                    </a:gs>
                  </a:gsLst>
                  <a:path path="circle">
                    <a:fillToRect l="50000" t="50000" r="50000" b="50000"/>
                  </a:path>
                  <a:tileRect/>
                </a:gradFill>
                <a:ln>
                  <a:solidFill>
                    <a:schemeClr val="tx1">
                      <a:lumMod val="95000"/>
                      <a:lumOff val="5000"/>
                    </a:schemeClr>
                  </a:solidFill>
                </a:ln>
                <a:effectLst/>
              </p:spPr>
              <p:style>
                <a:lnRef idx="1">
                  <a:schemeClr val="accent1"/>
                </a:lnRef>
                <a:fillRef idx="3">
                  <a:schemeClr val="accent1"/>
                </a:fillRef>
                <a:effectRef idx="2">
                  <a:schemeClr val="accent1"/>
                </a:effectRef>
                <a:fontRef idx="minor">
                  <a:schemeClr val="lt1"/>
                </a:fontRef>
              </p:style>
              <p:txBody>
                <a:bodyPr anchor="ctr"/>
                <a:lstStyle>
                  <a:lvl1pPr>
                    <a:defRPr>
                      <a:solidFill>
                        <a:schemeClr val="tx1"/>
                      </a:solidFill>
                      <a:latin typeface="Calibri" charset="0"/>
                      <a:ea typeface="ＭＳ Ｐゴシック" charset="0"/>
                      <a:cs typeface="ＭＳ Ｐゴシック" charset="0"/>
                    </a:defRPr>
                  </a:lvl1pPr>
                  <a:lvl2pPr marL="37931725" indent="-37474525">
                    <a:defRPr>
                      <a:solidFill>
                        <a:schemeClr val="tx1"/>
                      </a:solidFill>
                      <a:latin typeface="Calibri" charset="0"/>
                      <a:ea typeface="ＭＳ Ｐゴシック" charset="0"/>
                    </a:defRPr>
                  </a:lvl2pPr>
                  <a:lvl3pPr>
                    <a:defRPr>
                      <a:solidFill>
                        <a:schemeClr val="tx1"/>
                      </a:solidFill>
                      <a:latin typeface="Calibri" charset="0"/>
                      <a:ea typeface="ＭＳ Ｐゴシック" charset="0"/>
                    </a:defRPr>
                  </a:lvl3pPr>
                  <a:lvl4pPr>
                    <a:defRPr>
                      <a:solidFill>
                        <a:schemeClr val="tx1"/>
                      </a:solidFill>
                      <a:latin typeface="Calibri" charset="0"/>
                      <a:ea typeface="ＭＳ Ｐゴシック" charset="0"/>
                    </a:defRPr>
                  </a:lvl4pPr>
                  <a:lvl5pPr>
                    <a:defRPr>
                      <a:solidFill>
                        <a:schemeClr val="tx1"/>
                      </a:solidFill>
                      <a:latin typeface="Calibri" charset="0"/>
                      <a:ea typeface="ＭＳ Ｐゴシック" charset="0"/>
                    </a:defRPr>
                  </a:lvl5pPr>
                  <a:lvl6pPr marL="457200" fontAlgn="base">
                    <a:spcBef>
                      <a:spcPct val="0"/>
                    </a:spcBef>
                    <a:spcAft>
                      <a:spcPct val="0"/>
                    </a:spcAft>
                    <a:defRPr>
                      <a:solidFill>
                        <a:schemeClr val="tx1"/>
                      </a:solidFill>
                      <a:latin typeface="Calibri" charset="0"/>
                      <a:ea typeface="ＭＳ Ｐゴシック" charset="0"/>
                    </a:defRPr>
                  </a:lvl6pPr>
                  <a:lvl7pPr marL="914400" fontAlgn="base">
                    <a:spcBef>
                      <a:spcPct val="0"/>
                    </a:spcBef>
                    <a:spcAft>
                      <a:spcPct val="0"/>
                    </a:spcAft>
                    <a:defRPr>
                      <a:solidFill>
                        <a:schemeClr val="tx1"/>
                      </a:solidFill>
                      <a:latin typeface="Calibri" charset="0"/>
                      <a:ea typeface="ＭＳ Ｐゴシック" charset="0"/>
                    </a:defRPr>
                  </a:lvl7pPr>
                  <a:lvl8pPr marL="1371600" fontAlgn="base">
                    <a:spcBef>
                      <a:spcPct val="0"/>
                    </a:spcBef>
                    <a:spcAft>
                      <a:spcPct val="0"/>
                    </a:spcAft>
                    <a:defRPr>
                      <a:solidFill>
                        <a:schemeClr val="tx1"/>
                      </a:solidFill>
                      <a:latin typeface="Calibri" charset="0"/>
                      <a:ea typeface="ＭＳ Ｐゴシック" charset="0"/>
                    </a:defRPr>
                  </a:lvl8pPr>
                  <a:lvl9pPr marL="1828800" fontAlgn="base">
                    <a:spcBef>
                      <a:spcPct val="0"/>
                    </a:spcBef>
                    <a:spcAft>
                      <a:spcPct val="0"/>
                    </a:spcAft>
                    <a:defRPr>
                      <a:solidFill>
                        <a:schemeClr val="tx1"/>
                      </a:solidFill>
                      <a:latin typeface="Calibri" charset="0"/>
                      <a:ea typeface="ＭＳ Ｐゴシック" charset="0"/>
                    </a:defRPr>
                  </a:lvl9pPr>
                </a:lstStyle>
                <a:p>
                  <a:pPr algn="ctr" defTabSz="457200" fontAlgn="base">
                    <a:spcBef>
                      <a:spcPct val="0"/>
                    </a:spcBef>
                    <a:spcAft>
                      <a:spcPct val="0"/>
                    </a:spcAft>
                    <a:defRPr/>
                  </a:pPr>
                  <a:endParaRPr lang="en-US" sz="1600" smtClean="0">
                    <a:solidFill>
                      <a:srgbClr val="FFFFFF"/>
                    </a:solidFill>
                  </a:endParaRPr>
                </a:p>
              </p:txBody>
            </p:sp>
            <p:sp>
              <p:nvSpPr>
                <p:cNvPr id="221" name="Block Arc 60"/>
                <p:cNvSpPr/>
                <p:nvPr/>
              </p:nvSpPr>
              <p:spPr>
                <a:xfrm>
                  <a:off x="2614345" y="2045589"/>
                  <a:ext cx="281283" cy="233144"/>
                </a:xfrm>
                <a:prstGeom prst="blockArc">
                  <a:avLst/>
                </a:prstGeom>
                <a:gradFill>
                  <a:gsLst>
                    <a:gs pos="0">
                      <a:schemeClr val="bg1">
                        <a:lumMod val="50000"/>
                      </a:schemeClr>
                    </a:gs>
                    <a:gs pos="100000">
                      <a:schemeClr val="bg1">
                        <a:lumMod val="75000"/>
                      </a:schemeClr>
                    </a:gs>
                  </a:gsLst>
                </a:gra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fontAlgn="base">
                    <a:spcBef>
                      <a:spcPct val="0"/>
                    </a:spcBef>
                    <a:spcAft>
                      <a:spcPct val="0"/>
                    </a:spcAft>
                    <a:defRPr/>
                  </a:pPr>
                  <a:endParaRPr lang="en-US" sz="1600">
                    <a:solidFill>
                      <a:prstClr val="black"/>
                    </a:solidFill>
                    <a:ea typeface="ＭＳ Ｐゴシック" charset="0"/>
                    <a:cs typeface="ＭＳ Ｐゴシック" charset="0"/>
                  </a:endParaRPr>
                </a:p>
              </p:txBody>
            </p:sp>
          </p:grpSp>
          <p:grpSp>
            <p:nvGrpSpPr>
              <p:cNvPr id="14424" name="Group 112"/>
              <p:cNvGrpSpPr>
                <a:grpSpLocks/>
              </p:cNvGrpSpPr>
              <p:nvPr/>
            </p:nvGrpSpPr>
            <p:grpSpPr bwMode="auto">
              <a:xfrm>
                <a:off x="2660955" y="3576740"/>
                <a:ext cx="337507" cy="233260"/>
                <a:chOff x="2590800" y="2048880"/>
                <a:chExt cx="337507" cy="233260"/>
              </a:xfrm>
            </p:grpSpPr>
            <p:sp>
              <p:nvSpPr>
                <p:cNvPr id="216" name="Oval 55"/>
                <p:cNvSpPr/>
                <p:nvPr/>
              </p:nvSpPr>
              <p:spPr>
                <a:xfrm>
                  <a:off x="2590800" y="2103117"/>
                  <a:ext cx="120307" cy="107023"/>
                </a:xfrm>
                <a:prstGeom prst="ellipse">
                  <a:avLst/>
                </a:prstGeom>
                <a:gradFill flip="none" rotWithShape="1">
                  <a:gsLst>
                    <a:gs pos="28000">
                      <a:schemeClr val="tx1">
                        <a:lumMod val="95000"/>
                        <a:lumOff val="5000"/>
                      </a:schemeClr>
                    </a:gs>
                    <a:gs pos="100000">
                      <a:schemeClr val="tx1">
                        <a:lumMod val="75000"/>
                        <a:lumOff val="25000"/>
                      </a:schemeClr>
                    </a:gs>
                  </a:gsLst>
                  <a:path path="circle">
                    <a:fillToRect l="50000" t="50000" r="50000" b="50000"/>
                  </a:path>
                  <a:tileRect/>
                </a:gradFill>
                <a:ln>
                  <a:solidFill>
                    <a:schemeClr val="tx1">
                      <a:lumMod val="95000"/>
                      <a:lumOff val="5000"/>
                    </a:schemeClr>
                  </a:solidFill>
                </a:ln>
                <a:effectLst/>
              </p:spPr>
              <p:style>
                <a:lnRef idx="1">
                  <a:schemeClr val="accent1"/>
                </a:lnRef>
                <a:fillRef idx="3">
                  <a:schemeClr val="accent1"/>
                </a:fillRef>
                <a:effectRef idx="2">
                  <a:schemeClr val="accent1"/>
                </a:effectRef>
                <a:fontRef idx="minor">
                  <a:schemeClr val="lt1"/>
                </a:fontRef>
              </p:style>
              <p:txBody>
                <a:bodyPr anchor="ctr"/>
                <a:lstStyle>
                  <a:lvl1pPr>
                    <a:defRPr>
                      <a:solidFill>
                        <a:schemeClr val="tx1"/>
                      </a:solidFill>
                      <a:latin typeface="Calibri" charset="0"/>
                      <a:ea typeface="ＭＳ Ｐゴシック" charset="0"/>
                      <a:cs typeface="ＭＳ Ｐゴシック" charset="0"/>
                    </a:defRPr>
                  </a:lvl1pPr>
                  <a:lvl2pPr marL="37931725" indent="-37474525">
                    <a:defRPr>
                      <a:solidFill>
                        <a:schemeClr val="tx1"/>
                      </a:solidFill>
                      <a:latin typeface="Calibri" charset="0"/>
                      <a:ea typeface="ＭＳ Ｐゴシック" charset="0"/>
                    </a:defRPr>
                  </a:lvl2pPr>
                  <a:lvl3pPr>
                    <a:defRPr>
                      <a:solidFill>
                        <a:schemeClr val="tx1"/>
                      </a:solidFill>
                      <a:latin typeface="Calibri" charset="0"/>
                      <a:ea typeface="ＭＳ Ｐゴシック" charset="0"/>
                    </a:defRPr>
                  </a:lvl3pPr>
                  <a:lvl4pPr>
                    <a:defRPr>
                      <a:solidFill>
                        <a:schemeClr val="tx1"/>
                      </a:solidFill>
                      <a:latin typeface="Calibri" charset="0"/>
                      <a:ea typeface="ＭＳ Ｐゴシック" charset="0"/>
                    </a:defRPr>
                  </a:lvl4pPr>
                  <a:lvl5pPr>
                    <a:defRPr>
                      <a:solidFill>
                        <a:schemeClr val="tx1"/>
                      </a:solidFill>
                      <a:latin typeface="Calibri" charset="0"/>
                      <a:ea typeface="ＭＳ Ｐゴシック" charset="0"/>
                    </a:defRPr>
                  </a:lvl5pPr>
                  <a:lvl6pPr marL="457200" fontAlgn="base">
                    <a:spcBef>
                      <a:spcPct val="0"/>
                    </a:spcBef>
                    <a:spcAft>
                      <a:spcPct val="0"/>
                    </a:spcAft>
                    <a:defRPr>
                      <a:solidFill>
                        <a:schemeClr val="tx1"/>
                      </a:solidFill>
                      <a:latin typeface="Calibri" charset="0"/>
                      <a:ea typeface="ＭＳ Ｐゴシック" charset="0"/>
                    </a:defRPr>
                  </a:lvl6pPr>
                  <a:lvl7pPr marL="914400" fontAlgn="base">
                    <a:spcBef>
                      <a:spcPct val="0"/>
                    </a:spcBef>
                    <a:spcAft>
                      <a:spcPct val="0"/>
                    </a:spcAft>
                    <a:defRPr>
                      <a:solidFill>
                        <a:schemeClr val="tx1"/>
                      </a:solidFill>
                      <a:latin typeface="Calibri" charset="0"/>
                      <a:ea typeface="ＭＳ Ｐゴシック" charset="0"/>
                    </a:defRPr>
                  </a:lvl7pPr>
                  <a:lvl8pPr marL="1371600" fontAlgn="base">
                    <a:spcBef>
                      <a:spcPct val="0"/>
                    </a:spcBef>
                    <a:spcAft>
                      <a:spcPct val="0"/>
                    </a:spcAft>
                    <a:defRPr>
                      <a:solidFill>
                        <a:schemeClr val="tx1"/>
                      </a:solidFill>
                      <a:latin typeface="Calibri" charset="0"/>
                      <a:ea typeface="ＭＳ Ｐゴシック" charset="0"/>
                    </a:defRPr>
                  </a:lvl8pPr>
                  <a:lvl9pPr marL="1828800" fontAlgn="base">
                    <a:spcBef>
                      <a:spcPct val="0"/>
                    </a:spcBef>
                    <a:spcAft>
                      <a:spcPct val="0"/>
                    </a:spcAft>
                    <a:defRPr>
                      <a:solidFill>
                        <a:schemeClr val="tx1"/>
                      </a:solidFill>
                      <a:latin typeface="Calibri" charset="0"/>
                      <a:ea typeface="ＭＳ Ｐゴシック" charset="0"/>
                    </a:defRPr>
                  </a:lvl9pPr>
                </a:lstStyle>
                <a:p>
                  <a:pPr algn="ctr" defTabSz="457200" fontAlgn="base">
                    <a:spcBef>
                      <a:spcPct val="0"/>
                    </a:spcBef>
                    <a:spcAft>
                      <a:spcPct val="0"/>
                    </a:spcAft>
                    <a:defRPr/>
                  </a:pPr>
                  <a:endParaRPr lang="en-US" sz="1600" smtClean="0">
                    <a:solidFill>
                      <a:srgbClr val="FFFFFF"/>
                    </a:solidFill>
                  </a:endParaRPr>
                </a:p>
              </p:txBody>
            </p:sp>
            <p:sp>
              <p:nvSpPr>
                <p:cNvPr id="217" name="Oval 56"/>
                <p:cNvSpPr/>
                <p:nvPr/>
              </p:nvSpPr>
              <p:spPr>
                <a:xfrm>
                  <a:off x="2808000" y="2103117"/>
                  <a:ext cx="120307" cy="107023"/>
                </a:xfrm>
                <a:prstGeom prst="ellipse">
                  <a:avLst/>
                </a:prstGeom>
                <a:gradFill flip="none" rotWithShape="1">
                  <a:gsLst>
                    <a:gs pos="28000">
                      <a:schemeClr val="tx1">
                        <a:lumMod val="95000"/>
                        <a:lumOff val="5000"/>
                      </a:schemeClr>
                    </a:gs>
                    <a:gs pos="100000">
                      <a:schemeClr val="tx1">
                        <a:lumMod val="75000"/>
                        <a:lumOff val="25000"/>
                      </a:schemeClr>
                    </a:gs>
                  </a:gsLst>
                  <a:path path="circle">
                    <a:fillToRect l="50000" t="50000" r="50000" b="50000"/>
                  </a:path>
                  <a:tileRect/>
                </a:gradFill>
                <a:ln>
                  <a:solidFill>
                    <a:schemeClr val="tx1">
                      <a:lumMod val="95000"/>
                      <a:lumOff val="5000"/>
                    </a:schemeClr>
                  </a:solidFill>
                </a:ln>
                <a:effectLst/>
              </p:spPr>
              <p:style>
                <a:lnRef idx="1">
                  <a:schemeClr val="accent1"/>
                </a:lnRef>
                <a:fillRef idx="3">
                  <a:schemeClr val="accent1"/>
                </a:fillRef>
                <a:effectRef idx="2">
                  <a:schemeClr val="accent1"/>
                </a:effectRef>
                <a:fontRef idx="minor">
                  <a:schemeClr val="lt1"/>
                </a:fontRef>
              </p:style>
              <p:txBody>
                <a:bodyPr anchor="ctr"/>
                <a:lstStyle>
                  <a:lvl1pPr>
                    <a:defRPr>
                      <a:solidFill>
                        <a:schemeClr val="tx1"/>
                      </a:solidFill>
                      <a:latin typeface="Calibri" charset="0"/>
                      <a:ea typeface="ＭＳ Ｐゴシック" charset="0"/>
                      <a:cs typeface="ＭＳ Ｐゴシック" charset="0"/>
                    </a:defRPr>
                  </a:lvl1pPr>
                  <a:lvl2pPr marL="37931725" indent="-37474525">
                    <a:defRPr>
                      <a:solidFill>
                        <a:schemeClr val="tx1"/>
                      </a:solidFill>
                      <a:latin typeface="Calibri" charset="0"/>
                      <a:ea typeface="ＭＳ Ｐゴシック" charset="0"/>
                    </a:defRPr>
                  </a:lvl2pPr>
                  <a:lvl3pPr>
                    <a:defRPr>
                      <a:solidFill>
                        <a:schemeClr val="tx1"/>
                      </a:solidFill>
                      <a:latin typeface="Calibri" charset="0"/>
                      <a:ea typeface="ＭＳ Ｐゴシック" charset="0"/>
                    </a:defRPr>
                  </a:lvl3pPr>
                  <a:lvl4pPr>
                    <a:defRPr>
                      <a:solidFill>
                        <a:schemeClr val="tx1"/>
                      </a:solidFill>
                      <a:latin typeface="Calibri" charset="0"/>
                      <a:ea typeface="ＭＳ Ｐゴシック" charset="0"/>
                    </a:defRPr>
                  </a:lvl4pPr>
                  <a:lvl5pPr>
                    <a:defRPr>
                      <a:solidFill>
                        <a:schemeClr val="tx1"/>
                      </a:solidFill>
                      <a:latin typeface="Calibri" charset="0"/>
                      <a:ea typeface="ＭＳ Ｐゴシック" charset="0"/>
                    </a:defRPr>
                  </a:lvl5pPr>
                  <a:lvl6pPr marL="457200" fontAlgn="base">
                    <a:spcBef>
                      <a:spcPct val="0"/>
                    </a:spcBef>
                    <a:spcAft>
                      <a:spcPct val="0"/>
                    </a:spcAft>
                    <a:defRPr>
                      <a:solidFill>
                        <a:schemeClr val="tx1"/>
                      </a:solidFill>
                      <a:latin typeface="Calibri" charset="0"/>
                      <a:ea typeface="ＭＳ Ｐゴシック" charset="0"/>
                    </a:defRPr>
                  </a:lvl6pPr>
                  <a:lvl7pPr marL="914400" fontAlgn="base">
                    <a:spcBef>
                      <a:spcPct val="0"/>
                    </a:spcBef>
                    <a:spcAft>
                      <a:spcPct val="0"/>
                    </a:spcAft>
                    <a:defRPr>
                      <a:solidFill>
                        <a:schemeClr val="tx1"/>
                      </a:solidFill>
                      <a:latin typeface="Calibri" charset="0"/>
                      <a:ea typeface="ＭＳ Ｐゴシック" charset="0"/>
                    </a:defRPr>
                  </a:lvl7pPr>
                  <a:lvl8pPr marL="1371600" fontAlgn="base">
                    <a:spcBef>
                      <a:spcPct val="0"/>
                    </a:spcBef>
                    <a:spcAft>
                      <a:spcPct val="0"/>
                    </a:spcAft>
                    <a:defRPr>
                      <a:solidFill>
                        <a:schemeClr val="tx1"/>
                      </a:solidFill>
                      <a:latin typeface="Calibri" charset="0"/>
                      <a:ea typeface="ＭＳ Ｐゴシック" charset="0"/>
                    </a:defRPr>
                  </a:lvl8pPr>
                  <a:lvl9pPr marL="1828800" fontAlgn="base">
                    <a:spcBef>
                      <a:spcPct val="0"/>
                    </a:spcBef>
                    <a:spcAft>
                      <a:spcPct val="0"/>
                    </a:spcAft>
                    <a:defRPr>
                      <a:solidFill>
                        <a:schemeClr val="tx1"/>
                      </a:solidFill>
                      <a:latin typeface="Calibri" charset="0"/>
                      <a:ea typeface="ＭＳ Ｐゴシック" charset="0"/>
                    </a:defRPr>
                  </a:lvl9pPr>
                </a:lstStyle>
                <a:p>
                  <a:pPr algn="ctr" defTabSz="457200" fontAlgn="base">
                    <a:spcBef>
                      <a:spcPct val="0"/>
                    </a:spcBef>
                    <a:spcAft>
                      <a:spcPct val="0"/>
                    </a:spcAft>
                    <a:defRPr/>
                  </a:pPr>
                  <a:endParaRPr lang="en-US" sz="1600" smtClean="0">
                    <a:solidFill>
                      <a:srgbClr val="FFFFFF"/>
                    </a:solidFill>
                  </a:endParaRPr>
                </a:p>
              </p:txBody>
            </p:sp>
            <p:sp>
              <p:nvSpPr>
                <p:cNvPr id="218" name="Block Arc 57"/>
                <p:cNvSpPr/>
                <p:nvPr/>
              </p:nvSpPr>
              <p:spPr>
                <a:xfrm>
                  <a:off x="2614345" y="2052254"/>
                  <a:ext cx="281283" cy="233143"/>
                </a:xfrm>
                <a:prstGeom prst="blockArc">
                  <a:avLst/>
                </a:prstGeom>
                <a:gradFill>
                  <a:gsLst>
                    <a:gs pos="0">
                      <a:schemeClr val="bg1">
                        <a:lumMod val="50000"/>
                      </a:schemeClr>
                    </a:gs>
                    <a:gs pos="100000">
                      <a:schemeClr val="bg1">
                        <a:lumMod val="75000"/>
                      </a:schemeClr>
                    </a:gs>
                  </a:gsLst>
                </a:gra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fontAlgn="base">
                    <a:spcBef>
                      <a:spcPct val="0"/>
                    </a:spcBef>
                    <a:spcAft>
                      <a:spcPct val="0"/>
                    </a:spcAft>
                    <a:defRPr/>
                  </a:pPr>
                  <a:endParaRPr lang="en-US" sz="1600">
                    <a:solidFill>
                      <a:prstClr val="black"/>
                    </a:solidFill>
                    <a:ea typeface="ＭＳ Ｐゴシック" charset="0"/>
                    <a:cs typeface="ＭＳ Ｐゴシック" charset="0"/>
                  </a:endParaRPr>
                </a:p>
              </p:txBody>
            </p:sp>
          </p:grpSp>
          <p:grpSp>
            <p:nvGrpSpPr>
              <p:cNvPr id="14425" name="Group 116"/>
              <p:cNvGrpSpPr>
                <a:grpSpLocks/>
              </p:cNvGrpSpPr>
              <p:nvPr/>
            </p:nvGrpSpPr>
            <p:grpSpPr bwMode="auto">
              <a:xfrm>
                <a:off x="2660955" y="3876880"/>
                <a:ext cx="337507" cy="233260"/>
                <a:chOff x="2590800" y="2048880"/>
                <a:chExt cx="337507" cy="233260"/>
              </a:xfrm>
            </p:grpSpPr>
            <p:sp>
              <p:nvSpPr>
                <p:cNvPr id="213" name="Oval 52"/>
                <p:cNvSpPr/>
                <p:nvPr/>
              </p:nvSpPr>
              <p:spPr>
                <a:xfrm>
                  <a:off x="2590800" y="2103117"/>
                  <a:ext cx="120307" cy="107023"/>
                </a:xfrm>
                <a:prstGeom prst="ellipse">
                  <a:avLst/>
                </a:prstGeom>
                <a:gradFill flip="none" rotWithShape="1">
                  <a:gsLst>
                    <a:gs pos="28000">
                      <a:schemeClr val="tx1">
                        <a:lumMod val="95000"/>
                        <a:lumOff val="5000"/>
                      </a:schemeClr>
                    </a:gs>
                    <a:gs pos="100000">
                      <a:schemeClr val="tx1">
                        <a:lumMod val="75000"/>
                        <a:lumOff val="25000"/>
                      </a:schemeClr>
                    </a:gs>
                  </a:gsLst>
                  <a:path path="circle">
                    <a:fillToRect l="50000" t="50000" r="50000" b="50000"/>
                  </a:path>
                  <a:tileRect/>
                </a:gradFill>
                <a:ln>
                  <a:solidFill>
                    <a:schemeClr val="tx1">
                      <a:lumMod val="95000"/>
                      <a:lumOff val="5000"/>
                    </a:schemeClr>
                  </a:solidFill>
                </a:ln>
                <a:effectLst/>
              </p:spPr>
              <p:style>
                <a:lnRef idx="1">
                  <a:schemeClr val="accent1"/>
                </a:lnRef>
                <a:fillRef idx="3">
                  <a:schemeClr val="accent1"/>
                </a:fillRef>
                <a:effectRef idx="2">
                  <a:schemeClr val="accent1"/>
                </a:effectRef>
                <a:fontRef idx="minor">
                  <a:schemeClr val="lt1"/>
                </a:fontRef>
              </p:style>
              <p:txBody>
                <a:bodyPr anchor="ctr"/>
                <a:lstStyle>
                  <a:lvl1pPr>
                    <a:defRPr>
                      <a:solidFill>
                        <a:schemeClr val="tx1"/>
                      </a:solidFill>
                      <a:latin typeface="Calibri" charset="0"/>
                      <a:ea typeface="ＭＳ Ｐゴシック" charset="0"/>
                      <a:cs typeface="ＭＳ Ｐゴシック" charset="0"/>
                    </a:defRPr>
                  </a:lvl1pPr>
                  <a:lvl2pPr marL="37931725" indent="-37474525">
                    <a:defRPr>
                      <a:solidFill>
                        <a:schemeClr val="tx1"/>
                      </a:solidFill>
                      <a:latin typeface="Calibri" charset="0"/>
                      <a:ea typeface="ＭＳ Ｐゴシック" charset="0"/>
                    </a:defRPr>
                  </a:lvl2pPr>
                  <a:lvl3pPr>
                    <a:defRPr>
                      <a:solidFill>
                        <a:schemeClr val="tx1"/>
                      </a:solidFill>
                      <a:latin typeface="Calibri" charset="0"/>
                      <a:ea typeface="ＭＳ Ｐゴシック" charset="0"/>
                    </a:defRPr>
                  </a:lvl3pPr>
                  <a:lvl4pPr>
                    <a:defRPr>
                      <a:solidFill>
                        <a:schemeClr val="tx1"/>
                      </a:solidFill>
                      <a:latin typeface="Calibri" charset="0"/>
                      <a:ea typeface="ＭＳ Ｐゴシック" charset="0"/>
                    </a:defRPr>
                  </a:lvl4pPr>
                  <a:lvl5pPr>
                    <a:defRPr>
                      <a:solidFill>
                        <a:schemeClr val="tx1"/>
                      </a:solidFill>
                      <a:latin typeface="Calibri" charset="0"/>
                      <a:ea typeface="ＭＳ Ｐゴシック" charset="0"/>
                    </a:defRPr>
                  </a:lvl5pPr>
                  <a:lvl6pPr marL="457200" fontAlgn="base">
                    <a:spcBef>
                      <a:spcPct val="0"/>
                    </a:spcBef>
                    <a:spcAft>
                      <a:spcPct val="0"/>
                    </a:spcAft>
                    <a:defRPr>
                      <a:solidFill>
                        <a:schemeClr val="tx1"/>
                      </a:solidFill>
                      <a:latin typeface="Calibri" charset="0"/>
                      <a:ea typeface="ＭＳ Ｐゴシック" charset="0"/>
                    </a:defRPr>
                  </a:lvl6pPr>
                  <a:lvl7pPr marL="914400" fontAlgn="base">
                    <a:spcBef>
                      <a:spcPct val="0"/>
                    </a:spcBef>
                    <a:spcAft>
                      <a:spcPct val="0"/>
                    </a:spcAft>
                    <a:defRPr>
                      <a:solidFill>
                        <a:schemeClr val="tx1"/>
                      </a:solidFill>
                      <a:latin typeface="Calibri" charset="0"/>
                      <a:ea typeface="ＭＳ Ｐゴシック" charset="0"/>
                    </a:defRPr>
                  </a:lvl7pPr>
                  <a:lvl8pPr marL="1371600" fontAlgn="base">
                    <a:spcBef>
                      <a:spcPct val="0"/>
                    </a:spcBef>
                    <a:spcAft>
                      <a:spcPct val="0"/>
                    </a:spcAft>
                    <a:defRPr>
                      <a:solidFill>
                        <a:schemeClr val="tx1"/>
                      </a:solidFill>
                      <a:latin typeface="Calibri" charset="0"/>
                      <a:ea typeface="ＭＳ Ｐゴシック" charset="0"/>
                    </a:defRPr>
                  </a:lvl8pPr>
                  <a:lvl9pPr marL="1828800" fontAlgn="base">
                    <a:spcBef>
                      <a:spcPct val="0"/>
                    </a:spcBef>
                    <a:spcAft>
                      <a:spcPct val="0"/>
                    </a:spcAft>
                    <a:defRPr>
                      <a:solidFill>
                        <a:schemeClr val="tx1"/>
                      </a:solidFill>
                      <a:latin typeface="Calibri" charset="0"/>
                      <a:ea typeface="ＭＳ Ｐゴシック" charset="0"/>
                    </a:defRPr>
                  </a:lvl9pPr>
                </a:lstStyle>
                <a:p>
                  <a:pPr algn="ctr" defTabSz="457200" fontAlgn="base">
                    <a:spcBef>
                      <a:spcPct val="0"/>
                    </a:spcBef>
                    <a:spcAft>
                      <a:spcPct val="0"/>
                    </a:spcAft>
                    <a:defRPr/>
                  </a:pPr>
                  <a:endParaRPr lang="en-US" sz="1600" smtClean="0">
                    <a:solidFill>
                      <a:srgbClr val="FFFFFF"/>
                    </a:solidFill>
                  </a:endParaRPr>
                </a:p>
              </p:txBody>
            </p:sp>
            <p:sp>
              <p:nvSpPr>
                <p:cNvPr id="214" name="Oval 53"/>
                <p:cNvSpPr/>
                <p:nvPr/>
              </p:nvSpPr>
              <p:spPr>
                <a:xfrm>
                  <a:off x="2808000" y="2103117"/>
                  <a:ext cx="120307" cy="107023"/>
                </a:xfrm>
                <a:prstGeom prst="ellipse">
                  <a:avLst/>
                </a:prstGeom>
                <a:gradFill flip="none" rotWithShape="1">
                  <a:gsLst>
                    <a:gs pos="28000">
                      <a:schemeClr val="tx1">
                        <a:lumMod val="95000"/>
                        <a:lumOff val="5000"/>
                      </a:schemeClr>
                    </a:gs>
                    <a:gs pos="100000">
                      <a:schemeClr val="tx1">
                        <a:lumMod val="75000"/>
                        <a:lumOff val="25000"/>
                      </a:schemeClr>
                    </a:gs>
                  </a:gsLst>
                  <a:path path="circle">
                    <a:fillToRect l="50000" t="50000" r="50000" b="50000"/>
                  </a:path>
                  <a:tileRect/>
                </a:gradFill>
                <a:ln>
                  <a:solidFill>
                    <a:schemeClr val="tx1">
                      <a:lumMod val="95000"/>
                      <a:lumOff val="5000"/>
                    </a:schemeClr>
                  </a:solidFill>
                </a:ln>
                <a:effectLst/>
              </p:spPr>
              <p:style>
                <a:lnRef idx="1">
                  <a:schemeClr val="accent1"/>
                </a:lnRef>
                <a:fillRef idx="3">
                  <a:schemeClr val="accent1"/>
                </a:fillRef>
                <a:effectRef idx="2">
                  <a:schemeClr val="accent1"/>
                </a:effectRef>
                <a:fontRef idx="minor">
                  <a:schemeClr val="lt1"/>
                </a:fontRef>
              </p:style>
              <p:txBody>
                <a:bodyPr anchor="ctr"/>
                <a:lstStyle>
                  <a:lvl1pPr>
                    <a:defRPr>
                      <a:solidFill>
                        <a:schemeClr val="tx1"/>
                      </a:solidFill>
                      <a:latin typeface="Calibri" charset="0"/>
                      <a:ea typeface="ＭＳ Ｐゴシック" charset="0"/>
                      <a:cs typeface="ＭＳ Ｐゴシック" charset="0"/>
                    </a:defRPr>
                  </a:lvl1pPr>
                  <a:lvl2pPr marL="37931725" indent="-37474525">
                    <a:defRPr>
                      <a:solidFill>
                        <a:schemeClr val="tx1"/>
                      </a:solidFill>
                      <a:latin typeface="Calibri" charset="0"/>
                      <a:ea typeface="ＭＳ Ｐゴシック" charset="0"/>
                    </a:defRPr>
                  </a:lvl2pPr>
                  <a:lvl3pPr>
                    <a:defRPr>
                      <a:solidFill>
                        <a:schemeClr val="tx1"/>
                      </a:solidFill>
                      <a:latin typeface="Calibri" charset="0"/>
                      <a:ea typeface="ＭＳ Ｐゴシック" charset="0"/>
                    </a:defRPr>
                  </a:lvl3pPr>
                  <a:lvl4pPr>
                    <a:defRPr>
                      <a:solidFill>
                        <a:schemeClr val="tx1"/>
                      </a:solidFill>
                      <a:latin typeface="Calibri" charset="0"/>
                      <a:ea typeface="ＭＳ Ｐゴシック" charset="0"/>
                    </a:defRPr>
                  </a:lvl4pPr>
                  <a:lvl5pPr>
                    <a:defRPr>
                      <a:solidFill>
                        <a:schemeClr val="tx1"/>
                      </a:solidFill>
                      <a:latin typeface="Calibri" charset="0"/>
                      <a:ea typeface="ＭＳ Ｐゴシック" charset="0"/>
                    </a:defRPr>
                  </a:lvl5pPr>
                  <a:lvl6pPr marL="457200" fontAlgn="base">
                    <a:spcBef>
                      <a:spcPct val="0"/>
                    </a:spcBef>
                    <a:spcAft>
                      <a:spcPct val="0"/>
                    </a:spcAft>
                    <a:defRPr>
                      <a:solidFill>
                        <a:schemeClr val="tx1"/>
                      </a:solidFill>
                      <a:latin typeface="Calibri" charset="0"/>
                      <a:ea typeface="ＭＳ Ｐゴシック" charset="0"/>
                    </a:defRPr>
                  </a:lvl6pPr>
                  <a:lvl7pPr marL="914400" fontAlgn="base">
                    <a:spcBef>
                      <a:spcPct val="0"/>
                    </a:spcBef>
                    <a:spcAft>
                      <a:spcPct val="0"/>
                    </a:spcAft>
                    <a:defRPr>
                      <a:solidFill>
                        <a:schemeClr val="tx1"/>
                      </a:solidFill>
                      <a:latin typeface="Calibri" charset="0"/>
                      <a:ea typeface="ＭＳ Ｐゴシック" charset="0"/>
                    </a:defRPr>
                  </a:lvl7pPr>
                  <a:lvl8pPr marL="1371600" fontAlgn="base">
                    <a:spcBef>
                      <a:spcPct val="0"/>
                    </a:spcBef>
                    <a:spcAft>
                      <a:spcPct val="0"/>
                    </a:spcAft>
                    <a:defRPr>
                      <a:solidFill>
                        <a:schemeClr val="tx1"/>
                      </a:solidFill>
                      <a:latin typeface="Calibri" charset="0"/>
                      <a:ea typeface="ＭＳ Ｐゴシック" charset="0"/>
                    </a:defRPr>
                  </a:lvl8pPr>
                  <a:lvl9pPr marL="1828800" fontAlgn="base">
                    <a:spcBef>
                      <a:spcPct val="0"/>
                    </a:spcBef>
                    <a:spcAft>
                      <a:spcPct val="0"/>
                    </a:spcAft>
                    <a:defRPr>
                      <a:solidFill>
                        <a:schemeClr val="tx1"/>
                      </a:solidFill>
                      <a:latin typeface="Calibri" charset="0"/>
                      <a:ea typeface="ＭＳ Ｐゴシック" charset="0"/>
                    </a:defRPr>
                  </a:lvl9pPr>
                </a:lstStyle>
                <a:p>
                  <a:pPr algn="ctr" defTabSz="457200" fontAlgn="base">
                    <a:spcBef>
                      <a:spcPct val="0"/>
                    </a:spcBef>
                    <a:spcAft>
                      <a:spcPct val="0"/>
                    </a:spcAft>
                    <a:defRPr/>
                  </a:pPr>
                  <a:endParaRPr lang="en-US" sz="1600" smtClean="0">
                    <a:solidFill>
                      <a:srgbClr val="FFFFFF"/>
                    </a:solidFill>
                  </a:endParaRPr>
                </a:p>
              </p:txBody>
            </p:sp>
            <p:sp>
              <p:nvSpPr>
                <p:cNvPr id="215" name="Block Arc 54"/>
                <p:cNvSpPr/>
                <p:nvPr/>
              </p:nvSpPr>
              <p:spPr>
                <a:xfrm>
                  <a:off x="2614345" y="2052050"/>
                  <a:ext cx="281283" cy="230623"/>
                </a:xfrm>
                <a:prstGeom prst="blockArc">
                  <a:avLst/>
                </a:prstGeom>
                <a:gradFill>
                  <a:gsLst>
                    <a:gs pos="0">
                      <a:schemeClr val="bg1">
                        <a:lumMod val="50000"/>
                      </a:schemeClr>
                    </a:gs>
                    <a:gs pos="100000">
                      <a:schemeClr val="bg1">
                        <a:lumMod val="75000"/>
                      </a:schemeClr>
                    </a:gs>
                  </a:gsLst>
                </a:gra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fontAlgn="base">
                    <a:spcBef>
                      <a:spcPct val="0"/>
                    </a:spcBef>
                    <a:spcAft>
                      <a:spcPct val="0"/>
                    </a:spcAft>
                    <a:defRPr/>
                  </a:pPr>
                  <a:endParaRPr lang="en-US" sz="1600">
                    <a:solidFill>
                      <a:prstClr val="black"/>
                    </a:solidFill>
                    <a:ea typeface="ＭＳ Ｐゴシック" charset="0"/>
                    <a:cs typeface="ＭＳ Ｐゴシック" charset="0"/>
                  </a:endParaRPr>
                </a:p>
              </p:txBody>
            </p:sp>
          </p:grpSp>
        </p:grpSp>
        <p:cxnSp>
          <p:nvCxnSpPr>
            <p:cNvPr id="228" name="Straight Connector 227"/>
            <p:cNvCxnSpPr>
              <a:cxnSpLocks noChangeShapeType="1"/>
            </p:cNvCxnSpPr>
            <p:nvPr/>
          </p:nvCxnSpPr>
          <p:spPr bwMode="auto">
            <a:xfrm rot="5400000">
              <a:off x="5348270" y="2859080"/>
              <a:ext cx="3441640" cy="6472"/>
            </a:xfrm>
            <a:prstGeom prst="line">
              <a:avLst/>
            </a:prstGeom>
            <a:noFill/>
            <a:ln w="25400">
              <a:solidFill>
                <a:schemeClr val="accent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grpSp>
      <p:grpSp>
        <p:nvGrpSpPr>
          <p:cNvPr id="14351" name="Group 179"/>
          <p:cNvGrpSpPr>
            <a:grpSpLocks/>
          </p:cNvGrpSpPr>
          <p:nvPr/>
        </p:nvGrpSpPr>
        <p:grpSpPr bwMode="auto">
          <a:xfrm rot="17406476">
            <a:off x="1631950" y="3969184"/>
            <a:ext cx="507558" cy="3908207"/>
            <a:chOff x="7147940" y="1286904"/>
            <a:chExt cx="507815" cy="3972308"/>
          </a:xfrm>
        </p:grpSpPr>
        <p:sp>
          <p:nvSpPr>
            <p:cNvPr id="181" name="Round Same Side Corner Rectangle 180"/>
            <p:cNvSpPr>
              <a:spLocks/>
            </p:cNvSpPr>
            <p:nvPr/>
          </p:nvSpPr>
          <p:spPr bwMode="auto">
            <a:xfrm>
              <a:off x="7267242" y="1289507"/>
              <a:ext cx="381193" cy="3202873"/>
            </a:xfrm>
            <a:custGeom>
              <a:avLst/>
              <a:gdLst>
                <a:gd name="T0" fmla="*/ 190597 w 381193"/>
                <a:gd name="T1" fmla="*/ 0 h 3201717"/>
                <a:gd name="T2" fmla="*/ 190597 w 381193"/>
                <a:gd name="T3" fmla="*/ 0 h 3201717"/>
                <a:gd name="T4" fmla="*/ 381194 w 381193"/>
                <a:gd name="T5" fmla="*/ 190597 h 3201717"/>
                <a:gd name="T6" fmla="*/ 381193 w 381193"/>
                <a:gd name="T7" fmla="*/ 3201717 h 3201717"/>
                <a:gd name="T8" fmla="*/ 381193 w 381193"/>
                <a:gd name="T9" fmla="*/ 3201717 h 3201717"/>
                <a:gd name="T10" fmla="*/ 0 w 381193"/>
                <a:gd name="T11" fmla="*/ 3201717 h 3201717"/>
                <a:gd name="T12" fmla="*/ 0 w 381193"/>
                <a:gd name="T13" fmla="*/ 3201717 h 3201717"/>
                <a:gd name="T14" fmla="*/ 0 w 381193"/>
                <a:gd name="T15" fmla="*/ 190597 h 3201717"/>
                <a:gd name="T16" fmla="*/ 190597 w 381193"/>
                <a:gd name="T17" fmla="*/ 0 h 320171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81193" h="3201717">
                  <a:moveTo>
                    <a:pt x="190597" y="0"/>
                  </a:moveTo>
                  <a:lnTo>
                    <a:pt x="190597" y="0"/>
                  </a:lnTo>
                  <a:cubicBezTo>
                    <a:pt x="295861" y="0"/>
                    <a:pt x="381194" y="85333"/>
                    <a:pt x="381194" y="190597"/>
                  </a:cubicBezTo>
                  <a:cubicBezTo>
                    <a:pt x="381194" y="1194304"/>
                    <a:pt x="381193" y="2198010"/>
                    <a:pt x="381193" y="3201717"/>
                  </a:cubicBezTo>
                  <a:lnTo>
                    <a:pt x="0" y="3201717"/>
                  </a:lnTo>
                  <a:lnTo>
                    <a:pt x="0" y="190597"/>
                  </a:lnTo>
                  <a:cubicBezTo>
                    <a:pt x="0" y="85333"/>
                    <a:pt x="85333" y="0"/>
                    <a:pt x="190597" y="0"/>
                  </a:cubicBezTo>
                  <a:close/>
                </a:path>
              </a:pathLst>
            </a:custGeom>
            <a:gradFill rotWithShape="1">
              <a:gsLst>
                <a:gs pos="0">
                  <a:srgbClr val="7F7F7F"/>
                </a:gs>
                <a:gs pos="54000">
                  <a:srgbClr val="F2F2F2"/>
                </a:gs>
                <a:gs pos="100000">
                  <a:srgbClr val="7F7F7F"/>
                </a:gs>
              </a:gsLst>
              <a:lin ang="0"/>
            </a:gradFill>
            <a:ln w="9525" cap="flat" cmpd="sng">
              <a:solidFill>
                <a:srgbClr val="7F7F7F"/>
              </a:solidFill>
              <a:prstDash val="solid"/>
              <a:round/>
              <a:headEnd/>
              <a:tailEnd/>
            </a:ln>
            <a:effectLst>
              <a:outerShdw blurRad="40000" dist="23000" dir="5400000" rotWithShape="0">
                <a:srgbClr val="000000">
                  <a:alpha val="34999"/>
                </a:srgbClr>
              </a:outerShdw>
            </a:effectLst>
          </p:spPr>
          <p:txBody>
            <a:bodyPr anchor="ctr"/>
            <a:lstStyle/>
            <a:p>
              <a:pPr defTabSz="457200" fontAlgn="base">
                <a:spcBef>
                  <a:spcPct val="0"/>
                </a:spcBef>
                <a:spcAft>
                  <a:spcPct val="0"/>
                </a:spcAft>
                <a:defRPr/>
              </a:pPr>
              <a:endParaRPr lang="tr-TR" sz="1600">
                <a:solidFill>
                  <a:prstClr val="black"/>
                </a:solidFill>
                <a:ea typeface="MS PGothic" pitchFamily="34" charset="-128"/>
              </a:endParaRPr>
            </a:p>
          </p:txBody>
        </p:sp>
        <p:sp>
          <p:nvSpPr>
            <p:cNvPr id="182" name="Trapezoid 181"/>
            <p:cNvSpPr>
              <a:spLocks/>
            </p:cNvSpPr>
            <p:nvPr/>
          </p:nvSpPr>
          <p:spPr bwMode="auto">
            <a:xfrm rot="10800000">
              <a:off x="7273923" y="4498146"/>
              <a:ext cx="381193" cy="761590"/>
            </a:xfrm>
            <a:custGeom>
              <a:avLst/>
              <a:gdLst>
                <a:gd name="T0" fmla="*/ 0 w 381193"/>
                <a:gd name="T1" fmla="*/ 761936 h 761936"/>
                <a:gd name="T2" fmla="*/ 158832 w 381193"/>
                <a:gd name="T3" fmla="*/ 0 h 761936"/>
                <a:gd name="T4" fmla="*/ 222361 w 381193"/>
                <a:gd name="T5" fmla="*/ 0 h 761936"/>
                <a:gd name="T6" fmla="*/ 381193 w 381193"/>
                <a:gd name="T7" fmla="*/ 761936 h 761936"/>
                <a:gd name="T8" fmla="*/ 0 w 381193"/>
                <a:gd name="T9" fmla="*/ 761936 h 7619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81193" h="761936">
                  <a:moveTo>
                    <a:pt x="0" y="761936"/>
                  </a:moveTo>
                  <a:lnTo>
                    <a:pt x="158832" y="0"/>
                  </a:lnTo>
                  <a:lnTo>
                    <a:pt x="222361" y="0"/>
                  </a:lnTo>
                  <a:lnTo>
                    <a:pt x="381193" y="761936"/>
                  </a:lnTo>
                  <a:lnTo>
                    <a:pt x="0" y="761936"/>
                  </a:lnTo>
                  <a:close/>
                </a:path>
              </a:pathLst>
            </a:custGeom>
            <a:gradFill rotWithShape="1">
              <a:gsLst>
                <a:gs pos="0">
                  <a:srgbClr val="0D0D0D"/>
                </a:gs>
                <a:gs pos="48000">
                  <a:srgbClr val="404040"/>
                </a:gs>
                <a:gs pos="100000">
                  <a:srgbClr val="000000"/>
                </a:gs>
              </a:gsLst>
              <a:lin ang="0"/>
            </a:gradFill>
            <a:ln>
              <a:noFill/>
            </a:ln>
            <a:effectLst>
              <a:outerShdw blurRad="40000" dist="23000" dir="5400000" rotWithShape="0">
                <a:srgbClr val="000000">
                  <a:alpha val="34999"/>
                </a:srgbClr>
              </a:outerShdw>
            </a:effectLst>
            <a:extLst>
              <a:ext uri="{91240B29-F687-4F45-9708-019B960494DF}">
                <a14:hiddenLine xmlns:a14="http://schemas.microsoft.com/office/drawing/2010/main" w="9525" cap="flat" cmpd="sng">
                  <a:solidFill>
                    <a:srgbClr val="000000"/>
                  </a:solidFill>
                  <a:prstDash val="solid"/>
                  <a:round/>
                  <a:headEnd/>
                  <a:tailEnd/>
                </a14:hiddenLine>
              </a:ext>
            </a:extLst>
          </p:spPr>
          <p:txBody>
            <a:bodyPr anchor="ctr"/>
            <a:lstStyle/>
            <a:p>
              <a:pPr defTabSz="457200" fontAlgn="base">
                <a:spcBef>
                  <a:spcPct val="0"/>
                </a:spcBef>
                <a:spcAft>
                  <a:spcPct val="0"/>
                </a:spcAft>
                <a:defRPr/>
              </a:pPr>
              <a:endParaRPr lang="tr-TR" sz="1600">
                <a:solidFill>
                  <a:prstClr val="black"/>
                </a:solidFill>
                <a:ea typeface="MS PGothic" pitchFamily="34" charset="-128"/>
              </a:endParaRPr>
            </a:p>
          </p:txBody>
        </p:sp>
        <p:cxnSp>
          <p:nvCxnSpPr>
            <p:cNvPr id="183" name="Straight Connector 182"/>
            <p:cNvCxnSpPr/>
            <p:nvPr/>
          </p:nvCxnSpPr>
          <p:spPr>
            <a:xfrm>
              <a:off x="7267624" y="1627248"/>
              <a:ext cx="381193" cy="1614"/>
            </a:xfrm>
            <a:prstGeom prst="line">
              <a:avLst/>
            </a:prstGeom>
            <a:ln>
              <a:solidFill>
                <a:schemeClr val="tx1">
                  <a:lumMod val="95000"/>
                  <a:lumOff val="5000"/>
                </a:schemeClr>
              </a:solidFill>
            </a:ln>
            <a:effectLst/>
          </p:spPr>
          <p:style>
            <a:lnRef idx="2">
              <a:schemeClr val="accent1"/>
            </a:lnRef>
            <a:fillRef idx="0">
              <a:schemeClr val="accent1"/>
            </a:fillRef>
            <a:effectRef idx="1">
              <a:schemeClr val="accent1"/>
            </a:effectRef>
            <a:fontRef idx="minor">
              <a:schemeClr val="tx1"/>
            </a:fontRef>
          </p:style>
        </p:cxnSp>
        <p:sp>
          <p:nvSpPr>
            <p:cNvPr id="184" name="Left Bracket 183"/>
            <p:cNvSpPr>
              <a:spLocks/>
            </p:cNvSpPr>
            <p:nvPr/>
          </p:nvSpPr>
          <p:spPr bwMode="auto">
            <a:xfrm>
              <a:off x="7181917" y="1625856"/>
              <a:ext cx="84181" cy="913262"/>
            </a:xfrm>
            <a:prstGeom prst="leftBracket">
              <a:avLst>
                <a:gd name="adj" fmla="val 8333"/>
              </a:avLst>
            </a:prstGeom>
            <a:noFill/>
            <a:ln w="25400">
              <a:solidFill>
                <a:schemeClr val="tx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solidFill>
                    <a:srgbClr val="FFFFFF"/>
                  </a:solidFill>
                </a14:hiddenFill>
              </a:ext>
            </a:extLst>
          </p:spPr>
          <p:txBody>
            <a:bodyPr anchor="ctr"/>
            <a:lstStyle/>
            <a:p>
              <a:pPr algn="ctr" defTabSz="457200" fontAlgn="base">
                <a:spcBef>
                  <a:spcPct val="0"/>
                </a:spcBef>
                <a:spcAft>
                  <a:spcPct val="0"/>
                </a:spcAft>
                <a:defRPr/>
              </a:pPr>
              <a:endParaRPr lang="en-US" sz="1600">
                <a:solidFill>
                  <a:prstClr val="black"/>
                </a:solidFill>
                <a:ea typeface="ＭＳ Ｐゴシック" charset="0"/>
                <a:cs typeface="ＭＳ Ｐゴシック" charset="0"/>
              </a:endParaRPr>
            </a:p>
          </p:txBody>
        </p:sp>
        <p:sp>
          <p:nvSpPr>
            <p:cNvPr id="185" name="Oval 184"/>
            <p:cNvSpPr/>
            <p:nvPr/>
          </p:nvSpPr>
          <p:spPr>
            <a:xfrm>
              <a:off x="7147940" y="2477235"/>
              <a:ext cx="120598" cy="120599"/>
            </a:xfrm>
            <a:prstGeom prst="ellipse">
              <a:avLst/>
            </a:prstGeom>
            <a:gradFill flip="none" rotWithShape="1">
              <a:gsLst>
                <a:gs pos="100000">
                  <a:schemeClr val="tx1">
                    <a:lumMod val="95000"/>
                    <a:lumOff val="5000"/>
                  </a:schemeClr>
                </a:gs>
                <a:gs pos="0">
                  <a:schemeClr val="tx1">
                    <a:lumMod val="85000"/>
                    <a:lumOff val="15000"/>
                  </a:schemeClr>
                </a:gs>
              </a:gsLst>
              <a:path path="circle">
                <a:fillToRect l="50000" t="50000" r="50000" b="50000"/>
              </a:path>
              <a:tileRect/>
            </a:gradFill>
            <a:ln>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lvl1pPr>
                <a:defRPr>
                  <a:solidFill>
                    <a:schemeClr val="tx1"/>
                  </a:solidFill>
                  <a:latin typeface="Calibri" charset="0"/>
                  <a:ea typeface="ＭＳ Ｐゴシック" charset="0"/>
                  <a:cs typeface="ＭＳ Ｐゴシック" charset="0"/>
                </a:defRPr>
              </a:lvl1pPr>
              <a:lvl2pPr marL="37931725" indent="-37474525">
                <a:defRPr>
                  <a:solidFill>
                    <a:schemeClr val="tx1"/>
                  </a:solidFill>
                  <a:latin typeface="Calibri" charset="0"/>
                  <a:ea typeface="ＭＳ Ｐゴシック" charset="0"/>
                </a:defRPr>
              </a:lvl2pPr>
              <a:lvl3pPr>
                <a:defRPr>
                  <a:solidFill>
                    <a:schemeClr val="tx1"/>
                  </a:solidFill>
                  <a:latin typeface="Calibri" charset="0"/>
                  <a:ea typeface="ＭＳ Ｐゴシック" charset="0"/>
                </a:defRPr>
              </a:lvl3pPr>
              <a:lvl4pPr>
                <a:defRPr>
                  <a:solidFill>
                    <a:schemeClr val="tx1"/>
                  </a:solidFill>
                  <a:latin typeface="Calibri" charset="0"/>
                  <a:ea typeface="ＭＳ Ｐゴシック" charset="0"/>
                </a:defRPr>
              </a:lvl4pPr>
              <a:lvl5pPr>
                <a:defRPr>
                  <a:solidFill>
                    <a:schemeClr val="tx1"/>
                  </a:solidFill>
                  <a:latin typeface="Calibri" charset="0"/>
                  <a:ea typeface="ＭＳ Ｐゴシック" charset="0"/>
                </a:defRPr>
              </a:lvl5pPr>
              <a:lvl6pPr marL="457200" fontAlgn="base">
                <a:spcBef>
                  <a:spcPct val="0"/>
                </a:spcBef>
                <a:spcAft>
                  <a:spcPct val="0"/>
                </a:spcAft>
                <a:defRPr>
                  <a:solidFill>
                    <a:schemeClr val="tx1"/>
                  </a:solidFill>
                  <a:latin typeface="Calibri" charset="0"/>
                  <a:ea typeface="ＭＳ Ｐゴシック" charset="0"/>
                </a:defRPr>
              </a:lvl6pPr>
              <a:lvl7pPr marL="914400" fontAlgn="base">
                <a:spcBef>
                  <a:spcPct val="0"/>
                </a:spcBef>
                <a:spcAft>
                  <a:spcPct val="0"/>
                </a:spcAft>
                <a:defRPr>
                  <a:solidFill>
                    <a:schemeClr val="tx1"/>
                  </a:solidFill>
                  <a:latin typeface="Calibri" charset="0"/>
                  <a:ea typeface="ＭＳ Ｐゴシック" charset="0"/>
                </a:defRPr>
              </a:lvl7pPr>
              <a:lvl8pPr marL="1371600" fontAlgn="base">
                <a:spcBef>
                  <a:spcPct val="0"/>
                </a:spcBef>
                <a:spcAft>
                  <a:spcPct val="0"/>
                </a:spcAft>
                <a:defRPr>
                  <a:solidFill>
                    <a:schemeClr val="tx1"/>
                  </a:solidFill>
                  <a:latin typeface="Calibri" charset="0"/>
                  <a:ea typeface="ＭＳ Ｐゴシック" charset="0"/>
                </a:defRPr>
              </a:lvl8pPr>
              <a:lvl9pPr marL="1828800" fontAlgn="base">
                <a:spcBef>
                  <a:spcPct val="0"/>
                </a:spcBef>
                <a:spcAft>
                  <a:spcPct val="0"/>
                </a:spcAft>
                <a:defRPr>
                  <a:solidFill>
                    <a:schemeClr val="tx1"/>
                  </a:solidFill>
                  <a:latin typeface="Calibri" charset="0"/>
                  <a:ea typeface="ＭＳ Ｐゴシック" charset="0"/>
                </a:defRPr>
              </a:lvl9pPr>
            </a:lstStyle>
            <a:p>
              <a:pPr algn="ctr" defTabSz="457200" fontAlgn="base">
                <a:spcBef>
                  <a:spcPct val="0"/>
                </a:spcBef>
                <a:spcAft>
                  <a:spcPct val="0"/>
                </a:spcAft>
                <a:defRPr/>
              </a:pPr>
              <a:endParaRPr lang="en-US" sz="1600" smtClean="0">
                <a:solidFill>
                  <a:srgbClr val="FFFFFF"/>
                </a:solidFill>
              </a:endParaRPr>
            </a:p>
          </p:txBody>
        </p:sp>
      </p:grpSp>
      <p:cxnSp>
        <p:nvCxnSpPr>
          <p:cNvPr id="229" name="Straight Connector 225"/>
          <p:cNvCxnSpPr>
            <a:cxnSpLocks noChangeShapeType="1"/>
          </p:cNvCxnSpPr>
          <p:nvPr/>
        </p:nvCxnSpPr>
        <p:spPr bwMode="auto">
          <a:xfrm flipH="1">
            <a:off x="4833938" y="1141413"/>
            <a:ext cx="6350" cy="3446462"/>
          </a:xfrm>
          <a:prstGeom prst="line">
            <a:avLst/>
          </a:prstGeom>
          <a:noFill/>
          <a:ln w="25400">
            <a:solidFill>
              <a:schemeClr val="accent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245" name="Round Same Side Corner Rectangle 183"/>
          <p:cNvSpPr/>
          <p:nvPr/>
        </p:nvSpPr>
        <p:spPr bwMode="auto">
          <a:xfrm>
            <a:off x="8447088" y="920750"/>
            <a:ext cx="204787" cy="217488"/>
          </a:xfrm>
          <a:prstGeom prst="round2SameRect">
            <a:avLst/>
          </a:prstGeom>
          <a:gradFill rotWithShape="1">
            <a:gsLst>
              <a:gs pos="0">
                <a:schemeClr val="tx2">
                  <a:lumMod val="60000"/>
                  <a:lumOff val="40000"/>
                </a:schemeClr>
              </a:gs>
              <a:gs pos="100000">
                <a:schemeClr val="tx2">
                  <a:lumMod val="40000"/>
                  <a:lumOff val="60000"/>
                </a:schemeClr>
              </a:gs>
            </a:gsLst>
            <a:lin ang="16200000" scaled="0"/>
          </a:gradFill>
          <a:ln w="9525" cap="flat" cmpd="sng" algn="ctr">
            <a:noFill/>
            <a:prstDash val="solid"/>
          </a:ln>
          <a:effectLst/>
        </p:spPr>
        <p:txBody>
          <a:bodyPr anchor="ctr"/>
          <a:lstStyle/>
          <a:p>
            <a:pPr algn="ctr" fontAlgn="base">
              <a:spcBef>
                <a:spcPct val="0"/>
              </a:spcBef>
              <a:spcAft>
                <a:spcPct val="0"/>
              </a:spcAft>
              <a:defRPr/>
            </a:pPr>
            <a:endParaRPr lang="en-US" sz="1600">
              <a:solidFill>
                <a:srgbClr val="FFFFFF"/>
              </a:solidFill>
              <a:ea typeface="ＭＳ Ｐゴシック" charset="0"/>
              <a:cs typeface="ＭＳ Ｐゴシック" charset="0"/>
            </a:endParaRPr>
          </a:p>
        </p:txBody>
      </p:sp>
      <p:sp>
        <p:nvSpPr>
          <p:cNvPr id="246" name="Round Same Side Corner Rectangle 183"/>
          <p:cNvSpPr/>
          <p:nvPr/>
        </p:nvSpPr>
        <p:spPr bwMode="auto">
          <a:xfrm>
            <a:off x="8685213" y="922338"/>
            <a:ext cx="203200" cy="217487"/>
          </a:xfrm>
          <a:prstGeom prst="round2SameRect">
            <a:avLst/>
          </a:prstGeom>
          <a:gradFill rotWithShape="1">
            <a:gsLst>
              <a:gs pos="0">
                <a:schemeClr val="tx2">
                  <a:lumMod val="60000"/>
                  <a:lumOff val="40000"/>
                </a:schemeClr>
              </a:gs>
              <a:gs pos="100000">
                <a:schemeClr val="tx2">
                  <a:lumMod val="40000"/>
                  <a:lumOff val="60000"/>
                </a:schemeClr>
              </a:gs>
            </a:gsLst>
            <a:lin ang="16200000" scaled="0"/>
          </a:gradFill>
          <a:ln w="9525" cap="flat" cmpd="sng" algn="ctr">
            <a:noFill/>
            <a:prstDash val="solid"/>
          </a:ln>
          <a:effectLst/>
        </p:spPr>
        <p:txBody>
          <a:bodyPr anchor="ctr"/>
          <a:lstStyle/>
          <a:p>
            <a:pPr algn="ctr" fontAlgn="base">
              <a:spcBef>
                <a:spcPct val="0"/>
              </a:spcBef>
              <a:spcAft>
                <a:spcPct val="0"/>
              </a:spcAft>
              <a:defRPr/>
            </a:pPr>
            <a:endParaRPr lang="en-US" sz="1600">
              <a:solidFill>
                <a:srgbClr val="FFFFFF"/>
              </a:solidFill>
              <a:ea typeface="ＭＳ Ｐゴシック" charset="0"/>
              <a:cs typeface="ＭＳ Ｐゴシック" charset="0"/>
            </a:endParaRPr>
          </a:p>
        </p:txBody>
      </p:sp>
      <p:sp>
        <p:nvSpPr>
          <p:cNvPr id="14347" name="TextBox 229"/>
          <p:cNvSpPr txBox="1">
            <a:spLocks noChangeArrowheads="1"/>
          </p:cNvSpPr>
          <p:nvPr/>
        </p:nvSpPr>
        <p:spPr bwMode="auto">
          <a:xfrm>
            <a:off x="4609703" y="1190625"/>
            <a:ext cx="1114425"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algn="ctr" defTabSz="457200" eaLnBrk="1" fontAlgn="base" hangingPunct="1">
              <a:spcBef>
                <a:spcPct val="0"/>
              </a:spcBef>
              <a:spcAft>
                <a:spcPct val="0"/>
              </a:spcAft>
            </a:pPr>
            <a:r>
              <a:rPr lang="tr-TR" sz="1600" b="1" dirty="0" smtClean="0">
                <a:solidFill>
                  <a:srgbClr val="558ED5"/>
                </a:solidFill>
              </a:rPr>
              <a:t>Kağıt</a:t>
            </a:r>
            <a:endParaRPr lang="en-US" sz="1600" b="1" dirty="0" smtClean="0">
              <a:solidFill>
                <a:srgbClr val="558ED5"/>
              </a:solidFill>
            </a:endParaRPr>
          </a:p>
        </p:txBody>
      </p:sp>
      <p:sp>
        <p:nvSpPr>
          <p:cNvPr id="14349" name="TextBox 229"/>
          <p:cNvSpPr txBox="1">
            <a:spLocks noChangeArrowheads="1"/>
          </p:cNvSpPr>
          <p:nvPr/>
        </p:nvSpPr>
        <p:spPr bwMode="auto">
          <a:xfrm>
            <a:off x="6971506" y="1190625"/>
            <a:ext cx="1114425"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algn="ctr" defTabSz="457200" eaLnBrk="1" fontAlgn="base" hangingPunct="1">
              <a:spcBef>
                <a:spcPct val="0"/>
              </a:spcBef>
              <a:spcAft>
                <a:spcPct val="0"/>
              </a:spcAft>
            </a:pPr>
            <a:r>
              <a:rPr lang="tr-TR" sz="1600" b="1" dirty="0" smtClean="0">
                <a:solidFill>
                  <a:srgbClr val="558ED5"/>
                </a:solidFill>
              </a:rPr>
              <a:t>Elektronik</a:t>
            </a:r>
            <a:endParaRPr lang="en-US" sz="1600" b="1" dirty="0" smtClean="0">
              <a:solidFill>
                <a:srgbClr val="558ED5"/>
              </a:solidFill>
            </a:endParaRPr>
          </a:p>
        </p:txBody>
      </p:sp>
      <p:sp>
        <p:nvSpPr>
          <p:cNvPr id="251" name="TextBox 54"/>
          <p:cNvSpPr txBox="1">
            <a:spLocks noChangeArrowheads="1"/>
          </p:cNvSpPr>
          <p:nvPr/>
        </p:nvSpPr>
        <p:spPr bwMode="auto">
          <a:xfrm>
            <a:off x="1271764" y="251507"/>
            <a:ext cx="6600473" cy="477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itchFamily="34" charset="0"/>
                <a:ea typeface="MS PGothic" pitchFamily="34" charset="-128"/>
              </a:defRPr>
            </a:lvl1pPr>
            <a:lvl2pPr marL="742950" indent="-285750">
              <a:defRPr>
                <a:solidFill>
                  <a:schemeClr val="tx1"/>
                </a:solidFill>
                <a:latin typeface="Calibri" pitchFamily="34" charset="0"/>
                <a:ea typeface="MS PGothic" pitchFamily="34" charset="-128"/>
              </a:defRPr>
            </a:lvl2pPr>
            <a:lvl3pPr marL="1143000" indent="-228600">
              <a:defRPr>
                <a:solidFill>
                  <a:schemeClr val="tx1"/>
                </a:solidFill>
                <a:latin typeface="Calibri" pitchFamily="34" charset="0"/>
                <a:ea typeface="MS PGothic" pitchFamily="34" charset="-128"/>
              </a:defRPr>
            </a:lvl3pPr>
            <a:lvl4pPr marL="1600200" indent="-228600">
              <a:defRPr>
                <a:solidFill>
                  <a:schemeClr val="tx1"/>
                </a:solidFill>
                <a:latin typeface="Calibri" pitchFamily="34" charset="0"/>
                <a:ea typeface="MS PGothic" pitchFamily="34" charset="-128"/>
              </a:defRPr>
            </a:lvl4pPr>
            <a:lvl5pPr marL="2057400" indent="-228600">
              <a:defRPr>
                <a:solidFill>
                  <a:schemeClr val="tx1"/>
                </a:solidFill>
                <a:latin typeface="Calibri" pitchFamily="34" charset="0"/>
                <a:ea typeface="MS PGothic" pitchFamily="34" charset="-128"/>
              </a:defRPr>
            </a:lvl5pPr>
            <a:lvl6pPr marL="2514600" indent="-228600" defTabSz="457200" fontAlgn="base">
              <a:spcBef>
                <a:spcPct val="0"/>
              </a:spcBef>
              <a:spcAft>
                <a:spcPct val="0"/>
              </a:spcAft>
              <a:defRPr>
                <a:solidFill>
                  <a:schemeClr val="tx1"/>
                </a:solidFill>
                <a:latin typeface="Calibri" pitchFamily="34" charset="0"/>
                <a:ea typeface="MS PGothic" pitchFamily="34" charset="-128"/>
              </a:defRPr>
            </a:lvl6pPr>
            <a:lvl7pPr marL="2971800" indent="-228600" defTabSz="457200" fontAlgn="base">
              <a:spcBef>
                <a:spcPct val="0"/>
              </a:spcBef>
              <a:spcAft>
                <a:spcPct val="0"/>
              </a:spcAft>
              <a:defRPr>
                <a:solidFill>
                  <a:schemeClr val="tx1"/>
                </a:solidFill>
                <a:latin typeface="Calibri" pitchFamily="34" charset="0"/>
                <a:ea typeface="MS PGothic" pitchFamily="34" charset="-128"/>
              </a:defRPr>
            </a:lvl7pPr>
            <a:lvl8pPr marL="3429000" indent="-228600" defTabSz="457200" fontAlgn="base">
              <a:spcBef>
                <a:spcPct val="0"/>
              </a:spcBef>
              <a:spcAft>
                <a:spcPct val="0"/>
              </a:spcAft>
              <a:defRPr>
                <a:solidFill>
                  <a:schemeClr val="tx1"/>
                </a:solidFill>
                <a:latin typeface="Calibri" pitchFamily="34" charset="0"/>
                <a:ea typeface="MS PGothic" pitchFamily="34" charset="-128"/>
              </a:defRPr>
            </a:lvl8pPr>
            <a:lvl9pPr marL="3886200" indent="-228600" defTabSz="457200" fontAlgn="base">
              <a:spcBef>
                <a:spcPct val="0"/>
              </a:spcBef>
              <a:spcAft>
                <a:spcPct val="0"/>
              </a:spcAft>
              <a:defRPr>
                <a:solidFill>
                  <a:schemeClr val="tx1"/>
                </a:solidFill>
                <a:latin typeface="Calibri" pitchFamily="34" charset="0"/>
                <a:ea typeface="MS PGothic" pitchFamily="34" charset="-128"/>
              </a:defRPr>
            </a:lvl9pPr>
          </a:lstStyle>
          <a:p>
            <a:pPr algn="ctr" defTabSz="457200" fontAlgn="base">
              <a:spcBef>
                <a:spcPct val="0"/>
              </a:spcBef>
              <a:spcAft>
                <a:spcPct val="0"/>
              </a:spcAft>
              <a:defRPr/>
            </a:pPr>
            <a:r>
              <a:rPr lang="tr-TR" sz="2500" b="1" dirty="0" smtClean="0">
                <a:solidFill>
                  <a:schemeClr val="tx2">
                    <a:lumMod val="50000"/>
                  </a:schemeClr>
                </a:solidFill>
              </a:rPr>
              <a:t>FATURA </a:t>
            </a:r>
            <a:r>
              <a:rPr lang="tr-TR" sz="2500" b="1" u="sng" dirty="0" smtClean="0">
                <a:solidFill>
                  <a:schemeClr val="tx2">
                    <a:lumMod val="50000"/>
                  </a:schemeClr>
                </a:solidFill>
              </a:rPr>
              <a:t>GÖNDEREN</a:t>
            </a:r>
            <a:r>
              <a:rPr lang="tr-TR" sz="2500" b="1" dirty="0" smtClean="0">
                <a:solidFill>
                  <a:schemeClr val="tx2">
                    <a:lumMod val="50000"/>
                  </a:schemeClr>
                </a:solidFill>
              </a:rPr>
              <a:t>  İÇİN MALİYET AVANTAJI </a:t>
            </a:r>
            <a:endParaRPr lang="tr-TR" sz="2500" b="1" dirty="0">
              <a:solidFill>
                <a:schemeClr val="tx2">
                  <a:lumMod val="50000"/>
                </a:schemeClr>
              </a:solidFill>
            </a:endParaRPr>
          </a:p>
        </p:txBody>
      </p:sp>
      <p:sp>
        <p:nvSpPr>
          <p:cNvPr id="149" name="TextBox 229"/>
          <p:cNvSpPr txBox="1">
            <a:spLocks noChangeArrowheads="1"/>
          </p:cNvSpPr>
          <p:nvPr/>
        </p:nvSpPr>
        <p:spPr bwMode="auto">
          <a:xfrm>
            <a:off x="2213425" y="1567678"/>
            <a:ext cx="111369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algn="ctr" defTabSz="457200" eaLnBrk="1" fontAlgn="base" hangingPunct="1">
              <a:spcBef>
                <a:spcPct val="0"/>
              </a:spcBef>
              <a:spcAft>
                <a:spcPct val="0"/>
              </a:spcAft>
            </a:pPr>
            <a:r>
              <a:rPr lang="tr-TR" sz="1600" b="1" dirty="0" smtClean="0">
                <a:solidFill>
                  <a:srgbClr val="558ED5"/>
                </a:solidFill>
              </a:rPr>
              <a:t>Arşivleme </a:t>
            </a:r>
            <a:endParaRPr lang="en-US" sz="1600" b="1" dirty="0" smtClean="0">
              <a:solidFill>
                <a:srgbClr val="558ED5"/>
              </a:solidFill>
            </a:endParaRPr>
          </a:p>
        </p:txBody>
      </p:sp>
      <p:sp>
        <p:nvSpPr>
          <p:cNvPr id="151" name="TextBox 229"/>
          <p:cNvSpPr txBox="1">
            <a:spLocks noChangeArrowheads="1"/>
          </p:cNvSpPr>
          <p:nvPr/>
        </p:nvSpPr>
        <p:spPr bwMode="auto">
          <a:xfrm>
            <a:off x="1955328" y="1938604"/>
            <a:ext cx="287702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algn="ctr" defTabSz="457200" eaLnBrk="1" fontAlgn="base" hangingPunct="1">
              <a:spcBef>
                <a:spcPct val="0"/>
              </a:spcBef>
              <a:spcAft>
                <a:spcPct val="0"/>
              </a:spcAft>
            </a:pPr>
            <a:r>
              <a:rPr lang="tr-TR" sz="1600" b="1" dirty="0" smtClean="0">
                <a:solidFill>
                  <a:srgbClr val="558ED5"/>
                </a:solidFill>
              </a:rPr>
              <a:t>Havale  ve Nakit Yönetimi </a:t>
            </a:r>
            <a:endParaRPr lang="en-US" sz="1600" b="1" dirty="0" smtClean="0">
              <a:solidFill>
                <a:srgbClr val="558ED5"/>
              </a:solidFill>
            </a:endParaRPr>
          </a:p>
        </p:txBody>
      </p:sp>
      <p:sp>
        <p:nvSpPr>
          <p:cNvPr id="153" name="TextBox 229"/>
          <p:cNvSpPr txBox="1">
            <a:spLocks noChangeArrowheads="1"/>
          </p:cNvSpPr>
          <p:nvPr/>
        </p:nvSpPr>
        <p:spPr bwMode="auto">
          <a:xfrm>
            <a:off x="2227158" y="2348880"/>
            <a:ext cx="224845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defTabSz="457200" eaLnBrk="1" fontAlgn="base" hangingPunct="1">
              <a:spcBef>
                <a:spcPct val="0"/>
              </a:spcBef>
              <a:spcAft>
                <a:spcPct val="0"/>
              </a:spcAft>
            </a:pPr>
            <a:r>
              <a:rPr lang="tr-TR" sz="1600" b="1" dirty="0" smtClean="0">
                <a:solidFill>
                  <a:srgbClr val="558ED5"/>
                </a:solidFill>
              </a:rPr>
              <a:t>Ödeme Hatırlatma</a:t>
            </a:r>
            <a:endParaRPr lang="en-US" sz="1600" b="1" dirty="0" smtClean="0">
              <a:solidFill>
                <a:srgbClr val="558ED5"/>
              </a:solidFill>
            </a:endParaRPr>
          </a:p>
        </p:txBody>
      </p:sp>
      <p:sp>
        <p:nvSpPr>
          <p:cNvPr id="154" name="TextBox 229"/>
          <p:cNvSpPr txBox="1">
            <a:spLocks noChangeArrowheads="1"/>
          </p:cNvSpPr>
          <p:nvPr/>
        </p:nvSpPr>
        <p:spPr bwMode="auto">
          <a:xfrm>
            <a:off x="1981033" y="2772438"/>
            <a:ext cx="289385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algn="ctr" defTabSz="457200" eaLnBrk="1" fontAlgn="base" hangingPunct="1">
              <a:spcBef>
                <a:spcPct val="0"/>
              </a:spcBef>
              <a:spcAft>
                <a:spcPct val="0"/>
              </a:spcAft>
            </a:pPr>
            <a:r>
              <a:rPr lang="tr-TR" sz="1600" b="1" dirty="0" smtClean="0">
                <a:solidFill>
                  <a:srgbClr val="558ED5"/>
                </a:solidFill>
              </a:rPr>
              <a:t>Basım, zarflama, gönderim</a:t>
            </a:r>
            <a:endParaRPr lang="en-US" sz="1600" b="1" dirty="0" smtClean="0">
              <a:solidFill>
                <a:srgbClr val="558ED5"/>
              </a:solidFill>
            </a:endParaRPr>
          </a:p>
        </p:txBody>
      </p:sp>
      <p:sp>
        <p:nvSpPr>
          <p:cNvPr id="156" name="TextBox 229"/>
          <p:cNvSpPr txBox="1">
            <a:spLocks noChangeArrowheads="1"/>
          </p:cNvSpPr>
          <p:nvPr/>
        </p:nvSpPr>
        <p:spPr bwMode="auto">
          <a:xfrm>
            <a:off x="4761820" y="1567678"/>
            <a:ext cx="111369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algn="ctr" defTabSz="457200" eaLnBrk="1" fontAlgn="base" hangingPunct="1">
              <a:spcBef>
                <a:spcPct val="0"/>
              </a:spcBef>
              <a:spcAft>
                <a:spcPct val="0"/>
              </a:spcAft>
            </a:pPr>
            <a:r>
              <a:rPr lang="tr-TR" sz="1600" b="1" dirty="0" smtClean="0">
                <a:solidFill>
                  <a:schemeClr val="tx1">
                    <a:lumMod val="95000"/>
                    <a:lumOff val="5000"/>
                  </a:schemeClr>
                </a:solidFill>
              </a:rPr>
              <a:t>2,20 £ </a:t>
            </a:r>
            <a:endParaRPr lang="en-US" sz="1600" b="1" dirty="0" smtClean="0">
              <a:solidFill>
                <a:schemeClr val="tx1">
                  <a:lumMod val="95000"/>
                  <a:lumOff val="5000"/>
                </a:schemeClr>
              </a:solidFill>
            </a:endParaRPr>
          </a:p>
        </p:txBody>
      </p:sp>
      <p:sp>
        <p:nvSpPr>
          <p:cNvPr id="157" name="TextBox 229"/>
          <p:cNvSpPr txBox="1">
            <a:spLocks noChangeArrowheads="1"/>
          </p:cNvSpPr>
          <p:nvPr/>
        </p:nvSpPr>
        <p:spPr bwMode="auto">
          <a:xfrm>
            <a:off x="4996783" y="1938604"/>
            <a:ext cx="220402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defTabSz="457200" eaLnBrk="1" fontAlgn="base" hangingPunct="1">
              <a:spcBef>
                <a:spcPct val="0"/>
              </a:spcBef>
              <a:spcAft>
                <a:spcPct val="0"/>
              </a:spcAft>
            </a:pPr>
            <a:r>
              <a:rPr lang="tr-TR" sz="1600" b="1" dirty="0">
                <a:solidFill>
                  <a:schemeClr val="tx1">
                    <a:lumMod val="95000"/>
                    <a:lumOff val="5000"/>
                  </a:schemeClr>
                </a:solidFill>
              </a:rPr>
              <a:t>4</a:t>
            </a:r>
            <a:r>
              <a:rPr lang="tr-TR" sz="1600" b="1" dirty="0" smtClean="0">
                <a:solidFill>
                  <a:schemeClr val="tx1">
                    <a:lumMod val="95000"/>
                    <a:lumOff val="5000"/>
                  </a:schemeClr>
                </a:solidFill>
              </a:rPr>
              <a:t>,50 £</a:t>
            </a:r>
            <a:endParaRPr lang="en-US" sz="1600" b="1" dirty="0" smtClean="0">
              <a:solidFill>
                <a:schemeClr val="tx1">
                  <a:lumMod val="95000"/>
                  <a:lumOff val="5000"/>
                </a:schemeClr>
              </a:solidFill>
            </a:endParaRPr>
          </a:p>
        </p:txBody>
      </p:sp>
      <p:sp>
        <p:nvSpPr>
          <p:cNvPr id="158" name="TextBox 229"/>
          <p:cNvSpPr txBox="1">
            <a:spLocks noChangeArrowheads="1"/>
          </p:cNvSpPr>
          <p:nvPr/>
        </p:nvSpPr>
        <p:spPr bwMode="auto">
          <a:xfrm>
            <a:off x="4347126" y="2348880"/>
            <a:ext cx="200048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algn="ctr" defTabSz="457200" eaLnBrk="1" fontAlgn="base" hangingPunct="1">
              <a:spcBef>
                <a:spcPct val="0"/>
              </a:spcBef>
              <a:spcAft>
                <a:spcPct val="0"/>
              </a:spcAft>
            </a:pPr>
            <a:r>
              <a:rPr lang="tr-TR" sz="1600" b="1" dirty="0" smtClean="0">
                <a:solidFill>
                  <a:schemeClr val="tx1">
                    <a:lumMod val="95000"/>
                    <a:lumOff val="5000"/>
                  </a:schemeClr>
                </a:solidFill>
              </a:rPr>
              <a:t>0,50 £</a:t>
            </a:r>
            <a:endParaRPr lang="en-US" sz="1600" b="1" dirty="0" smtClean="0">
              <a:solidFill>
                <a:schemeClr val="tx1">
                  <a:lumMod val="95000"/>
                  <a:lumOff val="5000"/>
                </a:schemeClr>
              </a:solidFill>
            </a:endParaRPr>
          </a:p>
        </p:txBody>
      </p:sp>
      <p:sp>
        <p:nvSpPr>
          <p:cNvPr id="159" name="TextBox 229"/>
          <p:cNvSpPr txBox="1">
            <a:spLocks noChangeArrowheads="1"/>
          </p:cNvSpPr>
          <p:nvPr/>
        </p:nvSpPr>
        <p:spPr bwMode="auto">
          <a:xfrm>
            <a:off x="4249935" y="2791488"/>
            <a:ext cx="223362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algn="ctr" defTabSz="457200" eaLnBrk="1" fontAlgn="base" hangingPunct="1">
              <a:spcBef>
                <a:spcPct val="0"/>
              </a:spcBef>
              <a:spcAft>
                <a:spcPct val="0"/>
              </a:spcAft>
            </a:pPr>
            <a:r>
              <a:rPr lang="tr-TR" sz="1600" b="1" dirty="0" smtClean="0">
                <a:solidFill>
                  <a:schemeClr val="tx1">
                    <a:lumMod val="95000"/>
                    <a:lumOff val="5000"/>
                  </a:schemeClr>
                </a:solidFill>
              </a:rPr>
              <a:t>3,90 £</a:t>
            </a:r>
            <a:endParaRPr lang="en-US" sz="1600" b="1" dirty="0" smtClean="0">
              <a:solidFill>
                <a:schemeClr val="tx1">
                  <a:lumMod val="95000"/>
                  <a:lumOff val="5000"/>
                </a:schemeClr>
              </a:solidFill>
            </a:endParaRPr>
          </a:p>
        </p:txBody>
      </p:sp>
      <p:sp>
        <p:nvSpPr>
          <p:cNvPr id="160" name="TextBox 229"/>
          <p:cNvSpPr txBox="1">
            <a:spLocks noChangeArrowheads="1"/>
          </p:cNvSpPr>
          <p:nvPr/>
        </p:nvSpPr>
        <p:spPr bwMode="auto">
          <a:xfrm>
            <a:off x="1978337" y="3429000"/>
            <a:ext cx="223362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algn="ctr" defTabSz="457200" eaLnBrk="1" fontAlgn="base" hangingPunct="1">
              <a:spcBef>
                <a:spcPct val="0"/>
              </a:spcBef>
              <a:spcAft>
                <a:spcPct val="0"/>
              </a:spcAft>
            </a:pPr>
            <a:r>
              <a:rPr lang="tr-TR" sz="1600" b="1" dirty="0" smtClean="0">
                <a:solidFill>
                  <a:srgbClr val="558ED5"/>
                </a:solidFill>
              </a:rPr>
              <a:t>TOPLAM MALİYET</a:t>
            </a:r>
            <a:endParaRPr lang="en-US" sz="1600" b="1" dirty="0" smtClean="0">
              <a:solidFill>
                <a:srgbClr val="558ED5"/>
              </a:solidFill>
            </a:endParaRPr>
          </a:p>
        </p:txBody>
      </p:sp>
      <p:sp>
        <p:nvSpPr>
          <p:cNvPr id="161" name="TextBox 229"/>
          <p:cNvSpPr txBox="1">
            <a:spLocks noChangeArrowheads="1"/>
          </p:cNvSpPr>
          <p:nvPr/>
        </p:nvSpPr>
        <p:spPr bwMode="auto">
          <a:xfrm>
            <a:off x="4222846" y="3490269"/>
            <a:ext cx="223362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algn="ctr" defTabSz="457200" eaLnBrk="1" fontAlgn="base" hangingPunct="1">
              <a:spcBef>
                <a:spcPct val="0"/>
              </a:spcBef>
              <a:spcAft>
                <a:spcPct val="0"/>
              </a:spcAft>
            </a:pPr>
            <a:r>
              <a:rPr lang="tr-TR" sz="1600" b="1" dirty="0" smtClean="0">
                <a:solidFill>
                  <a:schemeClr val="tx1">
                    <a:lumMod val="95000"/>
                    <a:lumOff val="5000"/>
                  </a:schemeClr>
                </a:solidFill>
              </a:rPr>
              <a:t>11,10 £</a:t>
            </a:r>
            <a:endParaRPr lang="en-US" sz="1600" b="1" dirty="0" smtClean="0">
              <a:solidFill>
                <a:schemeClr val="tx1">
                  <a:lumMod val="95000"/>
                  <a:lumOff val="5000"/>
                </a:schemeClr>
              </a:solidFill>
            </a:endParaRPr>
          </a:p>
        </p:txBody>
      </p:sp>
      <p:sp>
        <p:nvSpPr>
          <p:cNvPr id="162" name="TextBox 229"/>
          <p:cNvSpPr txBox="1">
            <a:spLocks noChangeArrowheads="1"/>
          </p:cNvSpPr>
          <p:nvPr/>
        </p:nvSpPr>
        <p:spPr bwMode="auto">
          <a:xfrm>
            <a:off x="6832823" y="1556792"/>
            <a:ext cx="111369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algn="ctr" defTabSz="457200" eaLnBrk="1" fontAlgn="base" hangingPunct="1">
              <a:spcBef>
                <a:spcPct val="0"/>
              </a:spcBef>
              <a:spcAft>
                <a:spcPct val="0"/>
              </a:spcAft>
            </a:pPr>
            <a:r>
              <a:rPr lang="tr-TR" sz="1600" b="1" dirty="0" smtClean="0">
                <a:solidFill>
                  <a:schemeClr val="tx1">
                    <a:lumMod val="95000"/>
                    <a:lumOff val="5000"/>
                  </a:schemeClr>
                </a:solidFill>
              </a:rPr>
              <a:t>0,80 £ </a:t>
            </a:r>
            <a:endParaRPr lang="en-US" sz="1600" b="1" dirty="0" smtClean="0">
              <a:solidFill>
                <a:schemeClr val="tx1">
                  <a:lumMod val="95000"/>
                  <a:lumOff val="5000"/>
                </a:schemeClr>
              </a:solidFill>
            </a:endParaRPr>
          </a:p>
        </p:txBody>
      </p:sp>
      <p:sp>
        <p:nvSpPr>
          <p:cNvPr id="165" name="TextBox 229"/>
          <p:cNvSpPr txBox="1">
            <a:spLocks noChangeArrowheads="1"/>
          </p:cNvSpPr>
          <p:nvPr/>
        </p:nvSpPr>
        <p:spPr bwMode="auto">
          <a:xfrm>
            <a:off x="7048847" y="1927718"/>
            <a:ext cx="220402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defTabSz="457200" eaLnBrk="1" fontAlgn="base" hangingPunct="1">
              <a:spcBef>
                <a:spcPct val="0"/>
              </a:spcBef>
              <a:spcAft>
                <a:spcPct val="0"/>
              </a:spcAft>
            </a:pPr>
            <a:r>
              <a:rPr lang="tr-TR" sz="1600" b="1" dirty="0" smtClean="0">
                <a:solidFill>
                  <a:schemeClr val="tx1">
                    <a:lumMod val="95000"/>
                    <a:lumOff val="5000"/>
                  </a:schemeClr>
                </a:solidFill>
              </a:rPr>
              <a:t>3,00 £</a:t>
            </a:r>
            <a:endParaRPr lang="en-US" sz="1600" b="1" dirty="0" smtClean="0">
              <a:solidFill>
                <a:schemeClr val="tx1">
                  <a:lumMod val="95000"/>
                  <a:lumOff val="5000"/>
                </a:schemeClr>
              </a:solidFill>
            </a:endParaRPr>
          </a:p>
        </p:txBody>
      </p:sp>
      <p:sp>
        <p:nvSpPr>
          <p:cNvPr id="166" name="TextBox 229"/>
          <p:cNvSpPr txBox="1">
            <a:spLocks noChangeArrowheads="1"/>
          </p:cNvSpPr>
          <p:nvPr/>
        </p:nvSpPr>
        <p:spPr bwMode="auto">
          <a:xfrm>
            <a:off x="6414947" y="2337994"/>
            <a:ext cx="200048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algn="ctr" defTabSz="457200" eaLnBrk="1" fontAlgn="base" hangingPunct="1">
              <a:spcBef>
                <a:spcPct val="0"/>
              </a:spcBef>
              <a:spcAft>
                <a:spcPct val="0"/>
              </a:spcAft>
            </a:pPr>
            <a:r>
              <a:rPr lang="tr-TR" sz="1600" b="1" dirty="0" smtClean="0">
                <a:solidFill>
                  <a:schemeClr val="tx1">
                    <a:lumMod val="95000"/>
                    <a:lumOff val="5000"/>
                  </a:schemeClr>
                </a:solidFill>
              </a:rPr>
              <a:t>0,40 £</a:t>
            </a:r>
            <a:endParaRPr lang="en-US" sz="1600" b="1" dirty="0" smtClean="0">
              <a:solidFill>
                <a:schemeClr val="tx1">
                  <a:lumMod val="95000"/>
                  <a:lumOff val="5000"/>
                </a:schemeClr>
              </a:solidFill>
            </a:endParaRPr>
          </a:p>
        </p:txBody>
      </p:sp>
      <p:sp>
        <p:nvSpPr>
          <p:cNvPr id="169" name="TextBox 229"/>
          <p:cNvSpPr txBox="1">
            <a:spLocks noChangeArrowheads="1"/>
          </p:cNvSpPr>
          <p:nvPr/>
        </p:nvSpPr>
        <p:spPr bwMode="auto">
          <a:xfrm>
            <a:off x="6175226" y="2780602"/>
            <a:ext cx="223362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algn="ctr" defTabSz="457200" eaLnBrk="1" fontAlgn="base" hangingPunct="1">
              <a:spcBef>
                <a:spcPct val="0"/>
              </a:spcBef>
              <a:spcAft>
                <a:spcPct val="0"/>
              </a:spcAft>
            </a:pPr>
            <a:r>
              <a:rPr lang="tr-TR" sz="1600" b="1" dirty="0" smtClean="0">
                <a:solidFill>
                  <a:schemeClr val="tx1">
                    <a:lumMod val="95000"/>
                    <a:lumOff val="5000"/>
                  </a:schemeClr>
                </a:solidFill>
              </a:rPr>
              <a:t>0 £</a:t>
            </a:r>
            <a:endParaRPr lang="en-US" sz="1600" b="1" dirty="0" smtClean="0">
              <a:solidFill>
                <a:schemeClr val="tx1">
                  <a:lumMod val="95000"/>
                  <a:lumOff val="5000"/>
                </a:schemeClr>
              </a:solidFill>
            </a:endParaRPr>
          </a:p>
        </p:txBody>
      </p:sp>
      <p:sp>
        <p:nvSpPr>
          <p:cNvPr id="170" name="TextBox 229"/>
          <p:cNvSpPr txBox="1">
            <a:spLocks noChangeArrowheads="1"/>
          </p:cNvSpPr>
          <p:nvPr/>
        </p:nvSpPr>
        <p:spPr bwMode="auto">
          <a:xfrm>
            <a:off x="6300192" y="3479383"/>
            <a:ext cx="223362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algn="ctr" defTabSz="457200" eaLnBrk="1" fontAlgn="base" hangingPunct="1">
              <a:spcBef>
                <a:spcPct val="0"/>
              </a:spcBef>
              <a:spcAft>
                <a:spcPct val="0"/>
              </a:spcAft>
            </a:pPr>
            <a:r>
              <a:rPr lang="tr-TR" sz="1600" b="1" dirty="0" smtClean="0">
                <a:solidFill>
                  <a:schemeClr val="tx1">
                    <a:lumMod val="95000"/>
                    <a:lumOff val="5000"/>
                  </a:schemeClr>
                </a:solidFill>
              </a:rPr>
              <a:t>4,70 £</a:t>
            </a:r>
            <a:endParaRPr lang="en-US" sz="1600" b="1" dirty="0" smtClean="0">
              <a:solidFill>
                <a:schemeClr val="tx1">
                  <a:lumMod val="95000"/>
                  <a:lumOff val="5000"/>
                </a:schemeClr>
              </a:solidFill>
            </a:endParaRPr>
          </a:p>
        </p:txBody>
      </p:sp>
      <p:sp>
        <p:nvSpPr>
          <p:cNvPr id="127" name="Ellipse 5"/>
          <p:cNvSpPr/>
          <p:nvPr/>
        </p:nvSpPr>
        <p:spPr>
          <a:xfrm>
            <a:off x="4720028" y="3429000"/>
            <a:ext cx="1265237" cy="395288"/>
          </a:xfrm>
          <a:prstGeom prst="ellipse">
            <a:avLst/>
          </a:prstGeom>
          <a:noFill/>
          <a:ln w="31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a-DK" sz="1600"/>
          </a:p>
        </p:txBody>
      </p:sp>
      <p:sp>
        <p:nvSpPr>
          <p:cNvPr id="129" name="Ellipse 5"/>
          <p:cNvSpPr/>
          <p:nvPr/>
        </p:nvSpPr>
        <p:spPr>
          <a:xfrm>
            <a:off x="6867291" y="3420035"/>
            <a:ext cx="1265237" cy="395288"/>
          </a:xfrm>
          <a:prstGeom prst="ellipse">
            <a:avLst/>
          </a:prstGeom>
          <a:noFill/>
          <a:ln w="31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a-DK" sz="1600"/>
          </a:p>
        </p:txBody>
      </p:sp>
      <p:cxnSp>
        <p:nvCxnSpPr>
          <p:cNvPr id="28" name="Düz Bağlayıcı 27"/>
          <p:cNvCxnSpPr/>
          <p:nvPr/>
        </p:nvCxnSpPr>
        <p:spPr>
          <a:xfrm flipH="1">
            <a:off x="5337715" y="3853267"/>
            <a:ext cx="2136" cy="267156"/>
          </a:xfrm>
          <a:prstGeom prst="line">
            <a:avLst/>
          </a:prstGeom>
          <a:ln>
            <a:solidFill>
              <a:schemeClr val="accent2">
                <a:lumMod val="50000"/>
              </a:schemeClr>
            </a:solidFill>
          </a:ln>
        </p:spPr>
        <p:style>
          <a:lnRef idx="2">
            <a:schemeClr val="accent1"/>
          </a:lnRef>
          <a:fillRef idx="0">
            <a:schemeClr val="accent1"/>
          </a:fillRef>
          <a:effectRef idx="1">
            <a:schemeClr val="accent1"/>
          </a:effectRef>
          <a:fontRef idx="minor">
            <a:schemeClr val="tx1"/>
          </a:fontRef>
        </p:style>
      </p:cxnSp>
      <p:cxnSp>
        <p:nvCxnSpPr>
          <p:cNvPr id="226" name="Düz Bağlayıcı 225"/>
          <p:cNvCxnSpPr/>
          <p:nvPr/>
        </p:nvCxnSpPr>
        <p:spPr>
          <a:xfrm>
            <a:off x="5339851" y="4120423"/>
            <a:ext cx="2104241" cy="0"/>
          </a:xfrm>
          <a:prstGeom prst="line">
            <a:avLst/>
          </a:prstGeom>
          <a:ln>
            <a:solidFill>
              <a:schemeClr val="accent2">
                <a:lumMod val="50000"/>
              </a:schemeClr>
            </a:solidFill>
          </a:ln>
        </p:spPr>
        <p:style>
          <a:lnRef idx="2">
            <a:schemeClr val="accent1"/>
          </a:lnRef>
          <a:fillRef idx="0">
            <a:schemeClr val="accent1"/>
          </a:fillRef>
          <a:effectRef idx="1">
            <a:schemeClr val="accent1"/>
          </a:effectRef>
          <a:fontRef idx="minor">
            <a:schemeClr val="tx1"/>
          </a:fontRef>
        </p:style>
      </p:cxnSp>
      <p:cxnSp>
        <p:nvCxnSpPr>
          <p:cNvPr id="230" name="Düz Ok Bağlayıcısı 229"/>
          <p:cNvCxnSpPr/>
          <p:nvPr/>
        </p:nvCxnSpPr>
        <p:spPr>
          <a:xfrm flipH="1" flipV="1">
            <a:off x="7415061" y="3821180"/>
            <a:ext cx="6290" cy="295310"/>
          </a:xfrm>
          <a:prstGeom prst="straightConnector1">
            <a:avLst/>
          </a:prstGeom>
          <a:ln>
            <a:solidFill>
              <a:schemeClr val="accent2">
                <a:lumMod val="50000"/>
              </a:schemeClr>
            </a:solidFill>
            <a:tailEnd type="arrow"/>
          </a:ln>
        </p:spPr>
        <p:style>
          <a:lnRef idx="2">
            <a:schemeClr val="accent1"/>
          </a:lnRef>
          <a:fillRef idx="0">
            <a:schemeClr val="accent1"/>
          </a:fillRef>
          <a:effectRef idx="1">
            <a:schemeClr val="accent1"/>
          </a:effectRef>
          <a:fontRef idx="minor">
            <a:schemeClr val="tx1"/>
          </a:fontRef>
        </p:style>
      </p:cxnSp>
      <p:sp>
        <p:nvSpPr>
          <p:cNvPr id="143" name="TextBox 177"/>
          <p:cNvSpPr txBox="1">
            <a:spLocks noChangeArrowheads="1"/>
          </p:cNvSpPr>
          <p:nvPr/>
        </p:nvSpPr>
        <p:spPr bwMode="auto">
          <a:xfrm>
            <a:off x="-12699" y="1988840"/>
            <a:ext cx="2176462" cy="1569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defTabSz="457200" eaLnBrk="1" fontAlgn="base" hangingPunct="1">
              <a:spcBef>
                <a:spcPct val="0"/>
              </a:spcBef>
              <a:spcAft>
                <a:spcPct val="0"/>
              </a:spcAft>
            </a:pPr>
            <a:r>
              <a:rPr lang="tr-TR" sz="2400" b="1" dirty="0" smtClean="0">
                <a:solidFill>
                  <a:schemeClr val="tx1">
                    <a:lumMod val="95000"/>
                    <a:lumOff val="5000"/>
                  </a:schemeClr>
                </a:solidFill>
              </a:rPr>
              <a:t>Kağıt Fatura</a:t>
            </a:r>
          </a:p>
          <a:p>
            <a:pPr defTabSz="457200" eaLnBrk="1" fontAlgn="base" hangingPunct="1">
              <a:spcBef>
                <a:spcPct val="0"/>
              </a:spcBef>
              <a:spcAft>
                <a:spcPct val="0"/>
              </a:spcAft>
            </a:pPr>
            <a:r>
              <a:rPr lang="tr-TR" sz="2400" b="1" dirty="0" smtClean="0">
                <a:solidFill>
                  <a:schemeClr val="tx1">
                    <a:lumMod val="95000"/>
                    <a:lumOff val="5000"/>
                  </a:schemeClr>
                </a:solidFill>
              </a:rPr>
              <a:t>e-Fatura Karşılaştırması</a:t>
            </a:r>
            <a:endParaRPr lang="tr-TR" sz="2400" b="1" dirty="0">
              <a:solidFill>
                <a:schemeClr val="tx1">
                  <a:lumMod val="95000"/>
                  <a:lumOff val="5000"/>
                </a:schemeClr>
              </a:solidFill>
            </a:endParaRPr>
          </a:p>
          <a:p>
            <a:pPr defTabSz="457200" eaLnBrk="1" fontAlgn="base" hangingPunct="1">
              <a:spcBef>
                <a:spcPct val="0"/>
              </a:spcBef>
              <a:spcAft>
                <a:spcPct val="0"/>
              </a:spcAft>
            </a:pPr>
            <a:r>
              <a:rPr lang="tr-TR" sz="2400" b="1" dirty="0" smtClean="0">
                <a:solidFill>
                  <a:schemeClr val="tx1">
                    <a:lumMod val="95000"/>
                    <a:lumOff val="5000"/>
                  </a:schemeClr>
                </a:solidFill>
              </a:rPr>
              <a:t> </a:t>
            </a:r>
            <a:endParaRPr lang="en-US" sz="2400" b="1" dirty="0" smtClean="0">
              <a:solidFill>
                <a:schemeClr val="tx1">
                  <a:lumMod val="95000"/>
                  <a:lumOff val="5000"/>
                </a:schemeClr>
              </a:solidFill>
            </a:endParaRPr>
          </a:p>
        </p:txBody>
      </p:sp>
      <p:sp>
        <p:nvSpPr>
          <p:cNvPr id="145" name="TextBox 229"/>
          <p:cNvSpPr txBox="1">
            <a:spLocks noChangeArrowheads="1"/>
          </p:cNvSpPr>
          <p:nvPr/>
        </p:nvSpPr>
        <p:spPr bwMode="auto">
          <a:xfrm>
            <a:off x="5190331" y="4416936"/>
            <a:ext cx="2541715"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algn="ctr" defTabSz="457200" eaLnBrk="1" fontAlgn="base" hangingPunct="1">
              <a:spcBef>
                <a:spcPct val="0"/>
              </a:spcBef>
              <a:spcAft>
                <a:spcPct val="0"/>
              </a:spcAft>
            </a:pPr>
            <a:r>
              <a:rPr lang="tr-TR" sz="2000" b="1" dirty="0" smtClean="0">
                <a:solidFill>
                  <a:schemeClr val="tx1">
                    <a:lumMod val="95000"/>
                    <a:lumOff val="5000"/>
                  </a:schemeClr>
                </a:solidFill>
              </a:rPr>
              <a:t>6,40 £ TASARRUF</a:t>
            </a:r>
            <a:endParaRPr lang="en-US" sz="2000" b="1" dirty="0" smtClean="0">
              <a:solidFill>
                <a:schemeClr val="tx1">
                  <a:lumMod val="95000"/>
                  <a:lumOff val="5000"/>
                </a:schemeClr>
              </a:solidFill>
            </a:endParaRPr>
          </a:p>
        </p:txBody>
      </p:sp>
      <p:cxnSp>
        <p:nvCxnSpPr>
          <p:cNvPr id="147" name="Straight Connector 36"/>
          <p:cNvCxnSpPr/>
          <p:nvPr/>
        </p:nvCxnSpPr>
        <p:spPr bwMode="auto">
          <a:xfrm>
            <a:off x="6921" y="1518692"/>
            <a:ext cx="1962149" cy="1588"/>
          </a:xfrm>
          <a:prstGeom prst="line">
            <a:avLst/>
          </a:prstGeom>
          <a:ln w="12700" cap="flat" cmpd="sng" algn="ctr">
            <a:solidFill>
              <a:schemeClr val="tx1">
                <a:lumMod val="65000"/>
                <a:lumOff val="35000"/>
              </a:schemeClr>
            </a:solidFill>
            <a:prstDash val="sysDash"/>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 name="Metin kutusu 1"/>
          <p:cNvSpPr txBox="1"/>
          <p:nvPr/>
        </p:nvSpPr>
        <p:spPr>
          <a:xfrm>
            <a:off x="5879342" y="5673442"/>
            <a:ext cx="1197172" cy="648000"/>
          </a:xfrm>
          <a:prstGeom prst="rect">
            <a:avLst/>
          </a:prstGeom>
          <a:solidFill>
            <a:schemeClr val="accent1">
              <a:lumMod val="60000"/>
              <a:lumOff val="40000"/>
            </a:schemeClr>
          </a:solidFill>
        </p:spPr>
        <p:txBody>
          <a:bodyPr wrap="square" rtlCol="0">
            <a:spAutoFit/>
          </a:bodyPr>
          <a:lstStyle/>
          <a:p>
            <a:pPr algn="ctr"/>
            <a:r>
              <a:rPr lang="tr-TR" sz="4000" b="1" dirty="0" smtClean="0">
                <a:solidFill>
                  <a:schemeClr val="tx1">
                    <a:lumMod val="95000"/>
                    <a:lumOff val="5000"/>
                  </a:schemeClr>
                </a:solidFill>
              </a:rPr>
              <a:t>% 57  </a:t>
            </a:r>
            <a:endParaRPr lang="en-US" sz="4000" dirty="0" smtClean="0">
              <a:solidFill>
                <a:schemeClr val="tx1">
                  <a:lumMod val="95000"/>
                  <a:lumOff val="5000"/>
                </a:schemeClr>
              </a:solidFill>
            </a:endParaRPr>
          </a:p>
        </p:txBody>
      </p:sp>
      <p:sp>
        <p:nvSpPr>
          <p:cNvPr id="3" name="Metin kutusu 2"/>
          <p:cNvSpPr txBox="1"/>
          <p:nvPr/>
        </p:nvSpPr>
        <p:spPr>
          <a:xfrm>
            <a:off x="-34130" y="4651801"/>
            <a:ext cx="2314574" cy="584775"/>
          </a:xfrm>
          <a:prstGeom prst="rect">
            <a:avLst/>
          </a:prstGeom>
          <a:noFill/>
        </p:spPr>
        <p:txBody>
          <a:bodyPr wrap="square" rtlCol="0">
            <a:spAutoFit/>
          </a:bodyPr>
          <a:lstStyle/>
          <a:p>
            <a:r>
              <a:rPr lang="tr-TR" sz="1600" b="1" dirty="0" smtClean="0"/>
              <a:t>Kaynak: </a:t>
            </a:r>
            <a:r>
              <a:rPr lang="tr-TR" sz="1600" b="1" dirty="0" err="1"/>
              <a:t>Billentis</a:t>
            </a:r>
            <a:r>
              <a:rPr lang="tr-TR" sz="1600" b="1" dirty="0"/>
              <a:t> 2013</a:t>
            </a:r>
          </a:p>
          <a:p>
            <a:r>
              <a:rPr lang="tr-TR" sz="1600" b="1" dirty="0" smtClean="0"/>
              <a:t>  </a:t>
            </a:r>
            <a:endParaRPr lang="tr-TR" sz="1600" b="1" dirty="0"/>
          </a:p>
        </p:txBody>
      </p:sp>
      <p:sp>
        <p:nvSpPr>
          <p:cNvPr id="119" name="Ellipse 5"/>
          <p:cNvSpPr/>
          <p:nvPr/>
        </p:nvSpPr>
        <p:spPr>
          <a:xfrm>
            <a:off x="5280973" y="4220806"/>
            <a:ext cx="2287825" cy="792370"/>
          </a:xfrm>
          <a:prstGeom prst="ellipse">
            <a:avLst/>
          </a:prstGeom>
          <a:noFill/>
          <a:ln w="31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a-DK" sz="1600"/>
          </a:p>
        </p:txBody>
      </p:sp>
      <p:cxnSp>
        <p:nvCxnSpPr>
          <p:cNvPr id="14" name="Düz Ok Bağlayıcısı 13"/>
          <p:cNvCxnSpPr/>
          <p:nvPr/>
        </p:nvCxnSpPr>
        <p:spPr>
          <a:xfrm>
            <a:off x="6421666" y="5085184"/>
            <a:ext cx="0" cy="468000"/>
          </a:xfrm>
          <a:prstGeom prst="straightConnector1">
            <a:avLst/>
          </a:prstGeom>
          <a:ln>
            <a:solidFill>
              <a:schemeClr val="accent2">
                <a:lumMod val="50000"/>
              </a:schemeClr>
            </a:solidFill>
            <a:tailEnd type="arrow"/>
          </a:ln>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28338833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4347"/>
                                        </p:tgtEl>
                                        <p:attrNameLst>
                                          <p:attrName>style.visibility</p:attrName>
                                        </p:attrNameLst>
                                      </p:cBhvr>
                                      <p:to>
                                        <p:strVal val="visible"/>
                                      </p:to>
                                    </p:set>
                                    <p:animEffect transition="in" filter="fade">
                                      <p:cBhvr>
                                        <p:cTn id="7" dur="500"/>
                                        <p:tgtEl>
                                          <p:spTgt spid="14347"/>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4349"/>
                                        </p:tgtEl>
                                        <p:attrNameLst>
                                          <p:attrName>style.visibility</p:attrName>
                                        </p:attrNameLst>
                                      </p:cBhvr>
                                      <p:to>
                                        <p:strVal val="visible"/>
                                      </p:to>
                                    </p:set>
                                    <p:animEffect transition="in" filter="fade">
                                      <p:cBhvr>
                                        <p:cTn id="11" dur="500"/>
                                        <p:tgtEl>
                                          <p:spTgt spid="14349"/>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49"/>
                                        </p:tgtEl>
                                        <p:attrNameLst>
                                          <p:attrName>style.visibility</p:attrName>
                                        </p:attrNameLst>
                                      </p:cBhvr>
                                      <p:to>
                                        <p:strVal val="visible"/>
                                      </p:to>
                                    </p:set>
                                    <p:animEffect transition="in" filter="fade">
                                      <p:cBhvr>
                                        <p:cTn id="15" dur="500"/>
                                        <p:tgtEl>
                                          <p:spTgt spid="149"/>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56"/>
                                        </p:tgtEl>
                                        <p:attrNameLst>
                                          <p:attrName>style.visibility</p:attrName>
                                        </p:attrNameLst>
                                      </p:cBhvr>
                                      <p:to>
                                        <p:strVal val="visible"/>
                                      </p:to>
                                    </p:set>
                                    <p:animEffect transition="in" filter="fade">
                                      <p:cBhvr>
                                        <p:cTn id="19" dur="500"/>
                                        <p:tgtEl>
                                          <p:spTgt spid="156"/>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162"/>
                                        </p:tgtEl>
                                        <p:attrNameLst>
                                          <p:attrName>style.visibility</p:attrName>
                                        </p:attrNameLst>
                                      </p:cBhvr>
                                      <p:to>
                                        <p:strVal val="visible"/>
                                      </p:to>
                                    </p:set>
                                    <p:animEffect transition="in" filter="fade">
                                      <p:cBhvr>
                                        <p:cTn id="23" dur="500"/>
                                        <p:tgtEl>
                                          <p:spTgt spid="162"/>
                                        </p:tgtEl>
                                      </p:cBhvr>
                                    </p:animEffect>
                                  </p:childTnLst>
                                </p:cTn>
                              </p:par>
                            </p:childTnLst>
                          </p:cTn>
                        </p:par>
                        <p:par>
                          <p:cTn id="24" fill="hold">
                            <p:stCondLst>
                              <p:cond delay="2500"/>
                            </p:stCondLst>
                            <p:childTnLst>
                              <p:par>
                                <p:cTn id="25" presetID="26" presetClass="emph" presetSubtype="0" fill="hold" grpId="1" nodeType="afterEffect">
                                  <p:stCondLst>
                                    <p:cond delay="0"/>
                                  </p:stCondLst>
                                  <p:childTnLst>
                                    <p:animEffect transition="out" filter="fade">
                                      <p:cBhvr>
                                        <p:cTn id="26" dur="500" tmFilter="0, 0; .2, .5; .8, .5; 1, 0"/>
                                        <p:tgtEl>
                                          <p:spTgt spid="162"/>
                                        </p:tgtEl>
                                      </p:cBhvr>
                                    </p:animEffect>
                                    <p:animScale>
                                      <p:cBhvr>
                                        <p:cTn id="27" dur="250" autoRev="1" fill="hold"/>
                                        <p:tgtEl>
                                          <p:spTgt spid="162"/>
                                        </p:tgtEl>
                                      </p:cBhvr>
                                      <p:by x="105000" y="105000"/>
                                    </p:animScale>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151"/>
                                        </p:tgtEl>
                                        <p:attrNameLst>
                                          <p:attrName>style.visibility</p:attrName>
                                        </p:attrNameLst>
                                      </p:cBhvr>
                                      <p:to>
                                        <p:strVal val="visible"/>
                                      </p:to>
                                    </p:set>
                                    <p:animEffect transition="in" filter="fade">
                                      <p:cBhvr>
                                        <p:cTn id="31" dur="500"/>
                                        <p:tgtEl>
                                          <p:spTgt spid="151"/>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157"/>
                                        </p:tgtEl>
                                        <p:attrNameLst>
                                          <p:attrName>style.visibility</p:attrName>
                                        </p:attrNameLst>
                                      </p:cBhvr>
                                      <p:to>
                                        <p:strVal val="visible"/>
                                      </p:to>
                                    </p:set>
                                    <p:animEffect transition="in" filter="fade">
                                      <p:cBhvr>
                                        <p:cTn id="35" dur="500"/>
                                        <p:tgtEl>
                                          <p:spTgt spid="157"/>
                                        </p:tgtEl>
                                      </p:cBhvr>
                                    </p:animEffect>
                                  </p:childTnLst>
                                </p:cTn>
                              </p:par>
                            </p:childTnLst>
                          </p:cTn>
                        </p:par>
                        <p:par>
                          <p:cTn id="36" fill="hold">
                            <p:stCondLst>
                              <p:cond delay="4000"/>
                            </p:stCondLst>
                            <p:childTnLst>
                              <p:par>
                                <p:cTn id="37" presetID="10" presetClass="entr" presetSubtype="0" fill="hold" grpId="0" nodeType="afterEffect">
                                  <p:stCondLst>
                                    <p:cond delay="0"/>
                                  </p:stCondLst>
                                  <p:childTnLst>
                                    <p:set>
                                      <p:cBhvr>
                                        <p:cTn id="38" dur="1" fill="hold">
                                          <p:stCondLst>
                                            <p:cond delay="0"/>
                                          </p:stCondLst>
                                        </p:cTn>
                                        <p:tgtEl>
                                          <p:spTgt spid="165"/>
                                        </p:tgtEl>
                                        <p:attrNameLst>
                                          <p:attrName>style.visibility</p:attrName>
                                        </p:attrNameLst>
                                      </p:cBhvr>
                                      <p:to>
                                        <p:strVal val="visible"/>
                                      </p:to>
                                    </p:set>
                                    <p:animEffect transition="in" filter="fade">
                                      <p:cBhvr>
                                        <p:cTn id="39" dur="500"/>
                                        <p:tgtEl>
                                          <p:spTgt spid="165"/>
                                        </p:tgtEl>
                                      </p:cBhvr>
                                    </p:animEffect>
                                  </p:childTnLst>
                                </p:cTn>
                              </p:par>
                            </p:childTnLst>
                          </p:cTn>
                        </p:par>
                        <p:par>
                          <p:cTn id="40" fill="hold">
                            <p:stCondLst>
                              <p:cond delay="4500"/>
                            </p:stCondLst>
                            <p:childTnLst>
                              <p:par>
                                <p:cTn id="41" presetID="26" presetClass="emph" presetSubtype="0" fill="hold" grpId="1" nodeType="afterEffect">
                                  <p:stCondLst>
                                    <p:cond delay="0"/>
                                  </p:stCondLst>
                                  <p:childTnLst>
                                    <p:animEffect transition="out" filter="fade">
                                      <p:cBhvr>
                                        <p:cTn id="42" dur="500" tmFilter="0, 0; .2, .5; .8, .5; 1, 0"/>
                                        <p:tgtEl>
                                          <p:spTgt spid="165"/>
                                        </p:tgtEl>
                                      </p:cBhvr>
                                    </p:animEffect>
                                    <p:animScale>
                                      <p:cBhvr>
                                        <p:cTn id="43" dur="250" autoRev="1" fill="hold"/>
                                        <p:tgtEl>
                                          <p:spTgt spid="165"/>
                                        </p:tgtEl>
                                      </p:cBhvr>
                                      <p:by x="105000" y="105000"/>
                                    </p:animScale>
                                  </p:childTnLst>
                                </p:cTn>
                              </p:par>
                            </p:childTnLst>
                          </p:cTn>
                        </p:par>
                        <p:par>
                          <p:cTn id="44" fill="hold">
                            <p:stCondLst>
                              <p:cond delay="5000"/>
                            </p:stCondLst>
                            <p:childTnLst>
                              <p:par>
                                <p:cTn id="45" presetID="10" presetClass="entr" presetSubtype="0" fill="hold" grpId="0" nodeType="afterEffect">
                                  <p:stCondLst>
                                    <p:cond delay="0"/>
                                  </p:stCondLst>
                                  <p:childTnLst>
                                    <p:set>
                                      <p:cBhvr>
                                        <p:cTn id="46" dur="1" fill="hold">
                                          <p:stCondLst>
                                            <p:cond delay="0"/>
                                          </p:stCondLst>
                                        </p:cTn>
                                        <p:tgtEl>
                                          <p:spTgt spid="153"/>
                                        </p:tgtEl>
                                        <p:attrNameLst>
                                          <p:attrName>style.visibility</p:attrName>
                                        </p:attrNameLst>
                                      </p:cBhvr>
                                      <p:to>
                                        <p:strVal val="visible"/>
                                      </p:to>
                                    </p:set>
                                    <p:animEffect transition="in" filter="fade">
                                      <p:cBhvr>
                                        <p:cTn id="47" dur="500"/>
                                        <p:tgtEl>
                                          <p:spTgt spid="153"/>
                                        </p:tgtEl>
                                      </p:cBhvr>
                                    </p:animEffect>
                                  </p:childTnLst>
                                </p:cTn>
                              </p:par>
                            </p:childTnLst>
                          </p:cTn>
                        </p:par>
                        <p:par>
                          <p:cTn id="48" fill="hold">
                            <p:stCondLst>
                              <p:cond delay="5500"/>
                            </p:stCondLst>
                            <p:childTnLst>
                              <p:par>
                                <p:cTn id="49" presetID="10" presetClass="entr" presetSubtype="0" fill="hold" grpId="0" nodeType="afterEffect">
                                  <p:stCondLst>
                                    <p:cond delay="0"/>
                                  </p:stCondLst>
                                  <p:childTnLst>
                                    <p:set>
                                      <p:cBhvr>
                                        <p:cTn id="50" dur="1" fill="hold">
                                          <p:stCondLst>
                                            <p:cond delay="0"/>
                                          </p:stCondLst>
                                        </p:cTn>
                                        <p:tgtEl>
                                          <p:spTgt spid="158"/>
                                        </p:tgtEl>
                                        <p:attrNameLst>
                                          <p:attrName>style.visibility</p:attrName>
                                        </p:attrNameLst>
                                      </p:cBhvr>
                                      <p:to>
                                        <p:strVal val="visible"/>
                                      </p:to>
                                    </p:set>
                                    <p:animEffect transition="in" filter="fade">
                                      <p:cBhvr>
                                        <p:cTn id="51" dur="500"/>
                                        <p:tgtEl>
                                          <p:spTgt spid="158"/>
                                        </p:tgtEl>
                                      </p:cBhvr>
                                    </p:animEffect>
                                  </p:childTnLst>
                                </p:cTn>
                              </p:par>
                            </p:childTnLst>
                          </p:cTn>
                        </p:par>
                        <p:par>
                          <p:cTn id="52" fill="hold">
                            <p:stCondLst>
                              <p:cond delay="6000"/>
                            </p:stCondLst>
                            <p:childTnLst>
                              <p:par>
                                <p:cTn id="53" presetID="10" presetClass="entr" presetSubtype="0" fill="hold" grpId="0" nodeType="afterEffect">
                                  <p:stCondLst>
                                    <p:cond delay="0"/>
                                  </p:stCondLst>
                                  <p:childTnLst>
                                    <p:set>
                                      <p:cBhvr>
                                        <p:cTn id="54" dur="1" fill="hold">
                                          <p:stCondLst>
                                            <p:cond delay="0"/>
                                          </p:stCondLst>
                                        </p:cTn>
                                        <p:tgtEl>
                                          <p:spTgt spid="166"/>
                                        </p:tgtEl>
                                        <p:attrNameLst>
                                          <p:attrName>style.visibility</p:attrName>
                                        </p:attrNameLst>
                                      </p:cBhvr>
                                      <p:to>
                                        <p:strVal val="visible"/>
                                      </p:to>
                                    </p:set>
                                    <p:animEffect transition="in" filter="fade">
                                      <p:cBhvr>
                                        <p:cTn id="55" dur="500"/>
                                        <p:tgtEl>
                                          <p:spTgt spid="166"/>
                                        </p:tgtEl>
                                      </p:cBhvr>
                                    </p:animEffect>
                                  </p:childTnLst>
                                </p:cTn>
                              </p:par>
                            </p:childTnLst>
                          </p:cTn>
                        </p:par>
                        <p:par>
                          <p:cTn id="56" fill="hold">
                            <p:stCondLst>
                              <p:cond delay="6500"/>
                            </p:stCondLst>
                            <p:childTnLst>
                              <p:par>
                                <p:cTn id="57" presetID="26" presetClass="emph" presetSubtype="0" fill="hold" grpId="1" nodeType="afterEffect">
                                  <p:stCondLst>
                                    <p:cond delay="0"/>
                                  </p:stCondLst>
                                  <p:childTnLst>
                                    <p:animEffect transition="out" filter="fade">
                                      <p:cBhvr>
                                        <p:cTn id="58" dur="500" tmFilter="0, 0; .2, .5; .8, .5; 1, 0"/>
                                        <p:tgtEl>
                                          <p:spTgt spid="166"/>
                                        </p:tgtEl>
                                      </p:cBhvr>
                                    </p:animEffect>
                                    <p:animScale>
                                      <p:cBhvr>
                                        <p:cTn id="59" dur="250" autoRev="1" fill="hold"/>
                                        <p:tgtEl>
                                          <p:spTgt spid="166"/>
                                        </p:tgtEl>
                                      </p:cBhvr>
                                      <p:by x="105000" y="105000"/>
                                    </p:animScale>
                                  </p:childTnLst>
                                </p:cTn>
                              </p:par>
                            </p:childTnLst>
                          </p:cTn>
                        </p:par>
                        <p:par>
                          <p:cTn id="60" fill="hold">
                            <p:stCondLst>
                              <p:cond delay="7000"/>
                            </p:stCondLst>
                            <p:childTnLst>
                              <p:par>
                                <p:cTn id="61" presetID="10" presetClass="entr" presetSubtype="0" fill="hold" grpId="0" nodeType="afterEffect">
                                  <p:stCondLst>
                                    <p:cond delay="0"/>
                                  </p:stCondLst>
                                  <p:childTnLst>
                                    <p:set>
                                      <p:cBhvr>
                                        <p:cTn id="62" dur="1" fill="hold">
                                          <p:stCondLst>
                                            <p:cond delay="0"/>
                                          </p:stCondLst>
                                        </p:cTn>
                                        <p:tgtEl>
                                          <p:spTgt spid="154"/>
                                        </p:tgtEl>
                                        <p:attrNameLst>
                                          <p:attrName>style.visibility</p:attrName>
                                        </p:attrNameLst>
                                      </p:cBhvr>
                                      <p:to>
                                        <p:strVal val="visible"/>
                                      </p:to>
                                    </p:set>
                                    <p:animEffect transition="in" filter="fade">
                                      <p:cBhvr>
                                        <p:cTn id="63" dur="500"/>
                                        <p:tgtEl>
                                          <p:spTgt spid="154"/>
                                        </p:tgtEl>
                                      </p:cBhvr>
                                    </p:animEffect>
                                  </p:childTnLst>
                                </p:cTn>
                              </p:par>
                            </p:childTnLst>
                          </p:cTn>
                        </p:par>
                        <p:par>
                          <p:cTn id="64" fill="hold">
                            <p:stCondLst>
                              <p:cond delay="7500"/>
                            </p:stCondLst>
                            <p:childTnLst>
                              <p:par>
                                <p:cTn id="65" presetID="10" presetClass="entr" presetSubtype="0" fill="hold" grpId="0" nodeType="afterEffect">
                                  <p:stCondLst>
                                    <p:cond delay="0"/>
                                  </p:stCondLst>
                                  <p:childTnLst>
                                    <p:set>
                                      <p:cBhvr>
                                        <p:cTn id="66" dur="1" fill="hold">
                                          <p:stCondLst>
                                            <p:cond delay="0"/>
                                          </p:stCondLst>
                                        </p:cTn>
                                        <p:tgtEl>
                                          <p:spTgt spid="159"/>
                                        </p:tgtEl>
                                        <p:attrNameLst>
                                          <p:attrName>style.visibility</p:attrName>
                                        </p:attrNameLst>
                                      </p:cBhvr>
                                      <p:to>
                                        <p:strVal val="visible"/>
                                      </p:to>
                                    </p:set>
                                    <p:animEffect transition="in" filter="fade">
                                      <p:cBhvr>
                                        <p:cTn id="67" dur="500"/>
                                        <p:tgtEl>
                                          <p:spTgt spid="159"/>
                                        </p:tgtEl>
                                      </p:cBhvr>
                                    </p:animEffect>
                                  </p:childTnLst>
                                </p:cTn>
                              </p:par>
                            </p:childTnLst>
                          </p:cTn>
                        </p:par>
                        <p:par>
                          <p:cTn id="68" fill="hold">
                            <p:stCondLst>
                              <p:cond delay="8000"/>
                            </p:stCondLst>
                            <p:childTnLst>
                              <p:par>
                                <p:cTn id="69" presetID="10" presetClass="entr" presetSubtype="0" fill="hold" grpId="0" nodeType="afterEffect">
                                  <p:stCondLst>
                                    <p:cond delay="0"/>
                                  </p:stCondLst>
                                  <p:childTnLst>
                                    <p:set>
                                      <p:cBhvr>
                                        <p:cTn id="70" dur="1" fill="hold">
                                          <p:stCondLst>
                                            <p:cond delay="0"/>
                                          </p:stCondLst>
                                        </p:cTn>
                                        <p:tgtEl>
                                          <p:spTgt spid="169"/>
                                        </p:tgtEl>
                                        <p:attrNameLst>
                                          <p:attrName>style.visibility</p:attrName>
                                        </p:attrNameLst>
                                      </p:cBhvr>
                                      <p:to>
                                        <p:strVal val="visible"/>
                                      </p:to>
                                    </p:set>
                                    <p:animEffect transition="in" filter="fade">
                                      <p:cBhvr>
                                        <p:cTn id="71" dur="500"/>
                                        <p:tgtEl>
                                          <p:spTgt spid="169"/>
                                        </p:tgtEl>
                                      </p:cBhvr>
                                    </p:animEffect>
                                  </p:childTnLst>
                                </p:cTn>
                              </p:par>
                            </p:childTnLst>
                          </p:cTn>
                        </p:par>
                        <p:par>
                          <p:cTn id="72" fill="hold">
                            <p:stCondLst>
                              <p:cond delay="8500"/>
                            </p:stCondLst>
                            <p:childTnLst>
                              <p:par>
                                <p:cTn id="73" presetID="26" presetClass="emph" presetSubtype="0" fill="hold" grpId="1" nodeType="afterEffect">
                                  <p:stCondLst>
                                    <p:cond delay="0"/>
                                  </p:stCondLst>
                                  <p:childTnLst>
                                    <p:animEffect transition="out" filter="fade">
                                      <p:cBhvr>
                                        <p:cTn id="74" dur="500" tmFilter="0, 0; .2, .5; .8, .5; 1, 0"/>
                                        <p:tgtEl>
                                          <p:spTgt spid="169"/>
                                        </p:tgtEl>
                                      </p:cBhvr>
                                    </p:animEffect>
                                    <p:animScale>
                                      <p:cBhvr>
                                        <p:cTn id="75" dur="250" autoRev="1" fill="hold"/>
                                        <p:tgtEl>
                                          <p:spTgt spid="169"/>
                                        </p:tgtEl>
                                      </p:cBhvr>
                                      <p:by x="105000" y="105000"/>
                                    </p:animScale>
                                  </p:childTnLst>
                                </p:cTn>
                              </p:par>
                            </p:childTnLst>
                          </p:cTn>
                        </p:par>
                        <p:par>
                          <p:cTn id="76" fill="hold">
                            <p:stCondLst>
                              <p:cond delay="9000"/>
                            </p:stCondLst>
                            <p:childTnLst>
                              <p:par>
                                <p:cTn id="77" presetID="10" presetClass="entr" presetSubtype="0" fill="hold" grpId="0" nodeType="afterEffect">
                                  <p:stCondLst>
                                    <p:cond delay="0"/>
                                  </p:stCondLst>
                                  <p:childTnLst>
                                    <p:set>
                                      <p:cBhvr>
                                        <p:cTn id="78" dur="1" fill="hold">
                                          <p:stCondLst>
                                            <p:cond delay="0"/>
                                          </p:stCondLst>
                                        </p:cTn>
                                        <p:tgtEl>
                                          <p:spTgt spid="160"/>
                                        </p:tgtEl>
                                        <p:attrNameLst>
                                          <p:attrName>style.visibility</p:attrName>
                                        </p:attrNameLst>
                                      </p:cBhvr>
                                      <p:to>
                                        <p:strVal val="visible"/>
                                      </p:to>
                                    </p:set>
                                    <p:animEffect transition="in" filter="fade">
                                      <p:cBhvr>
                                        <p:cTn id="79" dur="500"/>
                                        <p:tgtEl>
                                          <p:spTgt spid="160"/>
                                        </p:tgtEl>
                                      </p:cBhvr>
                                    </p:animEffect>
                                  </p:childTnLst>
                                </p:cTn>
                              </p:par>
                            </p:childTnLst>
                          </p:cTn>
                        </p:par>
                        <p:par>
                          <p:cTn id="80" fill="hold">
                            <p:stCondLst>
                              <p:cond delay="9500"/>
                            </p:stCondLst>
                            <p:childTnLst>
                              <p:par>
                                <p:cTn id="81" presetID="10" presetClass="entr" presetSubtype="0" fill="hold" grpId="0" nodeType="afterEffect">
                                  <p:stCondLst>
                                    <p:cond delay="0"/>
                                  </p:stCondLst>
                                  <p:childTnLst>
                                    <p:set>
                                      <p:cBhvr>
                                        <p:cTn id="82" dur="1" fill="hold">
                                          <p:stCondLst>
                                            <p:cond delay="0"/>
                                          </p:stCondLst>
                                        </p:cTn>
                                        <p:tgtEl>
                                          <p:spTgt spid="161"/>
                                        </p:tgtEl>
                                        <p:attrNameLst>
                                          <p:attrName>style.visibility</p:attrName>
                                        </p:attrNameLst>
                                      </p:cBhvr>
                                      <p:to>
                                        <p:strVal val="visible"/>
                                      </p:to>
                                    </p:set>
                                    <p:animEffect transition="in" filter="fade">
                                      <p:cBhvr>
                                        <p:cTn id="83" dur="500"/>
                                        <p:tgtEl>
                                          <p:spTgt spid="161"/>
                                        </p:tgtEl>
                                      </p:cBhvr>
                                    </p:animEffect>
                                  </p:childTnLst>
                                </p:cTn>
                              </p:par>
                            </p:childTnLst>
                          </p:cTn>
                        </p:par>
                        <p:par>
                          <p:cTn id="84" fill="hold">
                            <p:stCondLst>
                              <p:cond delay="10000"/>
                            </p:stCondLst>
                            <p:childTnLst>
                              <p:par>
                                <p:cTn id="85" presetID="10" presetClass="entr" presetSubtype="0" fill="hold" grpId="0" nodeType="afterEffect">
                                  <p:stCondLst>
                                    <p:cond delay="0"/>
                                  </p:stCondLst>
                                  <p:childTnLst>
                                    <p:set>
                                      <p:cBhvr>
                                        <p:cTn id="86" dur="1" fill="hold">
                                          <p:stCondLst>
                                            <p:cond delay="0"/>
                                          </p:stCondLst>
                                        </p:cTn>
                                        <p:tgtEl>
                                          <p:spTgt spid="170"/>
                                        </p:tgtEl>
                                        <p:attrNameLst>
                                          <p:attrName>style.visibility</p:attrName>
                                        </p:attrNameLst>
                                      </p:cBhvr>
                                      <p:to>
                                        <p:strVal val="visible"/>
                                      </p:to>
                                    </p:set>
                                    <p:animEffect transition="in" filter="fade">
                                      <p:cBhvr>
                                        <p:cTn id="87" dur="500"/>
                                        <p:tgtEl>
                                          <p:spTgt spid="170"/>
                                        </p:tgtEl>
                                      </p:cBhvr>
                                    </p:animEffect>
                                  </p:childTnLst>
                                </p:cTn>
                              </p:par>
                            </p:childTnLst>
                          </p:cTn>
                        </p:par>
                        <p:par>
                          <p:cTn id="88" fill="hold">
                            <p:stCondLst>
                              <p:cond delay="10500"/>
                            </p:stCondLst>
                            <p:childTnLst>
                              <p:par>
                                <p:cTn id="89" presetID="26" presetClass="emph" presetSubtype="0" fill="hold" grpId="1" nodeType="afterEffect">
                                  <p:stCondLst>
                                    <p:cond delay="0"/>
                                  </p:stCondLst>
                                  <p:childTnLst>
                                    <p:animEffect transition="out" filter="fade">
                                      <p:cBhvr>
                                        <p:cTn id="90" dur="500" tmFilter="0, 0; .2, .5; .8, .5; 1, 0"/>
                                        <p:tgtEl>
                                          <p:spTgt spid="170"/>
                                        </p:tgtEl>
                                      </p:cBhvr>
                                    </p:animEffect>
                                    <p:animScale>
                                      <p:cBhvr>
                                        <p:cTn id="91" dur="250" autoRev="1" fill="hold"/>
                                        <p:tgtEl>
                                          <p:spTgt spid="170"/>
                                        </p:tgtEl>
                                      </p:cBhvr>
                                      <p:by x="105000" y="105000"/>
                                    </p:animScale>
                                  </p:childTnLst>
                                </p:cTn>
                              </p:par>
                            </p:childTnLst>
                          </p:cTn>
                        </p:par>
                        <p:par>
                          <p:cTn id="92" fill="hold">
                            <p:stCondLst>
                              <p:cond delay="11000"/>
                            </p:stCondLst>
                            <p:childTnLst>
                              <p:par>
                                <p:cTn id="93" presetID="10" presetClass="entr" presetSubtype="0" fill="hold" grpId="0" nodeType="afterEffect">
                                  <p:stCondLst>
                                    <p:cond delay="0"/>
                                  </p:stCondLst>
                                  <p:childTnLst>
                                    <p:set>
                                      <p:cBhvr>
                                        <p:cTn id="94" dur="1" fill="hold">
                                          <p:stCondLst>
                                            <p:cond delay="0"/>
                                          </p:stCondLst>
                                        </p:cTn>
                                        <p:tgtEl>
                                          <p:spTgt spid="127"/>
                                        </p:tgtEl>
                                        <p:attrNameLst>
                                          <p:attrName>style.visibility</p:attrName>
                                        </p:attrNameLst>
                                      </p:cBhvr>
                                      <p:to>
                                        <p:strVal val="visible"/>
                                      </p:to>
                                    </p:set>
                                    <p:animEffect transition="in" filter="fade">
                                      <p:cBhvr>
                                        <p:cTn id="95" dur="500"/>
                                        <p:tgtEl>
                                          <p:spTgt spid="127"/>
                                        </p:tgtEl>
                                      </p:cBhvr>
                                    </p:animEffect>
                                  </p:childTnLst>
                                </p:cTn>
                              </p:par>
                            </p:childTnLst>
                          </p:cTn>
                        </p:par>
                        <p:par>
                          <p:cTn id="96" fill="hold">
                            <p:stCondLst>
                              <p:cond delay="11500"/>
                            </p:stCondLst>
                            <p:childTnLst>
                              <p:par>
                                <p:cTn id="97" presetID="22" presetClass="entr" presetSubtype="1" fill="hold" nodeType="afterEffect">
                                  <p:stCondLst>
                                    <p:cond delay="0"/>
                                  </p:stCondLst>
                                  <p:childTnLst>
                                    <p:set>
                                      <p:cBhvr>
                                        <p:cTn id="98" dur="1" fill="hold">
                                          <p:stCondLst>
                                            <p:cond delay="0"/>
                                          </p:stCondLst>
                                        </p:cTn>
                                        <p:tgtEl>
                                          <p:spTgt spid="28"/>
                                        </p:tgtEl>
                                        <p:attrNameLst>
                                          <p:attrName>style.visibility</p:attrName>
                                        </p:attrNameLst>
                                      </p:cBhvr>
                                      <p:to>
                                        <p:strVal val="visible"/>
                                      </p:to>
                                    </p:set>
                                    <p:animEffect transition="in" filter="wipe(up)">
                                      <p:cBhvr>
                                        <p:cTn id="99" dur="500"/>
                                        <p:tgtEl>
                                          <p:spTgt spid="28"/>
                                        </p:tgtEl>
                                      </p:cBhvr>
                                    </p:animEffect>
                                  </p:childTnLst>
                                </p:cTn>
                              </p:par>
                            </p:childTnLst>
                          </p:cTn>
                        </p:par>
                        <p:par>
                          <p:cTn id="100" fill="hold">
                            <p:stCondLst>
                              <p:cond delay="12000"/>
                            </p:stCondLst>
                            <p:childTnLst>
                              <p:par>
                                <p:cTn id="101" presetID="22" presetClass="entr" presetSubtype="8" fill="hold" nodeType="afterEffect">
                                  <p:stCondLst>
                                    <p:cond delay="0"/>
                                  </p:stCondLst>
                                  <p:childTnLst>
                                    <p:set>
                                      <p:cBhvr>
                                        <p:cTn id="102" dur="1" fill="hold">
                                          <p:stCondLst>
                                            <p:cond delay="0"/>
                                          </p:stCondLst>
                                        </p:cTn>
                                        <p:tgtEl>
                                          <p:spTgt spid="226"/>
                                        </p:tgtEl>
                                        <p:attrNameLst>
                                          <p:attrName>style.visibility</p:attrName>
                                        </p:attrNameLst>
                                      </p:cBhvr>
                                      <p:to>
                                        <p:strVal val="visible"/>
                                      </p:to>
                                    </p:set>
                                    <p:animEffect transition="in" filter="wipe(left)">
                                      <p:cBhvr>
                                        <p:cTn id="103" dur="500"/>
                                        <p:tgtEl>
                                          <p:spTgt spid="226"/>
                                        </p:tgtEl>
                                      </p:cBhvr>
                                    </p:animEffect>
                                  </p:childTnLst>
                                </p:cTn>
                              </p:par>
                            </p:childTnLst>
                          </p:cTn>
                        </p:par>
                        <p:par>
                          <p:cTn id="104" fill="hold">
                            <p:stCondLst>
                              <p:cond delay="12500"/>
                            </p:stCondLst>
                            <p:childTnLst>
                              <p:par>
                                <p:cTn id="105" presetID="22" presetClass="entr" presetSubtype="4" fill="hold" nodeType="afterEffect">
                                  <p:stCondLst>
                                    <p:cond delay="0"/>
                                  </p:stCondLst>
                                  <p:childTnLst>
                                    <p:set>
                                      <p:cBhvr>
                                        <p:cTn id="106" dur="1" fill="hold">
                                          <p:stCondLst>
                                            <p:cond delay="0"/>
                                          </p:stCondLst>
                                        </p:cTn>
                                        <p:tgtEl>
                                          <p:spTgt spid="230"/>
                                        </p:tgtEl>
                                        <p:attrNameLst>
                                          <p:attrName>style.visibility</p:attrName>
                                        </p:attrNameLst>
                                      </p:cBhvr>
                                      <p:to>
                                        <p:strVal val="visible"/>
                                      </p:to>
                                    </p:set>
                                    <p:animEffect transition="in" filter="wipe(down)">
                                      <p:cBhvr>
                                        <p:cTn id="107" dur="500"/>
                                        <p:tgtEl>
                                          <p:spTgt spid="230"/>
                                        </p:tgtEl>
                                      </p:cBhvr>
                                    </p:animEffect>
                                  </p:childTnLst>
                                </p:cTn>
                              </p:par>
                            </p:childTnLst>
                          </p:cTn>
                        </p:par>
                        <p:par>
                          <p:cTn id="108" fill="hold">
                            <p:stCondLst>
                              <p:cond delay="13000"/>
                            </p:stCondLst>
                            <p:childTnLst>
                              <p:par>
                                <p:cTn id="109" presetID="10" presetClass="entr" presetSubtype="0" fill="hold" grpId="0" nodeType="afterEffect">
                                  <p:stCondLst>
                                    <p:cond delay="0"/>
                                  </p:stCondLst>
                                  <p:childTnLst>
                                    <p:set>
                                      <p:cBhvr>
                                        <p:cTn id="110" dur="1" fill="hold">
                                          <p:stCondLst>
                                            <p:cond delay="0"/>
                                          </p:stCondLst>
                                        </p:cTn>
                                        <p:tgtEl>
                                          <p:spTgt spid="129"/>
                                        </p:tgtEl>
                                        <p:attrNameLst>
                                          <p:attrName>style.visibility</p:attrName>
                                        </p:attrNameLst>
                                      </p:cBhvr>
                                      <p:to>
                                        <p:strVal val="visible"/>
                                      </p:to>
                                    </p:set>
                                    <p:animEffect transition="in" filter="fade">
                                      <p:cBhvr>
                                        <p:cTn id="111" dur="500"/>
                                        <p:tgtEl>
                                          <p:spTgt spid="129"/>
                                        </p:tgtEl>
                                      </p:cBhvr>
                                    </p:animEffect>
                                  </p:childTnLst>
                                </p:cTn>
                              </p:par>
                            </p:childTnLst>
                          </p:cTn>
                        </p:par>
                        <p:par>
                          <p:cTn id="112" fill="hold">
                            <p:stCondLst>
                              <p:cond delay="13500"/>
                            </p:stCondLst>
                            <p:childTnLst>
                              <p:par>
                                <p:cTn id="113" presetID="10" presetClass="entr" presetSubtype="0" fill="hold" grpId="0" nodeType="afterEffect">
                                  <p:stCondLst>
                                    <p:cond delay="0"/>
                                  </p:stCondLst>
                                  <p:childTnLst>
                                    <p:set>
                                      <p:cBhvr>
                                        <p:cTn id="114" dur="1" fill="hold">
                                          <p:stCondLst>
                                            <p:cond delay="0"/>
                                          </p:stCondLst>
                                        </p:cTn>
                                        <p:tgtEl>
                                          <p:spTgt spid="145"/>
                                        </p:tgtEl>
                                        <p:attrNameLst>
                                          <p:attrName>style.visibility</p:attrName>
                                        </p:attrNameLst>
                                      </p:cBhvr>
                                      <p:to>
                                        <p:strVal val="visible"/>
                                      </p:to>
                                    </p:set>
                                    <p:animEffect transition="in" filter="fade">
                                      <p:cBhvr>
                                        <p:cTn id="115" dur="500"/>
                                        <p:tgtEl>
                                          <p:spTgt spid="145"/>
                                        </p:tgtEl>
                                      </p:cBhvr>
                                    </p:animEffect>
                                  </p:childTnLst>
                                </p:cTn>
                              </p:par>
                            </p:childTnLst>
                          </p:cTn>
                        </p:par>
                        <p:par>
                          <p:cTn id="116" fill="hold">
                            <p:stCondLst>
                              <p:cond delay="14000"/>
                            </p:stCondLst>
                            <p:childTnLst>
                              <p:par>
                                <p:cTn id="117" presetID="10" presetClass="entr" presetSubtype="0" fill="hold" grpId="0" nodeType="afterEffect">
                                  <p:stCondLst>
                                    <p:cond delay="0"/>
                                  </p:stCondLst>
                                  <p:childTnLst>
                                    <p:set>
                                      <p:cBhvr>
                                        <p:cTn id="118" dur="1" fill="hold">
                                          <p:stCondLst>
                                            <p:cond delay="0"/>
                                          </p:stCondLst>
                                        </p:cTn>
                                        <p:tgtEl>
                                          <p:spTgt spid="119"/>
                                        </p:tgtEl>
                                        <p:attrNameLst>
                                          <p:attrName>style.visibility</p:attrName>
                                        </p:attrNameLst>
                                      </p:cBhvr>
                                      <p:to>
                                        <p:strVal val="visible"/>
                                      </p:to>
                                    </p:set>
                                    <p:animEffect transition="in" filter="fade">
                                      <p:cBhvr>
                                        <p:cTn id="119" dur="500"/>
                                        <p:tgtEl>
                                          <p:spTgt spid="119"/>
                                        </p:tgtEl>
                                      </p:cBhvr>
                                    </p:animEffect>
                                  </p:childTnLst>
                                </p:cTn>
                              </p:par>
                            </p:childTnLst>
                          </p:cTn>
                        </p:par>
                        <p:par>
                          <p:cTn id="120" fill="hold">
                            <p:stCondLst>
                              <p:cond delay="14500"/>
                            </p:stCondLst>
                            <p:childTnLst>
                              <p:par>
                                <p:cTn id="121" presetID="10" presetClass="entr" presetSubtype="0" fill="hold" nodeType="afterEffect">
                                  <p:stCondLst>
                                    <p:cond delay="0"/>
                                  </p:stCondLst>
                                  <p:childTnLst>
                                    <p:set>
                                      <p:cBhvr>
                                        <p:cTn id="122" dur="1" fill="hold">
                                          <p:stCondLst>
                                            <p:cond delay="0"/>
                                          </p:stCondLst>
                                        </p:cTn>
                                        <p:tgtEl>
                                          <p:spTgt spid="14"/>
                                        </p:tgtEl>
                                        <p:attrNameLst>
                                          <p:attrName>style.visibility</p:attrName>
                                        </p:attrNameLst>
                                      </p:cBhvr>
                                      <p:to>
                                        <p:strVal val="visible"/>
                                      </p:to>
                                    </p:set>
                                    <p:animEffect transition="in" filter="fade">
                                      <p:cBhvr>
                                        <p:cTn id="123" dur="500"/>
                                        <p:tgtEl>
                                          <p:spTgt spid="14"/>
                                        </p:tgtEl>
                                      </p:cBhvr>
                                    </p:animEffect>
                                  </p:childTnLst>
                                </p:cTn>
                              </p:par>
                            </p:childTnLst>
                          </p:cTn>
                        </p:par>
                        <p:par>
                          <p:cTn id="124" fill="hold">
                            <p:stCondLst>
                              <p:cond delay="15000"/>
                            </p:stCondLst>
                            <p:childTnLst>
                              <p:par>
                                <p:cTn id="125" presetID="10" presetClass="entr" presetSubtype="0" fill="hold" grpId="0" nodeType="afterEffect">
                                  <p:stCondLst>
                                    <p:cond delay="0"/>
                                  </p:stCondLst>
                                  <p:childTnLst>
                                    <p:set>
                                      <p:cBhvr>
                                        <p:cTn id="126" dur="1" fill="hold">
                                          <p:stCondLst>
                                            <p:cond delay="0"/>
                                          </p:stCondLst>
                                        </p:cTn>
                                        <p:tgtEl>
                                          <p:spTgt spid="2"/>
                                        </p:tgtEl>
                                        <p:attrNameLst>
                                          <p:attrName>style.visibility</p:attrName>
                                        </p:attrNameLst>
                                      </p:cBhvr>
                                      <p:to>
                                        <p:strVal val="visible"/>
                                      </p:to>
                                    </p:set>
                                    <p:animEffect transition="in" filter="fade">
                                      <p:cBhvr>
                                        <p:cTn id="12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347" grpId="0"/>
      <p:bldP spid="14349" grpId="0"/>
      <p:bldP spid="149" grpId="0"/>
      <p:bldP spid="151" grpId="0"/>
      <p:bldP spid="153" grpId="0"/>
      <p:bldP spid="154" grpId="0"/>
      <p:bldP spid="156" grpId="0"/>
      <p:bldP spid="157" grpId="0"/>
      <p:bldP spid="158" grpId="0"/>
      <p:bldP spid="159" grpId="0"/>
      <p:bldP spid="160" grpId="0"/>
      <p:bldP spid="161" grpId="0"/>
      <p:bldP spid="162" grpId="0"/>
      <p:bldP spid="162" grpId="1"/>
      <p:bldP spid="165" grpId="0"/>
      <p:bldP spid="165" grpId="1"/>
      <p:bldP spid="166" grpId="0"/>
      <p:bldP spid="166" grpId="1"/>
      <p:bldP spid="169" grpId="0"/>
      <p:bldP spid="169" grpId="1"/>
      <p:bldP spid="170" grpId="0"/>
      <p:bldP spid="170" grpId="1"/>
      <p:bldP spid="127" grpId="0" animBg="1"/>
      <p:bldP spid="129" grpId="0" animBg="1"/>
      <p:bldP spid="145" grpId="0"/>
      <p:bldP spid="2" grpId="0" animBg="1"/>
      <p:bldP spid="119"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341" name="Group 240"/>
          <p:cNvGrpSpPr>
            <a:grpSpLocks/>
          </p:cNvGrpSpPr>
          <p:nvPr/>
        </p:nvGrpSpPr>
        <p:grpSpPr bwMode="auto">
          <a:xfrm>
            <a:off x="-9525" y="874713"/>
            <a:ext cx="9072563" cy="5578623"/>
            <a:chOff x="-18727" y="874800"/>
            <a:chExt cx="9246332" cy="5578528"/>
          </a:xfrm>
        </p:grpSpPr>
        <p:sp>
          <p:nvSpPr>
            <p:cNvPr id="6" name="Round Same Side Corner Rectangle 5"/>
            <p:cNvSpPr>
              <a:spLocks/>
            </p:cNvSpPr>
            <p:nvPr/>
          </p:nvSpPr>
          <p:spPr bwMode="auto">
            <a:xfrm rot="5400000">
              <a:off x="-1216902" y="2281238"/>
              <a:ext cx="4460797" cy="2032090"/>
            </a:xfrm>
            <a:custGeom>
              <a:avLst/>
              <a:gdLst>
                <a:gd name="T0" fmla="*/ 72581 w 4460797"/>
                <a:gd name="T1" fmla="*/ 0 h 2031933"/>
                <a:gd name="T2" fmla="*/ 4388216 w 4460797"/>
                <a:gd name="T3" fmla="*/ 0 h 2031933"/>
                <a:gd name="T4" fmla="*/ 4460797 w 4460797"/>
                <a:gd name="T5" fmla="*/ 72581 h 2031933"/>
                <a:gd name="T6" fmla="*/ 4460797 w 4460797"/>
                <a:gd name="T7" fmla="*/ 2031933 h 2031933"/>
                <a:gd name="T8" fmla="*/ 4460797 w 4460797"/>
                <a:gd name="T9" fmla="*/ 2031933 h 2031933"/>
                <a:gd name="T10" fmla="*/ 0 w 4460797"/>
                <a:gd name="T11" fmla="*/ 2031933 h 2031933"/>
                <a:gd name="T12" fmla="*/ 0 w 4460797"/>
                <a:gd name="T13" fmla="*/ 2031933 h 2031933"/>
                <a:gd name="T14" fmla="*/ 0 w 4460797"/>
                <a:gd name="T15" fmla="*/ 72581 h 2031933"/>
                <a:gd name="T16" fmla="*/ 72581 w 4460797"/>
                <a:gd name="T17" fmla="*/ 0 h 20319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460797" h="2031933">
                  <a:moveTo>
                    <a:pt x="72581" y="0"/>
                  </a:moveTo>
                  <a:lnTo>
                    <a:pt x="4388216" y="0"/>
                  </a:lnTo>
                  <a:cubicBezTo>
                    <a:pt x="4428301" y="0"/>
                    <a:pt x="4460797" y="32496"/>
                    <a:pt x="4460797" y="72581"/>
                  </a:cubicBezTo>
                  <a:lnTo>
                    <a:pt x="4460797" y="2031933"/>
                  </a:lnTo>
                  <a:lnTo>
                    <a:pt x="0" y="2031933"/>
                  </a:lnTo>
                  <a:lnTo>
                    <a:pt x="0" y="72581"/>
                  </a:lnTo>
                  <a:cubicBezTo>
                    <a:pt x="0" y="32496"/>
                    <a:pt x="32496" y="0"/>
                    <a:pt x="72581" y="0"/>
                  </a:cubicBezTo>
                  <a:close/>
                </a:path>
              </a:pathLst>
            </a:custGeom>
            <a:solidFill>
              <a:srgbClr val="0D0D0D"/>
            </a:solidFill>
            <a:ln>
              <a:noFill/>
            </a:ln>
            <a:effectLst>
              <a:outerShdw blurRad="40000" dist="23000" dir="5400000" rotWithShape="0">
                <a:srgbClr val="000000">
                  <a:alpha val="34999"/>
                </a:srgbClr>
              </a:outerShdw>
            </a:effectLst>
            <a:extLst>
              <a:ext uri="{91240B29-F687-4F45-9708-019B960494DF}">
                <a14:hiddenLine xmlns:a14="http://schemas.microsoft.com/office/drawing/2010/main" w="9525" cap="flat" cmpd="sng">
                  <a:solidFill>
                    <a:srgbClr val="000000"/>
                  </a:solidFill>
                  <a:prstDash val="solid"/>
                  <a:round/>
                  <a:headEnd/>
                  <a:tailEnd/>
                </a14:hiddenLine>
              </a:ext>
            </a:extLst>
          </p:spPr>
          <p:txBody>
            <a:bodyPr anchor="ctr"/>
            <a:lstStyle/>
            <a:p>
              <a:pPr defTabSz="457200" fontAlgn="base">
                <a:spcBef>
                  <a:spcPct val="0"/>
                </a:spcBef>
                <a:spcAft>
                  <a:spcPct val="0"/>
                </a:spcAft>
                <a:defRPr/>
              </a:pPr>
              <a:endParaRPr lang="tr-TR" sz="1600">
                <a:solidFill>
                  <a:prstClr val="black"/>
                </a:solidFill>
                <a:ea typeface="MS PGothic" pitchFamily="34" charset="-128"/>
              </a:endParaRPr>
            </a:p>
          </p:txBody>
        </p:sp>
        <p:sp>
          <p:nvSpPr>
            <p:cNvPr id="7" name="Rounded Rectangle 6"/>
            <p:cNvSpPr>
              <a:spLocks noChangeArrowheads="1"/>
            </p:cNvSpPr>
            <p:nvPr/>
          </p:nvSpPr>
          <p:spPr bwMode="auto">
            <a:xfrm>
              <a:off x="2196187" y="1116096"/>
              <a:ext cx="6667389" cy="4389361"/>
            </a:xfrm>
            <a:prstGeom prst="roundRect">
              <a:avLst>
                <a:gd name="adj" fmla="val 2741"/>
              </a:avLst>
            </a:prstGeom>
            <a:solidFill>
              <a:srgbClr val="0D0D0D"/>
            </a:solidFill>
            <a:ln>
              <a:noFill/>
            </a:ln>
            <a:effectLst>
              <a:outerShdw blurRad="40000" dist="23000" dir="5400000" rotWithShape="0">
                <a:srgbClr val="808080">
                  <a:alpha val="34999"/>
                </a:srgbClr>
              </a:outerShdw>
            </a:effectLst>
            <a:extLst>
              <a:ext uri="{91240B29-F687-4F45-9708-019B960494DF}">
                <a14:hiddenLine xmlns:a14="http://schemas.microsoft.com/office/drawing/2010/main" w="9525">
                  <a:solidFill>
                    <a:srgbClr val="000000"/>
                  </a:solidFill>
                  <a:round/>
                  <a:headEnd/>
                  <a:tailEnd/>
                </a14:hiddenLine>
              </a:ext>
            </a:extLst>
          </p:spPr>
          <p:txBody>
            <a:bodyPr anchor="ctr"/>
            <a:lstStyle/>
            <a:p>
              <a:pPr algn="ctr" defTabSz="457200" fontAlgn="base">
                <a:spcBef>
                  <a:spcPct val="0"/>
                </a:spcBef>
                <a:spcAft>
                  <a:spcPct val="0"/>
                </a:spcAft>
                <a:defRPr/>
              </a:pPr>
              <a:endParaRPr lang="en-US" sz="1600">
                <a:solidFill>
                  <a:srgbClr val="FFFFFF"/>
                </a:solidFill>
                <a:ea typeface="ＭＳ Ｐゴシック" charset="0"/>
                <a:cs typeface="ＭＳ Ｐゴシック" charset="0"/>
              </a:endParaRPr>
            </a:p>
          </p:txBody>
        </p:sp>
        <p:sp>
          <p:nvSpPr>
            <p:cNvPr id="9" name="Oval 8"/>
            <p:cNvSpPr>
              <a:spLocks noChangeArrowheads="1"/>
            </p:cNvSpPr>
            <p:nvPr/>
          </p:nvSpPr>
          <p:spPr bwMode="auto">
            <a:xfrm>
              <a:off x="2026052" y="6283469"/>
              <a:ext cx="6880954" cy="169859"/>
            </a:xfrm>
            <a:prstGeom prst="ellipse">
              <a:avLst/>
            </a:prstGeom>
            <a:gradFill rotWithShape="1">
              <a:gsLst>
                <a:gs pos="0">
                  <a:srgbClr val="0D0D0D">
                    <a:alpha val="47000"/>
                  </a:srgbClr>
                </a:gs>
                <a:gs pos="100000">
                  <a:srgbClr val="9BC1FF">
                    <a:alpha val="0"/>
                  </a:srgbClr>
                </a:gs>
              </a:gsLst>
              <a:path path="shape">
                <a:fillToRect l="50000" t="50000" r="50000" b="50000"/>
              </a:path>
            </a:gradFill>
            <a:ln w="9525">
              <a:noFill/>
              <a:round/>
              <a:headEnd/>
              <a:tailEnd/>
            </a:ln>
            <a:effectLst>
              <a:outerShdw blurRad="63500" dist="23000" dir="5400000" rotWithShape="0">
                <a:srgbClr val="000000">
                  <a:alpha val="34999"/>
                </a:srgbClr>
              </a:outerShdw>
            </a:effectLst>
          </p:spPr>
          <p:txBody>
            <a:bodyPr anchor="ctr"/>
            <a:lstStyle/>
            <a:p>
              <a:pPr algn="ctr" defTabSz="457200" fontAlgn="base">
                <a:spcBef>
                  <a:spcPct val="0"/>
                </a:spcBef>
                <a:spcAft>
                  <a:spcPct val="0"/>
                </a:spcAft>
                <a:defRPr/>
              </a:pPr>
              <a:endParaRPr lang="en-US" sz="1600">
                <a:solidFill>
                  <a:srgbClr val="FFFFFF"/>
                </a:solidFill>
                <a:ea typeface="ＭＳ Ｐゴシック" charset="0"/>
                <a:cs typeface="Arial" charset="0"/>
              </a:endParaRPr>
            </a:p>
          </p:txBody>
        </p:sp>
        <p:sp>
          <p:nvSpPr>
            <p:cNvPr id="10" name="Round Same Side Corner Rectangle 9"/>
            <p:cNvSpPr>
              <a:spLocks/>
            </p:cNvSpPr>
            <p:nvPr/>
          </p:nvSpPr>
          <p:spPr bwMode="auto">
            <a:xfrm rot="5400000">
              <a:off x="-1135116" y="2320131"/>
              <a:ext cx="4300462" cy="2032090"/>
            </a:xfrm>
            <a:custGeom>
              <a:avLst/>
              <a:gdLst>
                <a:gd name="T0" fmla="*/ 72581 w 4300462"/>
                <a:gd name="T1" fmla="*/ 0 h 2031932"/>
                <a:gd name="T2" fmla="*/ 4227881 w 4300462"/>
                <a:gd name="T3" fmla="*/ 0 h 2031932"/>
                <a:gd name="T4" fmla="*/ 4300462 w 4300462"/>
                <a:gd name="T5" fmla="*/ 72581 h 2031932"/>
                <a:gd name="T6" fmla="*/ 4300462 w 4300462"/>
                <a:gd name="T7" fmla="*/ 2031932 h 2031932"/>
                <a:gd name="T8" fmla="*/ 4300462 w 4300462"/>
                <a:gd name="T9" fmla="*/ 2031932 h 2031932"/>
                <a:gd name="T10" fmla="*/ 0 w 4300462"/>
                <a:gd name="T11" fmla="*/ 2031932 h 2031932"/>
                <a:gd name="T12" fmla="*/ 0 w 4300462"/>
                <a:gd name="T13" fmla="*/ 2031932 h 2031932"/>
                <a:gd name="T14" fmla="*/ 0 w 4300462"/>
                <a:gd name="T15" fmla="*/ 72581 h 2031932"/>
                <a:gd name="T16" fmla="*/ 72581 w 4300462"/>
                <a:gd name="T17" fmla="*/ 0 h 203193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300462" h="2031932">
                  <a:moveTo>
                    <a:pt x="72581" y="0"/>
                  </a:moveTo>
                  <a:lnTo>
                    <a:pt x="4227881" y="0"/>
                  </a:lnTo>
                  <a:cubicBezTo>
                    <a:pt x="4267966" y="0"/>
                    <a:pt x="4300462" y="32496"/>
                    <a:pt x="4300462" y="72581"/>
                  </a:cubicBezTo>
                  <a:lnTo>
                    <a:pt x="4300462" y="2031932"/>
                  </a:lnTo>
                  <a:lnTo>
                    <a:pt x="0" y="2031932"/>
                  </a:lnTo>
                  <a:lnTo>
                    <a:pt x="0" y="72581"/>
                  </a:lnTo>
                  <a:cubicBezTo>
                    <a:pt x="0" y="32496"/>
                    <a:pt x="32496" y="0"/>
                    <a:pt x="72581" y="0"/>
                  </a:cubicBezTo>
                  <a:close/>
                </a:path>
              </a:pathLst>
            </a:custGeom>
            <a:gradFill rotWithShape="1">
              <a:gsLst>
                <a:gs pos="0">
                  <a:schemeClr val="bg1"/>
                </a:gs>
                <a:gs pos="100000">
                  <a:srgbClr val="D9D9D9"/>
                </a:gs>
              </a:gsLst>
              <a:lin ang="0"/>
            </a:gradFill>
            <a:ln>
              <a:noFill/>
            </a:ln>
            <a:effectLst>
              <a:outerShdw blurRad="40000" dist="23000" dir="5400000" rotWithShape="0">
                <a:srgbClr val="000000">
                  <a:alpha val="34999"/>
                </a:srgbClr>
              </a:outerShdw>
            </a:effectLst>
            <a:extLst>
              <a:ext uri="{91240B29-F687-4F45-9708-019B960494DF}">
                <a14:hiddenLine xmlns:a14="http://schemas.microsoft.com/office/drawing/2010/main" w="9525" cap="flat" cmpd="sng">
                  <a:solidFill>
                    <a:srgbClr val="000000"/>
                  </a:solidFill>
                  <a:prstDash val="solid"/>
                  <a:round/>
                  <a:headEnd/>
                  <a:tailEnd/>
                </a14:hiddenLine>
              </a:ext>
            </a:extLst>
          </p:spPr>
          <p:txBody>
            <a:bodyPr anchor="ctr"/>
            <a:lstStyle/>
            <a:p>
              <a:pPr defTabSz="457200" fontAlgn="base">
                <a:spcBef>
                  <a:spcPct val="0"/>
                </a:spcBef>
                <a:spcAft>
                  <a:spcPct val="0"/>
                </a:spcAft>
                <a:defRPr/>
              </a:pPr>
              <a:endParaRPr lang="tr-TR" sz="1600">
                <a:solidFill>
                  <a:prstClr val="black"/>
                </a:solidFill>
                <a:ea typeface="MS PGothic" pitchFamily="34" charset="-128"/>
              </a:endParaRPr>
            </a:p>
          </p:txBody>
        </p:sp>
        <p:sp>
          <p:nvSpPr>
            <p:cNvPr id="11" name="Rounded Rectangle 10"/>
            <p:cNvSpPr>
              <a:spLocks noChangeArrowheads="1"/>
            </p:cNvSpPr>
            <p:nvPr/>
          </p:nvSpPr>
          <p:spPr bwMode="auto">
            <a:xfrm>
              <a:off x="2351505" y="1187532"/>
              <a:ext cx="6876100" cy="4268714"/>
            </a:xfrm>
            <a:prstGeom prst="roundRect">
              <a:avLst>
                <a:gd name="adj" fmla="val 2741"/>
              </a:avLst>
            </a:prstGeom>
            <a:gradFill rotWithShape="1">
              <a:gsLst>
                <a:gs pos="0">
                  <a:schemeClr val="bg1"/>
                </a:gs>
                <a:gs pos="100000">
                  <a:srgbClr val="D9D9D9"/>
                </a:gs>
              </a:gsLst>
              <a:lin ang="5400000"/>
            </a:gradFill>
            <a:ln>
              <a:noFill/>
            </a:ln>
            <a:effectLst>
              <a:outerShdw blurRad="40000" dist="23000" dir="5400000" rotWithShape="0">
                <a:srgbClr val="808080">
                  <a:alpha val="34999"/>
                </a:srgbClr>
              </a:outerShdw>
            </a:effectLst>
            <a:extLst>
              <a:ext uri="{91240B29-F687-4F45-9708-019B960494DF}">
                <a14:hiddenLine xmlns:a14="http://schemas.microsoft.com/office/drawing/2010/main" w="9525">
                  <a:solidFill>
                    <a:srgbClr val="000000"/>
                  </a:solidFill>
                  <a:round/>
                  <a:headEnd/>
                  <a:tailEnd/>
                </a14:hiddenLine>
              </a:ext>
            </a:extLst>
          </p:spPr>
          <p:txBody>
            <a:bodyPr anchor="ctr"/>
            <a:lstStyle/>
            <a:p>
              <a:pPr algn="ctr" defTabSz="457200" fontAlgn="base">
                <a:spcBef>
                  <a:spcPct val="0"/>
                </a:spcBef>
                <a:spcAft>
                  <a:spcPct val="0"/>
                </a:spcAft>
                <a:defRPr/>
              </a:pPr>
              <a:endParaRPr lang="en-US" sz="1600">
                <a:solidFill>
                  <a:srgbClr val="FFFFFF"/>
                </a:solidFill>
                <a:ea typeface="ＭＳ Ｐゴシック" charset="0"/>
                <a:cs typeface="ＭＳ Ｐゴシック" charset="0"/>
              </a:endParaRPr>
            </a:p>
          </p:txBody>
        </p:sp>
        <p:sp>
          <p:nvSpPr>
            <p:cNvPr id="12" name="Rounded Rectangle 11"/>
            <p:cNvSpPr>
              <a:spLocks noChangeArrowheads="1"/>
            </p:cNvSpPr>
            <p:nvPr/>
          </p:nvSpPr>
          <p:spPr bwMode="auto">
            <a:xfrm>
              <a:off x="2133088" y="1171657"/>
              <a:ext cx="6596202" cy="4267126"/>
            </a:xfrm>
            <a:prstGeom prst="roundRect">
              <a:avLst>
                <a:gd name="adj" fmla="val 2741"/>
              </a:avLst>
            </a:prstGeom>
            <a:gradFill rotWithShape="1">
              <a:gsLst>
                <a:gs pos="0">
                  <a:schemeClr val="bg1"/>
                </a:gs>
                <a:gs pos="100000">
                  <a:srgbClr val="D9D9D9"/>
                </a:gs>
              </a:gsLst>
              <a:lin ang="5400000"/>
            </a:gradFill>
            <a:ln>
              <a:noFill/>
            </a:ln>
            <a:effectLst>
              <a:outerShdw blurRad="40000" dist="23000" dir="5400000" rotWithShape="0">
                <a:srgbClr val="808080">
                  <a:alpha val="34999"/>
                </a:srgbClr>
              </a:outerShdw>
            </a:effectLst>
            <a:extLst>
              <a:ext uri="{91240B29-F687-4F45-9708-019B960494DF}">
                <a14:hiddenLine xmlns:a14="http://schemas.microsoft.com/office/drawing/2010/main" w="9525">
                  <a:solidFill>
                    <a:srgbClr val="000000"/>
                  </a:solidFill>
                  <a:round/>
                  <a:headEnd/>
                  <a:tailEnd/>
                </a14:hiddenLine>
              </a:ext>
            </a:extLst>
          </p:spPr>
          <p:txBody>
            <a:bodyPr anchor="ctr"/>
            <a:lstStyle/>
            <a:p>
              <a:pPr algn="ctr" defTabSz="457200" fontAlgn="base">
                <a:spcBef>
                  <a:spcPct val="0"/>
                </a:spcBef>
                <a:spcAft>
                  <a:spcPct val="0"/>
                </a:spcAft>
                <a:defRPr/>
              </a:pPr>
              <a:endParaRPr lang="en-US" sz="1600">
                <a:solidFill>
                  <a:srgbClr val="FFFFFF"/>
                </a:solidFill>
                <a:ea typeface="ＭＳ Ｐゴシック" charset="0"/>
                <a:cs typeface="ＭＳ Ｐゴシック" charset="0"/>
              </a:endParaRPr>
            </a:p>
          </p:txBody>
        </p:sp>
        <p:sp>
          <p:nvSpPr>
            <p:cNvPr id="13" name="Round Same Side Corner Rectangle 12"/>
            <p:cNvSpPr/>
            <p:nvPr/>
          </p:nvSpPr>
          <p:spPr>
            <a:xfrm>
              <a:off x="-930" y="914486"/>
              <a:ext cx="2001349" cy="250821"/>
            </a:xfrm>
            <a:prstGeom prst="round2SameRect">
              <a:avLst/>
            </a:prstGeom>
            <a:gradFill rotWithShape="1">
              <a:gsLst>
                <a:gs pos="0">
                  <a:schemeClr val="tx2">
                    <a:lumMod val="60000"/>
                    <a:lumOff val="40000"/>
                  </a:schemeClr>
                </a:gs>
                <a:gs pos="100000">
                  <a:schemeClr val="tx2">
                    <a:lumMod val="40000"/>
                    <a:lumOff val="60000"/>
                  </a:schemeClr>
                </a:gs>
              </a:gsLst>
              <a:lin ang="16200000" scaled="0"/>
            </a:gradFill>
            <a:ln w="9525" cap="flat" cmpd="sng" algn="ctr">
              <a:noFill/>
              <a:prstDash val="solid"/>
            </a:ln>
            <a:effectLst/>
          </p:spPr>
          <p:txBody>
            <a:bodyPr anchor="ctr"/>
            <a:lstStyle/>
            <a:p>
              <a:pPr algn="ctr" fontAlgn="base">
                <a:spcBef>
                  <a:spcPct val="0"/>
                </a:spcBef>
                <a:spcAft>
                  <a:spcPct val="0"/>
                </a:spcAft>
                <a:defRPr/>
              </a:pPr>
              <a:endParaRPr lang="en-US" sz="1600">
                <a:solidFill>
                  <a:srgbClr val="FFFFFF"/>
                </a:solidFill>
                <a:ea typeface="ＭＳ Ｐゴシック" charset="0"/>
                <a:cs typeface="ＭＳ Ｐゴシック" charset="0"/>
              </a:endParaRPr>
            </a:p>
          </p:txBody>
        </p:sp>
        <p:sp>
          <p:nvSpPr>
            <p:cNvPr id="14368" name="TextBox 51"/>
            <p:cNvSpPr txBox="1">
              <a:spLocks noChangeArrowheads="1"/>
            </p:cNvSpPr>
            <p:nvPr/>
          </p:nvSpPr>
          <p:spPr bwMode="auto">
            <a:xfrm>
              <a:off x="228337" y="874800"/>
              <a:ext cx="968342" cy="3385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Calibri" pitchFamily="34" charset="0"/>
                  <a:ea typeface="MS PGothic" pitchFamily="34" charset="-128"/>
                </a:defRPr>
              </a:lvl9pPr>
            </a:lstStyle>
            <a:p>
              <a:pPr eaLnBrk="1" fontAlgn="base" hangingPunct="1">
                <a:spcBef>
                  <a:spcPct val="0"/>
                </a:spcBef>
                <a:spcAft>
                  <a:spcPct val="0"/>
                </a:spcAft>
              </a:pPr>
              <a:endParaRPr lang="en-US" sz="1600" smtClean="0">
                <a:solidFill>
                  <a:srgbClr val="FFFFFF"/>
                </a:solidFill>
              </a:endParaRPr>
            </a:p>
          </p:txBody>
        </p:sp>
        <p:sp>
          <p:nvSpPr>
            <p:cNvPr id="15" name="Round Same Side Corner Rectangle 14"/>
            <p:cNvSpPr>
              <a:spLocks/>
            </p:cNvSpPr>
            <p:nvPr/>
          </p:nvSpPr>
          <p:spPr bwMode="auto">
            <a:xfrm rot="5400000">
              <a:off x="-1436032" y="2557213"/>
              <a:ext cx="4866699" cy="2032090"/>
            </a:xfrm>
            <a:custGeom>
              <a:avLst/>
              <a:gdLst>
                <a:gd name="T0" fmla="*/ 72581 w 4298875"/>
                <a:gd name="T1" fmla="*/ 0 h 2031932"/>
                <a:gd name="T2" fmla="*/ 4226294 w 4298875"/>
                <a:gd name="T3" fmla="*/ 0 h 2031932"/>
                <a:gd name="T4" fmla="*/ 4298875 w 4298875"/>
                <a:gd name="T5" fmla="*/ 72581 h 2031932"/>
                <a:gd name="T6" fmla="*/ 4298875 w 4298875"/>
                <a:gd name="T7" fmla="*/ 2031932 h 2031932"/>
                <a:gd name="T8" fmla="*/ 4298875 w 4298875"/>
                <a:gd name="T9" fmla="*/ 2031932 h 2031932"/>
                <a:gd name="T10" fmla="*/ 0 w 4298875"/>
                <a:gd name="T11" fmla="*/ 2031932 h 2031932"/>
                <a:gd name="T12" fmla="*/ 0 w 4298875"/>
                <a:gd name="T13" fmla="*/ 2031932 h 2031932"/>
                <a:gd name="T14" fmla="*/ 0 w 4298875"/>
                <a:gd name="T15" fmla="*/ 72581 h 2031932"/>
                <a:gd name="T16" fmla="*/ 72581 w 4298875"/>
                <a:gd name="T17" fmla="*/ 0 h 203193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298875" h="2031932">
                  <a:moveTo>
                    <a:pt x="72581" y="0"/>
                  </a:moveTo>
                  <a:lnTo>
                    <a:pt x="4226294" y="0"/>
                  </a:lnTo>
                  <a:cubicBezTo>
                    <a:pt x="4266379" y="0"/>
                    <a:pt x="4298875" y="32496"/>
                    <a:pt x="4298875" y="72581"/>
                  </a:cubicBezTo>
                  <a:lnTo>
                    <a:pt x="4298875" y="2031932"/>
                  </a:lnTo>
                  <a:lnTo>
                    <a:pt x="0" y="2031932"/>
                  </a:lnTo>
                  <a:lnTo>
                    <a:pt x="0" y="72581"/>
                  </a:lnTo>
                  <a:cubicBezTo>
                    <a:pt x="0" y="32496"/>
                    <a:pt x="32496" y="0"/>
                    <a:pt x="72581" y="0"/>
                  </a:cubicBezTo>
                  <a:close/>
                </a:path>
              </a:pathLst>
            </a:custGeom>
            <a:gradFill rotWithShape="1">
              <a:gsLst>
                <a:gs pos="0">
                  <a:schemeClr val="bg1"/>
                </a:gs>
                <a:gs pos="100000">
                  <a:srgbClr val="D9D9D9"/>
                </a:gs>
              </a:gsLst>
              <a:lin ang="0"/>
            </a:gradFill>
            <a:ln>
              <a:noFill/>
            </a:ln>
            <a:effectLst>
              <a:outerShdw blurRad="40000" dist="23000" dir="5400000" rotWithShape="0">
                <a:srgbClr val="000000">
                  <a:alpha val="34999"/>
                </a:srgbClr>
              </a:outerShdw>
            </a:effectLst>
            <a:extLst>
              <a:ext uri="{91240B29-F687-4F45-9708-019B960494DF}">
                <a14:hiddenLine xmlns:a14="http://schemas.microsoft.com/office/drawing/2010/main" w="9525" cap="flat" cmpd="sng">
                  <a:solidFill>
                    <a:srgbClr val="000000"/>
                  </a:solidFill>
                  <a:prstDash val="solid"/>
                  <a:round/>
                  <a:headEnd/>
                  <a:tailEnd/>
                </a14:hiddenLine>
              </a:ext>
            </a:extLst>
          </p:spPr>
          <p:txBody>
            <a:bodyPr anchor="ctr"/>
            <a:lstStyle/>
            <a:p>
              <a:pPr defTabSz="457200" fontAlgn="base">
                <a:spcBef>
                  <a:spcPct val="0"/>
                </a:spcBef>
                <a:spcAft>
                  <a:spcPct val="0"/>
                </a:spcAft>
                <a:defRPr/>
              </a:pPr>
              <a:endParaRPr lang="tr-TR" sz="1600">
                <a:solidFill>
                  <a:prstClr val="black"/>
                </a:solidFill>
                <a:ea typeface="MS PGothic" pitchFamily="34" charset="-128"/>
              </a:endParaRPr>
            </a:p>
          </p:txBody>
        </p:sp>
        <p:sp>
          <p:nvSpPr>
            <p:cNvPr id="16" name="Rounded Rectangle 20"/>
            <p:cNvSpPr>
              <a:spLocks noChangeArrowheads="1"/>
            </p:cNvSpPr>
            <p:nvPr/>
          </p:nvSpPr>
          <p:spPr bwMode="auto">
            <a:xfrm>
              <a:off x="2091022" y="1141496"/>
              <a:ext cx="7136583" cy="4832550"/>
            </a:xfrm>
            <a:prstGeom prst="roundRect">
              <a:avLst>
                <a:gd name="adj" fmla="val 2741"/>
              </a:avLst>
            </a:prstGeom>
            <a:gradFill rotWithShape="1">
              <a:gsLst>
                <a:gs pos="0">
                  <a:schemeClr val="bg1"/>
                </a:gs>
                <a:gs pos="100000">
                  <a:srgbClr val="D9D9D9"/>
                </a:gs>
              </a:gsLst>
              <a:lin ang="5400000"/>
            </a:gradFill>
            <a:ln>
              <a:noFill/>
            </a:ln>
            <a:effectLst>
              <a:outerShdw blurRad="40000" dist="23000" dir="5400000" rotWithShape="0">
                <a:srgbClr val="808080">
                  <a:alpha val="34999"/>
                </a:srgbClr>
              </a:outerShdw>
            </a:effectLst>
            <a:extLst>
              <a:ext uri="{91240B29-F687-4F45-9708-019B960494DF}">
                <a14:hiddenLine xmlns:a14="http://schemas.microsoft.com/office/drawing/2010/main" w="9525">
                  <a:solidFill>
                    <a:srgbClr val="000000"/>
                  </a:solidFill>
                  <a:round/>
                  <a:headEnd/>
                  <a:tailEnd/>
                </a14:hiddenLine>
              </a:ext>
            </a:extLst>
          </p:spPr>
          <p:txBody>
            <a:bodyPr anchor="ctr"/>
            <a:lstStyle/>
            <a:p>
              <a:pPr algn="ctr" defTabSz="457200" fontAlgn="base">
                <a:spcBef>
                  <a:spcPct val="0"/>
                </a:spcBef>
                <a:spcAft>
                  <a:spcPct val="0"/>
                </a:spcAft>
                <a:defRPr/>
              </a:pPr>
              <a:endParaRPr lang="en-US" sz="1600">
                <a:solidFill>
                  <a:srgbClr val="FFFFFF"/>
                </a:solidFill>
                <a:ea typeface="ＭＳ Ｐゴシック" charset="0"/>
                <a:cs typeface="ＭＳ Ｐゴシック" charset="0"/>
              </a:endParaRPr>
            </a:p>
          </p:txBody>
        </p:sp>
        <p:grpSp>
          <p:nvGrpSpPr>
            <p:cNvPr id="14371" name="Group 17"/>
            <p:cNvGrpSpPr>
              <a:grpSpLocks/>
            </p:cNvGrpSpPr>
            <p:nvPr/>
          </p:nvGrpSpPr>
          <p:grpSpPr bwMode="auto">
            <a:xfrm>
              <a:off x="2122152" y="1517726"/>
              <a:ext cx="6971812" cy="3063822"/>
              <a:chOff x="2122069" y="1517726"/>
              <a:chExt cx="6209230" cy="3063822"/>
            </a:xfrm>
          </p:grpSpPr>
          <p:cxnSp>
            <p:nvCxnSpPr>
              <p:cNvPr id="19" name="Straight Connector 18"/>
              <p:cNvCxnSpPr/>
              <p:nvPr/>
            </p:nvCxnSpPr>
            <p:spPr>
              <a:xfrm>
                <a:off x="2121722" y="1517726"/>
                <a:ext cx="6209001" cy="1588"/>
              </a:xfrm>
              <a:prstGeom prst="line">
                <a:avLst/>
              </a:prstGeom>
              <a:ln w="12700" cap="flat" cmpd="sng" algn="ctr">
                <a:solidFill>
                  <a:schemeClr val="tx1">
                    <a:lumMod val="65000"/>
                    <a:lumOff val="35000"/>
                  </a:schemeClr>
                </a:solidFill>
                <a:prstDash val="sysDash"/>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nvCxnSpPr>
            <p:spPr>
              <a:xfrm>
                <a:off x="2121722" y="1893957"/>
                <a:ext cx="6209001" cy="1587"/>
              </a:xfrm>
              <a:prstGeom prst="line">
                <a:avLst/>
              </a:prstGeom>
              <a:ln w="12700" cap="flat" cmpd="sng" algn="ctr">
                <a:solidFill>
                  <a:schemeClr val="tx1">
                    <a:lumMod val="65000"/>
                    <a:lumOff val="35000"/>
                  </a:schemeClr>
                </a:solidFill>
                <a:prstDash val="sysDash"/>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a:off x="2121722" y="2292413"/>
                <a:ext cx="6209001" cy="1588"/>
              </a:xfrm>
              <a:prstGeom prst="line">
                <a:avLst/>
              </a:prstGeom>
              <a:ln w="12700" cap="flat" cmpd="sng" algn="ctr">
                <a:solidFill>
                  <a:schemeClr val="tx1">
                    <a:lumMod val="65000"/>
                    <a:lumOff val="35000"/>
                  </a:schemeClr>
                </a:solidFill>
                <a:prstDash val="sysDash"/>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p:nvCxnSpPr>
            <p:spPr>
              <a:xfrm>
                <a:off x="2121722" y="2670231"/>
                <a:ext cx="6209001" cy="1588"/>
              </a:xfrm>
              <a:prstGeom prst="line">
                <a:avLst/>
              </a:prstGeom>
              <a:ln w="12700" cap="flat" cmpd="sng" algn="ctr">
                <a:solidFill>
                  <a:schemeClr val="tx1">
                    <a:lumMod val="65000"/>
                    <a:lumOff val="35000"/>
                  </a:schemeClr>
                </a:solidFill>
                <a:prstDash val="sysDash"/>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p:nvCxnSpPr>
            <p:spPr>
              <a:xfrm>
                <a:off x="2121722" y="3048050"/>
                <a:ext cx="6209001" cy="1588"/>
              </a:xfrm>
              <a:prstGeom prst="line">
                <a:avLst/>
              </a:prstGeom>
              <a:ln w="12700" cap="flat" cmpd="sng" algn="ctr">
                <a:solidFill>
                  <a:schemeClr val="tx1">
                    <a:lumMod val="65000"/>
                    <a:lumOff val="35000"/>
                  </a:schemeClr>
                </a:solidFill>
                <a:prstDash val="sysDash"/>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p:nvCxnSpPr>
            <p:spPr>
              <a:xfrm>
                <a:off x="2121722" y="3427456"/>
                <a:ext cx="6209001" cy="1587"/>
              </a:xfrm>
              <a:prstGeom prst="line">
                <a:avLst/>
              </a:prstGeom>
              <a:ln w="12700" cap="flat" cmpd="sng" algn="ctr">
                <a:solidFill>
                  <a:schemeClr val="tx1">
                    <a:lumMod val="65000"/>
                    <a:lumOff val="35000"/>
                  </a:schemeClr>
                </a:solidFill>
                <a:prstDash val="sysDash"/>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p:nvCxnSpPr>
            <p:spPr>
              <a:xfrm>
                <a:off x="2121722" y="3805274"/>
                <a:ext cx="6209001" cy="1587"/>
              </a:xfrm>
              <a:prstGeom prst="line">
                <a:avLst/>
              </a:prstGeom>
              <a:ln w="12700" cap="flat" cmpd="sng" algn="ctr">
                <a:solidFill>
                  <a:schemeClr val="tx1">
                    <a:lumMod val="65000"/>
                    <a:lumOff val="35000"/>
                  </a:schemeClr>
                </a:solidFill>
                <a:prstDash val="sysDash"/>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p:nvCxnSpPr>
            <p:spPr>
              <a:xfrm>
                <a:off x="2121722" y="4183093"/>
                <a:ext cx="6209001" cy="1587"/>
              </a:xfrm>
              <a:prstGeom prst="line">
                <a:avLst/>
              </a:prstGeom>
              <a:ln w="12700" cap="flat" cmpd="sng" algn="ctr">
                <a:solidFill>
                  <a:schemeClr val="tx1">
                    <a:lumMod val="65000"/>
                    <a:lumOff val="35000"/>
                  </a:schemeClr>
                </a:solidFill>
                <a:prstDash val="sysDash"/>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p:nvCxnSpPr>
            <p:spPr>
              <a:xfrm>
                <a:off x="2121722" y="4579961"/>
                <a:ext cx="6209001" cy="1587"/>
              </a:xfrm>
              <a:prstGeom prst="line">
                <a:avLst/>
              </a:prstGeom>
              <a:ln w="12700" cap="flat" cmpd="sng" algn="ctr">
                <a:solidFill>
                  <a:schemeClr val="tx1">
                    <a:lumMod val="65000"/>
                    <a:lumOff val="35000"/>
                  </a:schemeClr>
                </a:solidFill>
                <a:prstDash val="sysDash"/>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cxnSp>
          <p:nvCxnSpPr>
            <p:cNvPr id="37" name="Straight Connector 36"/>
            <p:cNvCxnSpPr/>
            <p:nvPr/>
          </p:nvCxnSpPr>
          <p:spPr bwMode="auto">
            <a:xfrm>
              <a:off x="-930" y="4581548"/>
              <a:ext cx="1999731" cy="1588"/>
            </a:xfrm>
            <a:prstGeom prst="line">
              <a:avLst/>
            </a:prstGeom>
            <a:ln w="12700" cap="flat" cmpd="sng" algn="ctr">
              <a:solidFill>
                <a:schemeClr val="tx1">
                  <a:lumMod val="65000"/>
                  <a:lumOff val="35000"/>
                </a:schemeClr>
              </a:solidFill>
              <a:prstDash val="sysDash"/>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nvGrpSpPr>
            <p:cNvPr id="14382" name="Group 66"/>
            <p:cNvGrpSpPr>
              <a:grpSpLocks/>
            </p:cNvGrpSpPr>
            <p:nvPr/>
          </p:nvGrpSpPr>
          <p:grpSpPr bwMode="auto">
            <a:xfrm>
              <a:off x="2211060" y="919245"/>
              <a:ext cx="6365660" cy="219073"/>
              <a:chOff x="2211060" y="914938"/>
              <a:chExt cx="8536304" cy="222950"/>
            </a:xfrm>
          </p:grpSpPr>
          <p:sp>
            <p:nvSpPr>
              <p:cNvPr id="152" name="Round Same Side Corner Rectangle 13"/>
              <p:cNvSpPr/>
              <p:nvPr/>
            </p:nvSpPr>
            <p:spPr bwMode="auto">
              <a:xfrm>
                <a:off x="2210640" y="914942"/>
                <a:ext cx="279879" cy="221332"/>
              </a:xfrm>
              <a:prstGeom prst="round2SameRect">
                <a:avLst/>
              </a:prstGeom>
              <a:gradFill rotWithShape="1">
                <a:gsLst>
                  <a:gs pos="0">
                    <a:schemeClr val="tx2">
                      <a:lumMod val="60000"/>
                      <a:lumOff val="40000"/>
                    </a:schemeClr>
                  </a:gs>
                  <a:gs pos="100000">
                    <a:schemeClr val="tx2">
                      <a:lumMod val="40000"/>
                      <a:lumOff val="60000"/>
                    </a:schemeClr>
                  </a:gs>
                </a:gsLst>
                <a:lin ang="16200000" scaled="0"/>
              </a:gradFill>
              <a:ln w="9525" cap="flat" cmpd="sng" algn="ctr">
                <a:noFill/>
                <a:prstDash val="solid"/>
              </a:ln>
              <a:effectLst/>
            </p:spPr>
            <p:txBody>
              <a:bodyPr anchor="ctr"/>
              <a:lstStyle/>
              <a:p>
                <a:pPr algn="ctr" fontAlgn="base">
                  <a:spcBef>
                    <a:spcPct val="0"/>
                  </a:spcBef>
                  <a:spcAft>
                    <a:spcPct val="0"/>
                  </a:spcAft>
                  <a:defRPr/>
                </a:pPr>
                <a:endParaRPr lang="en-US" sz="1600">
                  <a:solidFill>
                    <a:srgbClr val="FFFFFF"/>
                  </a:solidFill>
                  <a:ea typeface="ＭＳ Ｐゴシック" charset="0"/>
                  <a:cs typeface="ＭＳ Ｐゴシック" charset="0"/>
                </a:endParaRPr>
              </a:p>
            </p:txBody>
          </p:sp>
          <p:sp>
            <p:nvSpPr>
              <p:cNvPr id="150" name="Round Same Side Corner Rectangle 149"/>
              <p:cNvSpPr/>
              <p:nvPr/>
            </p:nvSpPr>
            <p:spPr bwMode="auto">
              <a:xfrm>
                <a:off x="2516555" y="914942"/>
                <a:ext cx="279878" cy="221332"/>
              </a:xfrm>
              <a:prstGeom prst="round2SameRect">
                <a:avLst/>
              </a:prstGeom>
              <a:gradFill rotWithShape="1">
                <a:gsLst>
                  <a:gs pos="0">
                    <a:schemeClr val="tx2">
                      <a:lumMod val="60000"/>
                      <a:lumOff val="40000"/>
                    </a:schemeClr>
                  </a:gs>
                  <a:gs pos="100000">
                    <a:schemeClr val="tx2">
                      <a:lumMod val="40000"/>
                      <a:lumOff val="60000"/>
                    </a:schemeClr>
                  </a:gs>
                </a:gsLst>
                <a:lin ang="16200000" scaled="0"/>
              </a:gradFill>
              <a:ln w="9525" cap="flat" cmpd="sng" algn="ctr">
                <a:noFill/>
                <a:prstDash val="solid"/>
              </a:ln>
              <a:effectLst/>
            </p:spPr>
            <p:txBody>
              <a:bodyPr anchor="ctr"/>
              <a:lstStyle/>
              <a:p>
                <a:pPr algn="ctr" fontAlgn="base">
                  <a:spcBef>
                    <a:spcPct val="0"/>
                  </a:spcBef>
                  <a:spcAft>
                    <a:spcPct val="0"/>
                  </a:spcAft>
                  <a:defRPr/>
                </a:pPr>
                <a:endParaRPr lang="en-US" sz="1600">
                  <a:solidFill>
                    <a:srgbClr val="FFFFFF"/>
                  </a:solidFill>
                  <a:ea typeface="ＭＳ Ｐゴシック" charset="0"/>
                  <a:cs typeface="ＭＳ Ｐゴシック" charset="0"/>
                </a:endParaRPr>
              </a:p>
            </p:txBody>
          </p:sp>
          <p:sp>
            <p:nvSpPr>
              <p:cNvPr id="148" name="Round Same Side Corner Rectangle 147"/>
              <p:cNvSpPr/>
              <p:nvPr/>
            </p:nvSpPr>
            <p:spPr bwMode="auto">
              <a:xfrm>
                <a:off x="2824638" y="914942"/>
                <a:ext cx="275539" cy="221332"/>
              </a:xfrm>
              <a:prstGeom prst="round2SameRect">
                <a:avLst/>
              </a:prstGeom>
              <a:gradFill rotWithShape="1">
                <a:gsLst>
                  <a:gs pos="0">
                    <a:schemeClr val="tx2">
                      <a:lumMod val="60000"/>
                      <a:lumOff val="40000"/>
                    </a:schemeClr>
                  </a:gs>
                  <a:gs pos="100000">
                    <a:schemeClr val="tx2">
                      <a:lumMod val="40000"/>
                      <a:lumOff val="60000"/>
                    </a:schemeClr>
                  </a:gs>
                </a:gsLst>
                <a:lin ang="16200000" scaled="0"/>
              </a:gradFill>
              <a:ln w="9525" cap="flat" cmpd="sng" algn="ctr">
                <a:noFill/>
                <a:prstDash val="solid"/>
              </a:ln>
              <a:effectLst/>
            </p:spPr>
            <p:txBody>
              <a:bodyPr anchor="ctr"/>
              <a:lstStyle/>
              <a:p>
                <a:pPr algn="ctr" fontAlgn="base">
                  <a:spcBef>
                    <a:spcPct val="0"/>
                  </a:spcBef>
                  <a:spcAft>
                    <a:spcPct val="0"/>
                  </a:spcAft>
                  <a:defRPr/>
                </a:pPr>
                <a:endParaRPr lang="en-US" sz="1600">
                  <a:solidFill>
                    <a:srgbClr val="FFFFFF"/>
                  </a:solidFill>
                  <a:ea typeface="ＭＳ Ｐゴシック" charset="0"/>
                  <a:cs typeface="ＭＳ Ｐゴシック" charset="0"/>
                </a:endParaRPr>
              </a:p>
            </p:txBody>
          </p:sp>
          <p:sp>
            <p:nvSpPr>
              <p:cNvPr id="146" name="Round Same Side Corner Rectangle 145"/>
              <p:cNvSpPr/>
              <p:nvPr/>
            </p:nvSpPr>
            <p:spPr bwMode="auto">
              <a:xfrm>
                <a:off x="3128382" y="914942"/>
                <a:ext cx="277709" cy="221332"/>
              </a:xfrm>
              <a:prstGeom prst="round2SameRect">
                <a:avLst/>
              </a:prstGeom>
              <a:gradFill rotWithShape="1">
                <a:gsLst>
                  <a:gs pos="0">
                    <a:schemeClr val="tx2">
                      <a:lumMod val="60000"/>
                      <a:lumOff val="40000"/>
                    </a:schemeClr>
                  </a:gs>
                  <a:gs pos="100000">
                    <a:schemeClr val="tx2">
                      <a:lumMod val="40000"/>
                      <a:lumOff val="60000"/>
                    </a:schemeClr>
                  </a:gs>
                </a:gsLst>
                <a:lin ang="16200000" scaled="0"/>
              </a:gradFill>
              <a:ln w="9525" cap="flat" cmpd="sng" algn="ctr">
                <a:noFill/>
                <a:prstDash val="solid"/>
              </a:ln>
              <a:effectLst/>
            </p:spPr>
            <p:txBody>
              <a:bodyPr anchor="ctr"/>
              <a:lstStyle/>
              <a:p>
                <a:pPr algn="ctr" fontAlgn="base">
                  <a:spcBef>
                    <a:spcPct val="0"/>
                  </a:spcBef>
                  <a:spcAft>
                    <a:spcPct val="0"/>
                  </a:spcAft>
                  <a:defRPr/>
                </a:pPr>
                <a:endParaRPr lang="en-US" sz="1600">
                  <a:solidFill>
                    <a:srgbClr val="FFFFFF"/>
                  </a:solidFill>
                  <a:ea typeface="ＭＳ Ｐゴシック" charset="0"/>
                  <a:cs typeface="ＭＳ Ｐゴシック" charset="0"/>
                </a:endParaRPr>
              </a:p>
            </p:txBody>
          </p:sp>
          <p:sp>
            <p:nvSpPr>
              <p:cNvPr id="144" name="Round Same Side Corner Rectangle 143"/>
              <p:cNvSpPr/>
              <p:nvPr/>
            </p:nvSpPr>
            <p:spPr bwMode="auto">
              <a:xfrm>
                <a:off x="3434295" y="914942"/>
                <a:ext cx="279879" cy="221332"/>
              </a:xfrm>
              <a:prstGeom prst="round2SameRect">
                <a:avLst/>
              </a:prstGeom>
              <a:gradFill rotWithShape="1">
                <a:gsLst>
                  <a:gs pos="0">
                    <a:schemeClr val="tx2">
                      <a:lumMod val="60000"/>
                      <a:lumOff val="40000"/>
                    </a:schemeClr>
                  </a:gs>
                  <a:gs pos="100000">
                    <a:schemeClr val="tx2">
                      <a:lumMod val="40000"/>
                      <a:lumOff val="60000"/>
                    </a:schemeClr>
                  </a:gs>
                </a:gsLst>
                <a:lin ang="16200000" scaled="0"/>
              </a:gradFill>
              <a:ln w="9525" cap="flat" cmpd="sng" algn="ctr">
                <a:noFill/>
                <a:prstDash val="solid"/>
              </a:ln>
              <a:effectLst/>
            </p:spPr>
            <p:txBody>
              <a:bodyPr anchor="ctr"/>
              <a:lstStyle/>
              <a:p>
                <a:pPr algn="ctr" fontAlgn="base">
                  <a:spcBef>
                    <a:spcPct val="0"/>
                  </a:spcBef>
                  <a:spcAft>
                    <a:spcPct val="0"/>
                  </a:spcAft>
                  <a:defRPr/>
                </a:pPr>
                <a:endParaRPr lang="en-US" sz="1600">
                  <a:solidFill>
                    <a:srgbClr val="FFFFFF"/>
                  </a:solidFill>
                  <a:ea typeface="ＭＳ Ｐゴシック" charset="0"/>
                  <a:cs typeface="ＭＳ Ｐゴシック" charset="0"/>
                </a:endParaRPr>
              </a:p>
            </p:txBody>
          </p:sp>
          <p:sp>
            <p:nvSpPr>
              <p:cNvPr id="142" name="Round Same Side Corner Rectangle 141"/>
              <p:cNvSpPr/>
              <p:nvPr/>
            </p:nvSpPr>
            <p:spPr bwMode="auto">
              <a:xfrm>
                <a:off x="3738039" y="914942"/>
                <a:ext cx="277709" cy="221332"/>
              </a:xfrm>
              <a:prstGeom prst="round2SameRect">
                <a:avLst/>
              </a:prstGeom>
              <a:gradFill rotWithShape="1">
                <a:gsLst>
                  <a:gs pos="0">
                    <a:schemeClr val="tx2">
                      <a:lumMod val="60000"/>
                      <a:lumOff val="40000"/>
                    </a:schemeClr>
                  </a:gs>
                  <a:gs pos="100000">
                    <a:schemeClr val="tx2">
                      <a:lumMod val="40000"/>
                      <a:lumOff val="60000"/>
                    </a:schemeClr>
                  </a:gs>
                </a:gsLst>
                <a:lin ang="16200000" scaled="0"/>
              </a:gradFill>
              <a:ln w="9525" cap="flat" cmpd="sng" algn="ctr">
                <a:noFill/>
                <a:prstDash val="solid"/>
              </a:ln>
              <a:effectLst/>
            </p:spPr>
            <p:txBody>
              <a:bodyPr anchor="ctr"/>
              <a:lstStyle/>
              <a:p>
                <a:pPr algn="ctr" fontAlgn="base">
                  <a:spcBef>
                    <a:spcPct val="0"/>
                  </a:spcBef>
                  <a:spcAft>
                    <a:spcPct val="0"/>
                  </a:spcAft>
                  <a:defRPr/>
                </a:pPr>
                <a:endParaRPr lang="en-US" sz="1600">
                  <a:solidFill>
                    <a:srgbClr val="FFFFFF"/>
                  </a:solidFill>
                  <a:ea typeface="ＭＳ Ｐゴシック" charset="0"/>
                  <a:cs typeface="ＭＳ Ｐゴシック" charset="0"/>
                </a:endParaRPr>
              </a:p>
            </p:txBody>
          </p:sp>
          <p:sp>
            <p:nvSpPr>
              <p:cNvPr id="140" name="Round Same Side Corner Rectangle 139"/>
              <p:cNvSpPr/>
              <p:nvPr/>
            </p:nvSpPr>
            <p:spPr bwMode="auto">
              <a:xfrm>
                <a:off x="4046122" y="914942"/>
                <a:ext cx="277709" cy="221332"/>
              </a:xfrm>
              <a:prstGeom prst="round2SameRect">
                <a:avLst/>
              </a:prstGeom>
              <a:gradFill rotWithShape="1">
                <a:gsLst>
                  <a:gs pos="0">
                    <a:schemeClr val="tx2">
                      <a:lumMod val="60000"/>
                      <a:lumOff val="40000"/>
                    </a:schemeClr>
                  </a:gs>
                  <a:gs pos="100000">
                    <a:schemeClr val="tx2">
                      <a:lumMod val="40000"/>
                      <a:lumOff val="60000"/>
                    </a:schemeClr>
                  </a:gs>
                </a:gsLst>
                <a:lin ang="16200000" scaled="0"/>
              </a:gradFill>
              <a:ln w="9525" cap="flat" cmpd="sng" algn="ctr">
                <a:noFill/>
                <a:prstDash val="solid"/>
              </a:ln>
              <a:effectLst/>
            </p:spPr>
            <p:txBody>
              <a:bodyPr anchor="ctr"/>
              <a:lstStyle/>
              <a:p>
                <a:pPr algn="ctr" fontAlgn="base">
                  <a:spcBef>
                    <a:spcPct val="0"/>
                  </a:spcBef>
                  <a:spcAft>
                    <a:spcPct val="0"/>
                  </a:spcAft>
                  <a:defRPr/>
                </a:pPr>
                <a:endParaRPr lang="en-US" sz="1600">
                  <a:solidFill>
                    <a:srgbClr val="FFFFFF"/>
                  </a:solidFill>
                  <a:ea typeface="ＭＳ Ｐゴシック" charset="0"/>
                  <a:cs typeface="ＭＳ Ｐゴシック" charset="0"/>
                </a:endParaRPr>
              </a:p>
            </p:txBody>
          </p:sp>
          <p:sp>
            <p:nvSpPr>
              <p:cNvPr id="138" name="Round Same Side Corner Rectangle 137"/>
              <p:cNvSpPr/>
              <p:nvPr/>
            </p:nvSpPr>
            <p:spPr bwMode="auto">
              <a:xfrm>
                <a:off x="4352036" y="914942"/>
                <a:ext cx="279878" cy="222948"/>
              </a:xfrm>
              <a:prstGeom prst="round2SameRect">
                <a:avLst/>
              </a:prstGeom>
              <a:gradFill rotWithShape="1">
                <a:gsLst>
                  <a:gs pos="0">
                    <a:schemeClr val="tx2">
                      <a:lumMod val="60000"/>
                      <a:lumOff val="40000"/>
                    </a:schemeClr>
                  </a:gs>
                  <a:gs pos="100000">
                    <a:schemeClr val="tx2">
                      <a:lumMod val="40000"/>
                      <a:lumOff val="60000"/>
                    </a:schemeClr>
                  </a:gs>
                </a:gsLst>
                <a:lin ang="16200000" scaled="0"/>
              </a:gradFill>
              <a:ln w="9525" cap="flat" cmpd="sng" algn="ctr">
                <a:noFill/>
                <a:prstDash val="solid"/>
              </a:ln>
              <a:effectLst/>
            </p:spPr>
            <p:txBody>
              <a:bodyPr anchor="ctr"/>
              <a:lstStyle/>
              <a:p>
                <a:pPr algn="ctr" fontAlgn="base">
                  <a:spcBef>
                    <a:spcPct val="0"/>
                  </a:spcBef>
                  <a:spcAft>
                    <a:spcPct val="0"/>
                  </a:spcAft>
                  <a:defRPr/>
                </a:pPr>
                <a:endParaRPr lang="en-US" sz="1600">
                  <a:solidFill>
                    <a:srgbClr val="FFFFFF"/>
                  </a:solidFill>
                  <a:ea typeface="ＭＳ Ｐゴシック" charset="0"/>
                  <a:cs typeface="ＭＳ Ｐゴシック" charset="0"/>
                </a:endParaRPr>
              </a:p>
            </p:txBody>
          </p:sp>
          <p:sp>
            <p:nvSpPr>
              <p:cNvPr id="136" name="Round Same Side Corner Rectangle 135"/>
              <p:cNvSpPr/>
              <p:nvPr/>
            </p:nvSpPr>
            <p:spPr bwMode="auto">
              <a:xfrm>
                <a:off x="4657949" y="914942"/>
                <a:ext cx="279879" cy="222948"/>
              </a:xfrm>
              <a:prstGeom prst="round2SameRect">
                <a:avLst/>
              </a:prstGeom>
              <a:gradFill rotWithShape="1">
                <a:gsLst>
                  <a:gs pos="0">
                    <a:schemeClr val="tx2">
                      <a:lumMod val="60000"/>
                      <a:lumOff val="40000"/>
                    </a:schemeClr>
                  </a:gs>
                  <a:gs pos="100000">
                    <a:schemeClr val="tx2">
                      <a:lumMod val="40000"/>
                      <a:lumOff val="60000"/>
                    </a:schemeClr>
                  </a:gs>
                </a:gsLst>
                <a:lin ang="16200000" scaled="0"/>
              </a:gradFill>
              <a:ln w="9525" cap="flat" cmpd="sng" algn="ctr">
                <a:noFill/>
                <a:prstDash val="solid"/>
              </a:ln>
              <a:effectLst/>
            </p:spPr>
            <p:txBody>
              <a:bodyPr anchor="ctr"/>
              <a:lstStyle/>
              <a:p>
                <a:pPr algn="ctr" fontAlgn="base">
                  <a:spcBef>
                    <a:spcPct val="0"/>
                  </a:spcBef>
                  <a:spcAft>
                    <a:spcPct val="0"/>
                  </a:spcAft>
                  <a:defRPr/>
                </a:pPr>
                <a:endParaRPr lang="en-US" sz="1600">
                  <a:solidFill>
                    <a:srgbClr val="FFFFFF"/>
                  </a:solidFill>
                  <a:ea typeface="ＭＳ Ｐゴシック" charset="0"/>
                  <a:cs typeface="ＭＳ Ｐゴシック" charset="0"/>
                </a:endParaRPr>
              </a:p>
            </p:txBody>
          </p:sp>
          <p:sp>
            <p:nvSpPr>
              <p:cNvPr id="134" name="Round Same Side Corner Rectangle 133"/>
              <p:cNvSpPr/>
              <p:nvPr/>
            </p:nvSpPr>
            <p:spPr bwMode="auto">
              <a:xfrm>
                <a:off x="4966032" y="914942"/>
                <a:ext cx="275540" cy="221332"/>
              </a:xfrm>
              <a:prstGeom prst="round2SameRect">
                <a:avLst/>
              </a:prstGeom>
              <a:gradFill rotWithShape="1">
                <a:gsLst>
                  <a:gs pos="0">
                    <a:schemeClr val="tx2">
                      <a:lumMod val="60000"/>
                      <a:lumOff val="40000"/>
                    </a:schemeClr>
                  </a:gs>
                  <a:gs pos="100000">
                    <a:schemeClr val="tx2">
                      <a:lumMod val="40000"/>
                      <a:lumOff val="60000"/>
                    </a:schemeClr>
                  </a:gs>
                </a:gsLst>
                <a:lin ang="16200000" scaled="0"/>
              </a:gradFill>
              <a:ln w="9525" cap="flat" cmpd="sng" algn="ctr">
                <a:noFill/>
                <a:prstDash val="solid"/>
              </a:ln>
              <a:effectLst/>
            </p:spPr>
            <p:txBody>
              <a:bodyPr anchor="ctr"/>
              <a:lstStyle/>
              <a:p>
                <a:pPr algn="ctr" fontAlgn="base">
                  <a:spcBef>
                    <a:spcPct val="0"/>
                  </a:spcBef>
                  <a:spcAft>
                    <a:spcPct val="0"/>
                  </a:spcAft>
                  <a:defRPr/>
                </a:pPr>
                <a:endParaRPr lang="en-US" sz="1600">
                  <a:solidFill>
                    <a:srgbClr val="FFFFFF"/>
                  </a:solidFill>
                  <a:ea typeface="ＭＳ Ｐゴシック" charset="0"/>
                  <a:cs typeface="ＭＳ Ｐゴシック" charset="0"/>
                </a:endParaRPr>
              </a:p>
            </p:txBody>
          </p:sp>
          <p:sp>
            <p:nvSpPr>
              <p:cNvPr id="132" name="Round Same Side Corner Rectangle 131"/>
              <p:cNvSpPr/>
              <p:nvPr/>
            </p:nvSpPr>
            <p:spPr bwMode="auto">
              <a:xfrm>
                <a:off x="5269776" y="914942"/>
                <a:ext cx="279879" cy="221332"/>
              </a:xfrm>
              <a:prstGeom prst="round2SameRect">
                <a:avLst/>
              </a:prstGeom>
              <a:gradFill rotWithShape="1">
                <a:gsLst>
                  <a:gs pos="0">
                    <a:schemeClr val="tx2">
                      <a:lumMod val="60000"/>
                      <a:lumOff val="40000"/>
                    </a:schemeClr>
                  </a:gs>
                  <a:gs pos="100000">
                    <a:schemeClr val="tx2">
                      <a:lumMod val="40000"/>
                      <a:lumOff val="60000"/>
                    </a:schemeClr>
                  </a:gs>
                </a:gsLst>
                <a:lin ang="16200000" scaled="0"/>
              </a:gradFill>
              <a:ln w="9525" cap="flat" cmpd="sng" algn="ctr">
                <a:noFill/>
                <a:prstDash val="solid"/>
              </a:ln>
              <a:effectLst/>
            </p:spPr>
            <p:txBody>
              <a:bodyPr anchor="ctr"/>
              <a:lstStyle/>
              <a:p>
                <a:pPr algn="ctr" fontAlgn="base">
                  <a:spcBef>
                    <a:spcPct val="0"/>
                  </a:spcBef>
                  <a:spcAft>
                    <a:spcPct val="0"/>
                  </a:spcAft>
                  <a:defRPr/>
                </a:pPr>
                <a:endParaRPr lang="en-US" sz="1600">
                  <a:solidFill>
                    <a:srgbClr val="FFFFFF"/>
                  </a:solidFill>
                  <a:ea typeface="ＭＳ Ｐゴシック" charset="0"/>
                  <a:cs typeface="ＭＳ Ｐゴシック" charset="0"/>
                </a:endParaRPr>
              </a:p>
            </p:txBody>
          </p:sp>
          <p:sp>
            <p:nvSpPr>
              <p:cNvPr id="130" name="Round Same Side Corner Rectangle 129"/>
              <p:cNvSpPr/>
              <p:nvPr/>
            </p:nvSpPr>
            <p:spPr bwMode="auto">
              <a:xfrm>
                <a:off x="5575691" y="914942"/>
                <a:ext cx="279878" cy="221332"/>
              </a:xfrm>
              <a:prstGeom prst="round2SameRect">
                <a:avLst/>
              </a:prstGeom>
              <a:gradFill rotWithShape="1">
                <a:gsLst>
                  <a:gs pos="0">
                    <a:schemeClr val="tx2">
                      <a:lumMod val="60000"/>
                      <a:lumOff val="40000"/>
                    </a:schemeClr>
                  </a:gs>
                  <a:gs pos="100000">
                    <a:schemeClr val="tx2">
                      <a:lumMod val="40000"/>
                      <a:lumOff val="60000"/>
                    </a:schemeClr>
                  </a:gs>
                </a:gsLst>
                <a:lin ang="16200000" scaled="0"/>
              </a:gradFill>
              <a:ln w="9525" cap="flat" cmpd="sng" algn="ctr">
                <a:noFill/>
                <a:prstDash val="solid"/>
              </a:ln>
              <a:effectLst/>
            </p:spPr>
            <p:txBody>
              <a:bodyPr anchor="ctr"/>
              <a:lstStyle/>
              <a:p>
                <a:pPr algn="ctr" fontAlgn="base">
                  <a:spcBef>
                    <a:spcPct val="0"/>
                  </a:spcBef>
                  <a:spcAft>
                    <a:spcPct val="0"/>
                  </a:spcAft>
                  <a:defRPr/>
                </a:pPr>
                <a:endParaRPr lang="en-US" sz="1600">
                  <a:solidFill>
                    <a:srgbClr val="FFFFFF"/>
                  </a:solidFill>
                  <a:ea typeface="ＭＳ Ｐゴシック" charset="0"/>
                  <a:cs typeface="ＭＳ Ｐゴシック" charset="0"/>
                </a:endParaRPr>
              </a:p>
            </p:txBody>
          </p:sp>
          <p:sp>
            <p:nvSpPr>
              <p:cNvPr id="128" name="Round Same Side Corner Rectangle 127"/>
              <p:cNvSpPr/>
              <p:nvPr/>
            </p:nvSpPr>
            <p:spPr bwMode="auto">
              <a:xfrm>
                <a:off x="5879435" y="914942"/>
                <a:ext cx="282048" cy="221332"/>
              </a:xfrm>
              <a:prstGeom prst="round2SameRect">
                <a:avLst/>
              </a:prstGeom>
              <a:gradFill rotWithShape="1">
                <a:gsLst>
                  <a:gs pos="0">
                    <a:schemeClr val="tx2">
                      <a:lumMod val="60000"/>
                      <a:lumOff val="40000"/>
                    </a:schemeClr>
                  </a:gs>
                  <a:gs pos="100000">
                    <a:schemeClr val="tx2">
                      <a:lumMod val="40000"/>
                      <a:lumOff val="60000"/>
                    </a:schemeClr>
                  </a:gs>
                </a:gsLst>
                <a:lin ang="16200000" scaled="0"/>
              </a:gradFill>
              <a:ln w="9525" cap="flat" cmpd="sng" algn="ctr">
                <a:noFill/>
                <a:prstDash val="solid"/>
              </a:ln>
              <a:effectLst/>
            </p:spPr>
            <p:txBody>
              <a:bodyPr anchor="ctr"/>
              <a:lstStyle/>
              <a:p>
                <a:pPr algn="ctr" fontAlgn="base">
                  <a:spcBef>
                    <a:spcPct val="0"/>
                  </a:spcBef>
                  <a:spcAft>
                    <a:spcPct val="0"/>
                  </a:spcAft>
                  <a:defRPr/>
                </a:pPr>
                <a:endParaRPr lang="en-US" sz="1600">
                  <a:solidFill>
                    <a:srgbClr val="FFFFFF"/>
                  </a:solidFill>
                  <a:ea typeface="ＭＳ Ｐゴシック" charset="0"/>
                  <a:cs typeface="ＭＳ Ｐゴシック" charset="0"/>
                </a:endParaRPr>
              </a:p>
            </p:txBody>
          </p:sp>
          <p:sp>
            <p:nvSpPr>
              <p:cNvPr id="126" name="Round Same Side Corner Rectangle 125"/>
              <p:cNvSpPr/>
              <p:nvPr/>
            </p:nvSpPr>
            <p:spPr bwMode="auto">
              <a:xfrm>
                <a:off x="6187518" y="914942"/>
                <a:ext cx="279878" cy="221332"/>
              </a:xfrm>
              <a:prstGeom prst="round2SameRect">
                <a:avLst/>
              </a:prstGeom>
              <a:gradFill rotWithShape="1">
                <a:gsLst>
                  <a:gs pos="0">
                    <a:schemeClr val="tx2">
                      <a:lumMod val="60000"/>
                      <a:lumOff val="40000"/>
                    </a:schemeClr>
                  </a:gs>
                  <a:gs pos="100000">
                    <a:schemeClr val="tx2">
                      <a:lumMod val="40000"/>
                      <a:lumOff val="60000"/>
                    </a:schemeClr>
                  </a:gs>
                </a:gsLst>
                <a:lin ang="16200000" scaled="0"/>
              </a:gradFill>
              <a:ln w="9525" cap="flat" cmpd="sng" algn="ctr">
                <a:noFill/>
                <a:prstDash val="solid"/>
              </a:ln>
              <a:effectLst/>
            </p:spPr>
            <p:txBody>
              <a:bodyPr anchor="ctr"/>
              <a:lstStyle/>
              <a:p>
                <a:pPr algn="ctr" fontAlgn="base">
                  <a:spcBef>
                    <a:spcPct val="0"/>
                  </a:spcBef>
                  <a:spcAft>
                    <a:spcPct val="0"/>
                  </a:spcAft>
                  <a:defRPr/>
                </a:pPr>
                <a:endParaRPr lang="en-US" sz="1600">
                  <a:solidFill>
                    <a:srgbClr val="FFFFFF"/>
                  </a:solidFill>
                  <a:ea typeface="ＭＳ Ｐゴシック" charset="0"/>
                  <a:cs typeface="ＭＳ Ｐゴシック" charset="0"/>
                </a:endParaRPr>
              </a:p>
            </p:txBody>
          </p:sp>
          <p:grpSp>
            <p:nvGrpSpPr>
              <p:cNvPr id="14468" name="Group 185"/>
              <p:cNvGrpSpPr>
                <a:grpSpLocks/>
              </p:cNvGrpSpPr>
              <p:nvPr/>
            </p:nvGrpSpPr>
            <p:grpSpPr bwMode="auto">
              <a:xfrm>
                <a:off x="6496239" y="914939"/>
                <a:ext cx="2113855" cy="221331"/>
                <a:chOff x="8480165" y="831931"/>
                <a:chExt cx="3135992" cy="328357"/>
              </a:xfrm>
            </p:grpSpPr>
            <p:sp>
              <p:nvSpPr>
                <p:cNvPr id="124" name="Round Same Side Corner Rectangle 165"/>
                <p:cNvSpPr/>
                <p:nvPr/>
              </p:nvSpPr>
              <p:spPr bwMode="auto">
                <a:xfrm>
                  <a:off x="8479218" y="831936"/>
                  <a:ext cx="415210" cy="328359"/>
                </a:xfrm>
                <a:prstGeom prst="round2SameRect">
                  <a:avLst/>
                </a:prstGeom>
                <a:gradFill rotWithShape="1">
                  <a:gsLst>
                    <a:gs pos="0">
                      <a:schemeClr val="tx2">
                        <a:lumMod val="60000"/>
                        <a:lumOff val="40000"/>
                      </a:schemeClr>
                    </a:gs>
                    <a:gs pos="100000">
                      <a:schemeClr val="tx2">
                        <a:lumMod val="40000"/>
                        <a:lumOff val="60000"/>
                      </a:schemeClr>
                    </a:gs>
                  </a:gsLst>
                  <a:lin ang="16200000" scaled="0"/>
                </a:gradFill>
                <a:ln w="9525" cap="flat" cmpd="sng" algn="ctr">
                  <a:noFill/>
                  <a:prstDash val="solid"/>
                </a:ln>
                <a:effectLst/>
              </p:spPr>
              <p:txBody>
                <a:bodyPr anchor="ctr"/>
                <a:lstStyle/>
                <a:p>
                  <a:pPr algn="ctr" fontAlgn="base">
                    <a:spcBef>
                      <a:spcPct val="0"/>
                    </a:spcBef>
                    <a:spcAft>
                      <a:spcPct val="0"/>
                    </a:spcAft>
                    <a:defRPr/>
                  </a:pPr>
                  <a:endParaRPr lang="en-US" sz="1600">
                    <a:solidFill>
                      <a:srgbClr val="FFFFFF"/>
                    </a:solidFill>
                    <a:ea typeface="ＭＳ Ｐゴシック" charset="0"/>
                    <a:cs typeface="ＭＳ Ｐゴシック" charset="0"/>
                  </a:endParaRPr>
                </a:p>
              </p:txBody>
            </p:sp>
            <p:sp>
              <p:nvSpPr>
                <p:cNvPr id="122" name="Round Same Side Corner Rectangle 168"/>
                <p:cNvSpPr/>
                <p:nvPr/>
              </p:nvSpPr>
              <p:spPr bwMode="auto">
                <a:xfrm>
                  <a:off x="8933053" y="831936"/>
                  <a:ext cx="415212" cy="328359"/>
                </a:xfrm>
                <a:prstGeom prst="round2SameRect">
                  <a:avLst/>
                </a:prstGeom>
                <a:gradFill rotWithShape="1">
                  <a:gsLst>
                    <a:gs pos="0">
                      <a:schemeClr val="tx2">
                        <a:lumMod val="60000"/>
                        <a:lumOff val="40000"/>
                      </a:schemeClr>
                    </a:gs>
                    <a:gs pos="100000">
                      <a:schemeClr val="tx2">
                        <a:lumMod val="40000"/>
                        <a:lumOff val="60000"/>
                      </a:schemeClr>
                    </a:gs>
                  </a:gsLst>
                  <a:lin ang="16200000" scaled="0"/>
                </a:gradFill>
                <a:ln w="9525" cap="flat" cmpd="sng" algn="ctr">
                  <a:noFill/>
                  <a:prstDash val="solid"/>
                </a:ln>
                <a:effectLst/>
              </p:spPr>
              <p:txBody>
                <a:bodyPr anchor="ctr"/>
                <a:lstStyle/>
                <a:p>
                  <a:pPr algn="ctr" fontAlgn="base">
                    <a:spcBef>
                      <a:spcPct val="0"/>
                    </a:spcBef>
                    <a:spcAft>
                      <a:spcPct val="0"/>
                    </a:spcAft>
                    <a:defRPr/>
                  </a:pPr>
                  <a:endParaRPr lang="en-US" sz="1600">
                    <a:solidFill>
                      <a:srgbClr val="FFFFFF"/>
                    </a:solidFill>
                    <a:ea typeface="ＭＳ Ｐゴシック" charset="0"/>
                    <a:cs typeface="ＭＳ Ｐゴシック" charset="0"/>
                  </a:endParaRPr>
                </a:p>
              </p:txBody>
            </p:sp>
            <p:sp>
              <p:nvSpPr>
                <p:cNvPr id="120" name="Round Same Side Corner Rectangle 171"/>
                <p:cNvSpPr/>
                <p:nvPr/>
              </p:nvSpPr>
              <p:spPr bwMode="auto">
                <a:xfrm>
                  <a:off x="9386889" y="831936"/>
                  <a:ext cx="411993" cy="328359"/>
                </a:xfrm>
                <a:prstGeom prst="round2SameRect">
                  <a:avLst/>
                </a:prstGeom>
                <a:gradFill rotWithShape="1">
                  <a:gsLst>
                    <a:gs pos="0">
                      <a:schemeClr val="tx2">
                        <a:lumMod val="60000"/>
                        <a:lumOff val="40000"/>
                      </a:schemeClr>
                    </a:gs>
                    <a:gs pos="100000">
                      <a:schemeClr val="tx2">
                        <a:lumMod val="40000"/>
                        <a:lumOff val="60000"/>
                      </a:schemeClr>
                    </a:gs>
                  </a:gsLst>
                  <a:lin ang="16200000" scaled="0"/>
                </a:gradFill>
                <a:ln w="9525" cap="flat" cmpd="sng" algn="ctr">
                  <a:noFill/>
                  <a:prstDash val="solid"/>
                </a:ln>
                <a:effectLst/>
              </p:spPr>
              <p:txBody>
                <a:bodyPr anchor="ctr"/>
                <a:lstStyle/>
                <a:p>
                  <a:pPr algn="ctr" fontAlgn="base">
                    <a:spcBef>
                      <a:spcPct val="0"/>
                    </a:spcBef>
                    <a:spcAft>
                      <a:spcPct val="0"/>
                    </a:spcAft>
                    <a:defRPr/>
                  </a:pPr>
                  <a:endParaRPr lang="en-US" sz="1600">
                    <a:solidFill>
                      <a:srgbClr val="FFFFFF"/>
                    </a:solidFill>
                    <a:ea typeface="ＭＳ Ｐゴシック" charset="0"/>
                    <a:cs typeface="ＭＳ Ｐゴシック" charset="0"/>
                  </a:endParaRPr>
                </a:p>
              </p:txBody>
            </p:sp>
            <p:sp>
              <p:nvSpPr>
                <p:cNvPr id="118" name="Round Same Side Corner Rectangle 174"/>
                <p:cNvSpPr/>
                <p:nvPr/>
              </p:nvSpPr>
              <p:spPr bwMode="auto">
                <a:xfrm>
                  <a:off x="9840724" y="831936"/>
                  <a:ext cx="415212" cy="328359"/>
                </a:xfrm>
                <a:prstGeom prst="round2SameRect">
                  <a:avLst/>
                </a:prstGeom>
                <a:gradFill rotWithShape="1">
                  <a:gsLst>
                    <a:gs pos="0">
                      <a:schemeClr val="tx2">
                        <a:lumMod val="60000"/>
                        <a:lumOff val="40000"/>
                      </a:schemeClr>
                    </a:gs>
                    <a:gs pos="100000">
                      <a:schemeClr val="tx2">
                        <a:lumMod val="40000"/>
                        <a:lumOff val="60000"/>
                      </a:schemeClr>
                    </a:gs>
                  </a:gsLst>
                  <a:lin ang="16200000" scaled="0"/>
                </a:gradFill>
                <a:ln w="9525" cap="flat" cmpd="sng" algn="ctr">
                  <a:noFill/>
                  <a:prstDash val="solid"/>
                </a:ln>
                <a:effectLst/>
              </p:spPr>
              <p:txBody>
                <a:bodyPr anchor="ctr"/>
                <a:lstStyle/>
                <a:p>
                  <a:pPr algn="ctr" fontAlgn="base">
                    <a:spcBef>
                      <a:spcPct val="0"/>
                    </a:spcBef>
                    <a:spcAft>
                      <a:spcPct val="0"/>
                    </a:spcAft>
                    <a:defRPr/>
                  </a:pPr>
                  <a:endParaRPr lang="en-US" sz="1600">
                    <a:solidFill>
                      <a:srgbClr val="FFFFFF"/>
                    </a:solidFill>
                    <a:ea typeface="ＭＳ Ｐゴシック" charset="0"/>
                    <a:cs typeface="ＭＳ Ｐゴシック" charset="0"/>
                  </a:endParaRPr>
                </a:p>
              </p:txBody>
            </p:sp>
            <p:sp>
              <p:nvSpPr>
                <p:cNvPr id="116" name="Round Same Side Corner Rectangle 177"/>
                <p:cNvSpPr/>
                <p:nvPr/>
              </p:nvSpPr>
              <p:spPr bwMode="auto">
                <a:xfrm>
                  <a:off x="10297778" y="831936"/>
                  <a:ext cx="411993" cy="328359"/>
                </a:xfrm>
                <a:prstGeom prst="round2SameRect">
                  <a:avLst/>
                </a:prstGeom>
                <a:gradFill rotWithShape="1">
                  <a:gsLst>
                    <a:gs pos="0">
                      <a:schemeClr val="tx2">
                        <a:lumMod val="60000"/>
                        <a:lumOff val="40000"/>
                      </a:schemeClr>
                    </a:gs>
                    <a:gs pos="100000">
                      <a:schemeClr val="tx2">
                        <a:lumMod val="40000"/>
                        <a:lumOff val="60000"/>
                      </a:schemeClr>
                    </a:gs>
                  </a:gsLst>
                  <a:lin ang="16200000" scaled="0"/>
                </a:gradFill>
                <a:ln w="9525" cap="flat" cmpd="sng" algn="ctr">
                  <a:noFill/>
                  <a:prstDash val="solid"/>
                </a:ln>
                <a:effectLst/>
              </p:spPr>
              <p:txBody>
                <a:bodyPr anchor="ctr"/>
                <a:lstStyle/>
                <a:p>
                  <a:pPr algn="ctr" fontAlgn="base">
                    <a:spcBef>
                      <a:spcPct val="0"/>
                    </a:spcBef>
                    <a:spcAft>
                      <a:spcPct val="0"/>
                    </a:spcAft>
                    <a:defRPr/>
                  </a:pPr>
                  <a:endParaRPr lang="en-US" sz="1600">
                    <a:solidFill>
                      <a:srgbClr val="FFFFFF"/>
                    </a:solidFill>
                    <a:ea typeface="ＭＳ Ｐゴシック" charset="0"/>
                    <a:cs typeface="ＭＳ Ｐゴシック" charset="0"/>
                  </a:endParaRPr>
                </a:p>
              </p:txBody>
            </p:sp>
            <p:sp>
              <p:nvSpPr>
                <p:cNvPr id="114" name="Round Same Side Corner Rectangle 180"/>
                <p:cNvSpPr/>
                <p:nvPr/>
              </p:nvSpPr>
              <p:spPr bwMode="auto">
                <a:xfrm>
                  <a:off x="10748395" y="831936"/>
                  <a:ext cx="411993" cy="328359"/>
                </a:xfrm>
                <a:prstGeom prst="round2SameRect">
                  <a:avLst/>
                </a:prstGeom>
                <a:gradFill rotWithShape="1">
                  <a:gsLst>
                    <a:gs pos="0">
                      <a:schemeClr val="tx2">
                        <a:lumMod val="60000"/>
                        <a:lumOff val="40000"/>
                      </a:schemeClr>
                    </a:gs>
                    <a:gs pos="100000">
                      <a:schemeClr val="tx2">
                        <a:lumMod val="40000"/>
                        <a:lumOff val="60000"/>
                      </a:schemeClr>
                    </a:gs>
                  </a:gsLst>
                  <a:lin ang="16200000" scaled="0"/>
                </a:gradFill>
                <a:ln w="9525" cap="flat" cmpd="sng" algn="ctr">
                  <a:noFill/>
                  <a:prstDash val="solid"/>
                </a:ln>
                <a:effectLst/>
              </p:spPr>
              <p:txBody>
                <a:bodyPr anchor="ctr"/>
                <a:lstStyle/>
                <a:p>
                  <a:pPr algn="ctr" fontAlgn="base">
                    <a:spcBef>
                      <a:spcPct val="0"/>
                    </a:spcBef>
                    <a:spcAft>
                      <a:spcPct val="0"/>
                    </a:spcAft>
                    <a:defRPr/>
                  </a:pPr>
                  <a:endParaRPr lang="en-US" sz="1600">
                    <a:solidFill>
                      <a:srgbClr val="FFFFFF"/>
                    </a:solidFill>
                    <a:ea typeface="ＭＳ Ｐゴシック" charset="0"/>
                    <a:cs typeface="ＭＳ Ｐゴシック" charset="0"/>
                  </a:endParaRPr>
                </a:p>
              </p:txBody>
            </p:sp>
            <p:sp>
              <p:nvSpPr>
                <p:cNvPr id="112" name="Round Same Side Corner Rectangle 183"/>
                <p:cNvSpPr/>
                <p:nvPr/>
              </p:nvSpPr>
              <p:spPr bwMode="auto">
                <a:xfrm>
                  <a:off x="11202232" y="831936"/>
                  <a:ext cx="415210" cy="328359"/>
                </a:xfrm>
                <a:prstGeom prst="round2SameRect">
                  <a:avLst/>
                </a:prstGeom>
                <a:gradFill rotWithShape="1">
                  <a:gsLst>
                    <a:gs pos="0">
                      <a:schemeClr val="tx2">
                        <a:lumMod val="60000"/>
                        <a:lumOff val="40000"/>
                      </a:schemeClr>
                    </a:gs>
                    <a:gs pos="100000">
                      <a:schemeClr val="tx2">
                        <a:lumMod val="40000"/>
                        <a:lumOff val="60000"/>
                      </a:schemeClr>
                    </a:gs>
                  </a:gsLst>
                  <a:lin ang="16200000" scaled="0"/>
                </a:gradFill>
                <a:ln w="9525" cap="flat" cmpd="sng" algn="ctr">
                  <a:noFill/>
                  <a:prstDash val="solid"/>
                </a:ln>
                <a:effectLst/>
              </p:spPr>
              <p:txBody>
                <a:bodyPr anchor="ctr"/>
                <a:lstStyle/>
                <a:p>
                  <a:pPr algn="ctr" fontAlgn="base">
                    <a:spcBef>
                      <a:spcPct val="0"/>
                    </a:spcBef>
                    <a:spcAft>
                      <a:spcPct val="0"/>
                    </a:spcAft>
                    <a:defRPr/>
                  </a:pPr>
                  <a:endParaRPr lang="en-US" sz="1600">
                    <a:solidFill>
                      <a:srgbClr val="FFFFFF"/>
                    </a:solidFill>
                    <a:ea typeface="ＭＳ Ｐゴシック" charset="0"/>
                    <a:cs typeface="ＭＳ Ｐゴシック" charset="0"/>
                  </a:endParaRPr>
                </a:p>
              </p:txBody>
            </p:sp>
          </p:grpSp>
          <p:grpSp>
            <p:nvGrpSpPr>
              <p:cNvPr id="14469" name="Group 185"/>
              <p:cNvGrpSpPr>
                <a:grpSpLocks/>
              </p:cNvGrpSpPr>
              <p:nvPr/>
            </p:nvGrpSpPr>
            <p:grpSpPr bwMode="auto">
              <a:xfrm>
                <a:off x="8633512" y="914940"/>
                <a:ext cx="2113852" cy="221332"/>
                <a:chOff x="8480925" y="832160"/>
                <a:chExt cx="3135991" cy="328356"/>
              </a:xfrm>
            </p:grpSpPr>
            <p:sp>
              <p:nvSpPr>
                <p:cNvPr id="103" name="Round Same Side Corner Rectangle 165"/>
                <p:cNvSpPr/>
                <p:nvPr/>
              </p:nvSpPr>
              <p:spPr bwMode="auto">
                <a:xfrm>
                  <a:off x="8482875" y="832163"/>
                  <a:ext cx="411993" cy="328356"/>
                </a:xfrm>
                <a:prstGeom prst="round2SameRect">
                  <a:avLst/>
                </a:prstGeom>
                <a:gradFill rotWithShape="1">
                  <a:gsLst>
                    <a:gs pos="0">
                      <a:schemeClr val="tx2">
                        <a:lumMod val="60000"/>
                        <a:lumOff val="40000"/>
                      </a:schemeClr>
                    </a:gs>
                    <a:gs pos="100000">
                      <a:schemeClr val="tx2">
                        <a:lumMod val="40000"/>
                        <a:lumOff val="60000"/>
                      </a:schemeClr>
                    </a:gs>
                  </a:gsLst>
                  <a:lin ang="16200000" scaled="0"/>
                </a:gradFill>
                <a:ln w="9525" cap="flat" cmpd="sng" algn="ctr">
                  <a:noFill/>
                  <a:prstDash val="solid"/>
                </a:ln>
                <a:effectLst/>
              </p:spPr>
              <p:txBody>
                <a:bodyPr anchor="ctr"/>
                <a:lstStyle/>
                <a:p>
                  <a:pPr algn="ctr" fontAlgn="base">
                    <a:spcBef>
                      <a:spcPct val="0"/>
                    </a:spcBef>
                    <a:spcAft>
                      <a:spcPct val="0"/>
                    </a:spcAft>
                    <a:defRPr/>
                  </a:pPr>
                  <a:endParaRPr lang="en-US" sz="1600">
                    <a:solidFill>
                      <a:srgbClr val="FFFFFF"/>
                    </a:solidFill>
                    <a:ea typeface="ＭＳ Ｐゴシック" charset="0"/>
                    <a:cs typeface="ＭＳ Ｐゴシック" charset="0"/>
                  </a:endParaRPr>
                </a:p>
              </p:txBody>
            </p:sp>
            <p:sp>
              <p:nvSpPr>
                <p:cNvPr id="101" name="Round Same Side Corner Rectangle 168"/>
                <p:cNvSpPr/>
                <p:nvPr/>
              </p:nvSpPr>
              <p:spPr bwMode="auto">
                <a:xfrm>
                  <a:off x="8933493" y="832163"/>
                  <a:ext cx="421648" cy="328356"/>
                </a:xfrm>
                <a:prstGeom prst="round2SameRect">
                  <a:avLst/>
                </a:prstGeom>
                <a:gradFill rotWithShape="1">
                  <a:gsLst>
                    <a:gs pos="0">
                      <a:schemeClr val="tx2">
                        <a:lumMod val="60000"/>
                        <a:lumOff val="40000"/>
                      </a:schemeClr>
                    </a:gs>
                    <a:gs pos="100000">
                      <a:schemeClr val="tx2">
                        <a:lumMod val="40000"/>
                        <a:lumOff val="60000"/>
                      </a:schemeClr>
                    </a:gs>
                  </a:gsLst>
                  <a:lin ang="16200000" scaled="0"/>
                </a:gradFill>
                <a:ln w="9525" cap="flat" cmpd="sng" algn="ctr">
                  <a:noFill/>
                  <a:prstDash val="solid"/>
                </a:ln>
                <a:effectLst/>
              </p:spPr>
              <p:txBody>
                <a:bodyPr anchor="ctr"/>
                <a:lstStyle/>
                <a:p>
                  <a:pPr algn="ctr" fontAlgn="base">
                    <a:spcBef>
                      <a:spcPct val="0"/>
                    </a:spcBef>
                    <a:spcAft>
                      <a:spcPct val="0"/>
                    </a:spcAft>
                    <a:defRPr/>
                  </a:pPr>
                  <a:endParaRPr lang="en-US" sz="1600">
                    <a:solidFill>
                      <a:srgbClr val="FFFFFF"/>
                    </a:solidFill>
                    <a:ea typeface="ＭＳ Ｐゴシック" charset="0"/>
                    <a:cs typeface="ＭＳ Ｐゴシック" charset="0"/>
                  </a:endParaRPr>
                </a:p>
              </p:txBody>
            </p:sp>
            <p:sp>
              <p:nvSpPr>
                <p:cNvPr id="99" name="Round Same Side Corner Rectangle 171"/>
                <p:cNvSpPr/>
                <p:nvPr/>
              </p:nvSpPr>
              <p:spPr bwMode="auto">
                <a:xfrm>
                  <a:off x="9390548" y="832163"/>
                  <a:ext cx="411993" cy="328356"/>
                </a:xfrm>
                <a:prstGeom prst="round2SameRect">
                  <a:avLst/>
                </a:prstGeom>
                <a:gradFill rotWithShape="1">
                  <a:gsLst>
                    <a:gs pos="0">
                      <a:schemeClr val="tx2">
                        <a:lumMod val="60000"/>
                        <a:lumOff val="40000"/>
                      </a:schemeClr>
                    </a:gs>
                    <a:gs pos="100000">
                      <a:schemeClr val="tx2">
                        <a:lumMod val="40000"/>
                        <a:lumOff val="60000"/>
                      </a:schemeClr>
                    </a:gs>
                  </a:gsLst>
                  <a:lin ang="16200000" scaled="0"/>
                </a:gradFill>
                <a:ln w="9525" cap="flat" cmpd="sng" algn="ctr">
                  <a:noFill/>
                  <a:prstDash val="solid"/>
                </a:ln>
                <a:effectLst/>
              </p:spPr>
              <p:txBody>
                <a:bodyPr anchor="ctr"/>
                <a:lstStyle/>
                <a:p>
                  <a:pPr algn="ctr" fontAlgn="base">
                    <a:spcBef>
                      <a:spcPct val="0"/>
                    </a:spcBef>
                    <a:spcAft>
                      <a:spcPct val="0"/>
                    </a:spcAft>
                    <a:defRPr/>
                  </a:pPr>
                  <a:endParaRPr lang="en-US" sz="1600">
                    <a:solidFill>
                      <a:srgbClr val="FFFFFF"/>
                    </a:solidFill>
                    <a:ea typeface="ＭＳ Ｐゴシック" charset="0"/>
                    <a:cs typeface="ＭＳ Ｐゴシック" charset="0"/>
                  </a:endParaRPr>
                </a:p>
              </p:txBody>
            </p:sp>
            <p:sp>
              <p:nvSpPr>
                <p:cNvPr id="97" name="Round Same Side Corner Rectangle 174"/>
                <p:cNvSpPr/>
                <p:nvPr/>
              </p:nvSpPr>
              <p:spPr bwMode="auto">
                <a:xfrm>
                  <a:off x="9863695" y="832163"/>
                  <a:ext cx="411993" cy="328356"/>
                </a:xfrm>
                <a:prstGeom prst="round2SameRect">
                  <a:avLst/>
                </a:prstGeom>
                <a:gradFill rotWithShape="1">
                  <a:gsLst>
                    <a:gs pos="0">
                      <a:schemeClr val="tx2">
                        <a:lumMod val="60000"/>
                        <a:lumOff val="40000"/>
                      </a:schemeClr>
                    </a:gs>
                    <a:gs pos="100000">
                      <a:schemeClr val="tx2">
                        <a:lumMod val="40000"/>
                        <a:lumOff val="60000"/>
                      </a:schemeClr>
                    </a:gs>
                  </a:gsLst>
                  <a:lin ang="16200000" scaled="0"/>
                </a:gradFill>
                <a:ln w="9525" cap="flat" cmpd="sng" algn="ctr">
                  <a:noFill/>
                  <a:prstDash val="solid"/>
                </a:ln>
                <a:effectLst/>
              </p:spPr>
              <p:txBody>
                <a:bodyPr anchor="ctr"/>
                <a:lstStyle/>
                <a:p>
                  <a:pPr algn="ctr" fontAlgn="base">
                    <a:spcBef>
                      <a:spcPct val="0"/>
                    </a:spcBef>
                    <a:spcAft>
                      <a:spcPct val="0"/>
                    </a:spcAft>
                    <a:defRPr/>
                  </a:pPr>
                  <a:endParaRPr lang="en-US" sz="1600">
                    <a:solidFill>
                      <a:srgbClr val="FFFFFF"/>
                    </a:solidFill>
                    <a:ea typeface="ＭＳ Ｐゴシック" charset="0"/>
                    <a:cs typeface="ＭＳ Ｐゴシック" charset="0"/>
                  </a:endParaRPr>
                </a:p>
              </p:txBody>
            </p:sp>
            <p:sp>
              <p:nvSpPr>
                <p:cNvPr id="95" name="Round Same Side Corner Rectangle 177"/>
                <p:cNvSpPr/>
                <p:nvPr/>
              </p:nvSpPr>
              <p:spPr bwMode="auto">
                <a:xfrm>
                  <a:off x="10317532" y="832163"/>
                  <a:ext cx="411993" cy="328356"/>
                </a:xfrm>
                <a:prstGeom prst="round2SameRect">
                  <a:avLst/>
                </a:prstGeom>
                <a:gradFill rotWithShape="1">
                  <a:gsLst>
                    <a:gs pos="0">
                      <a:schemeClr val="tx2">
                        <a:lumMod val="60000"/>
                        <a:lumOff val="40000"/>
                      </a:schemeClr>
                    </a:gs>
                    <a:gs pos="100000">
                      <a:schemeClr val="tx2">
                        <a:lumMod val="40000"/>
                        <a:lumOff val="60000"/>
                      </a:schemeClr>
                    </a:gs>
                  </a:gsLst>
                  <a:lin ang="16200000" scaled="0"/>
                </a:gradFill>
                <a:ln w="9525" cap="flat" cmpd="sng" algn="ctr">
                  <a:noFill/>
                  <a:prstDash val="solid"/>
                </a:ln>
                <a:effectLst/>
              </p:spPr>
              <p:txBody>
                <a:bodyPr anchor="ctr"/>
                <a:lstStyle/>
                <a:p>
                  <a:pPr algn="ctr" fontAlgn="base">
                    <a:spcBef>
                      <a:spcPct val="0"/>
                    </a:spcBef>
                    <a:spcAft>
                      <a:spcPct val="0"/>
                    </a:spcAft>
                    <a:defRPr/>
                  </a:pPr>
                  <a:endParaRPr lang="en-US" sz="1600">
                    <a:solidFill>
                      <a:srgbClr val="FFFFFF"/>
                    </a:solidFill>
                    <a:ea typeface="ＭＳ Ｐゴシック" charset="0"/>
                    <a:cs typeface="ＭＳ Ｐゴシック" charset="0"/>
                  </a:endParaRPr>
                </a:p>
              </p:txBody>
            </p:sp>
            <p:sp>
              <p:nvSpPr>
                <p:cNvPr id="93" name="Round Same Side Corner Rectangle 180"/>
                <p:cNvSpPr/>
                <p:nvPr/>
              </p:nvSpPr>
              <p:spPr bwMode="auto">
                <a:xfrm>
                  <a:off x="10748837" y="832163"/>
                  <a:ext cx="415211" cy="328356"/>
                </a:xfrm>
                <a:prstGeom prst="round2SameRect">
                  <a:avLst/>
                </a:prstGeom>
                <a:gradFill rotWithShape="1">
                  <a:gsLst>
                    <a:gs pos="0">
                      <a:schemeClr val="tx2">
                        <a:lumMod val="60000"/>
                        <a:lumOff val="40000"/>
                      </a:schemeClr>
                    </a:gs>
                    <a:gs pos="100000">
                      <a:schemeClr val="tx2">
                        <a:lumMod val="40000"/>
                        <a:lumOff val="60000"/>
                      </a:schemeClr>
                    </a:gs>
                  </a:gsLst>
                  <a:lin ang="16200000" scaled="0"/>
                </a:gradFill>
                <a:ln w="9525" cap="flat" cmpd="sng" algn="ctr">
                  <a:noFill/>
                  <a:prstDash val="solid"/>
                </a:ln>
                <a:effectLst/>
              </p:spPr>
              <p:txBody>
                <a:bodyPr anchor="ctr"/>
                <a:lstStyle/>
                <a:p>
                  <a:pPr algn="ctr" fontAlgn="base">
                    <a:spcBef>
                      <a:spcPct val="0"/>
                    </a:spcBef>
                    <a:spcAft>
                      <a:spcPct val="0"/>
                    </a:spcAft>
                    <a:defRPr/>
                  </a:pPr>
                  <a:endParaRPr lang="en-US" sz="1600">
                    <a:solidFill>
                      <a:srgbClr val="FFFFFF"/>
                    </a:solidFill>
                    <a:ea typeface="ＭＳ Ｐゴシック" charset="0"/>
                    <a:cs typeface="ＭＳ Ｐゴシック" charset="0"/>
                  </a:endParaRPr>
                </a:p>
              </p:txBody>
            </p:sp>
            <p:sp>
              <p:nvSpPr>
                <p:cNvPr id="91" name="Round Same Side Corner Rectangle 183"/>
                <p:cNvSpPr/>
                <p:nvPr/>
              </p:nvSpPr>
              <p:spPr bwMode="auto">
                <a:xfrm>
                  <a:off x="11205892" y="832163"/>
                  <a:ext cx="411993" cy="328356"/>
                </a:xfrm>
                <a:prstGeom prst="round2SameRect">
                  <a:avLst/>
                </a:prstGeom>
                <a:gradFill rotWithShape="1">
                  <a:gsLst>
                    <a:gs pos="0">
                      <a:schemeClr val="tx2">
                        <a:lumMod val="60000"/>
                        <a:lumOff val="40000"/>
                      </a:schemeClr>
                    </a:gs>
                    <a:gs pos="100000">
                      <a:schemeClr val="tx2">
                        <a:lumMod val="40000"/>
                        <a:lumOff val="60000"/>
                      </a:schemeClr>
                    </a:gs>
                  </a:gsLst>
                  <a:lin ang="16200000" scaled="0"/>
                </a:gradFill>
                <a:ln w="9525" cap="flat" cmpd="sng" algn="ctr">
                  <a:noFill/>
                  <a:prstDash val="solid"/>
                </a:ln>
                <a:effectLst/>
              </p:spPr>
              <p:txBody>
                <a:bodyPr anchor="ctr"/>
                <a:lstStyle/>
                <a:p>
                  <a:pPr algn="ctr" fontAlgn="base">
                    <a:spcBef>
                      <a:spcPct val="0"/>
                    </a:spcBef>
                    <a:spcAft>
                      <a:spcPct val="0"/>
                    </a:spcAft>
                    <a:defRPr/>
                  </a:pPr>
                  <a:endParaRPr lang="en-US" sz="1600">
                    <a:solidFill>
                      <a:srgbClr val="FFFFFF"/>
                    </a:solidFill>
                    <a:ea typeface="ＭＳ Ｐゴシック" charset="0"/>
                    <a:cs typeface="ＭＳ Ｐゴシック" charset="0"/>
                  </a:endParaRPr>
                </a:p>
              </p:txBody>
            </p:sp>
          </p:grpSp>
        </p:grpSp>
        <p:cxnSp>
          <p:nvCxnSpPr>
            <p:cNvPr id="207" name="Straight Connector 206"/>
            <p:cNvCxnSpPr/>
            <p:nvPr/>
          </p:nvCxnSpPr>
          <p:spPr bwMode="auto">
            <a:xfrm rot="16200000" flipV="1">
              <a:off x="674655" y="3039257"/>
              <a:ext cx="3049535" cy="6472"/>
            </a:xfrm>
            <a:prstGeom prst="line">
              <a:avLst/>
            </a:prstGeom>
            <a:ln w="12700" cap="flat" cmpd="sng" algn="ctr">
              <a:solidFill>
                <a:schemeClr val="tx1">
                  <a:lumMod val="65000"/>
                  <a:lumOff val="35000"/>
                </a:schemeClr>
              </a:solidFill>
              <a:prstDash val="sysDash"/>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nvGrpSpPr>
            <p:cNvPr id="14386" name="Group 47"/>
            <p:cNvGrpSpPr>
              <a:grpSpLocks/>
            </p:cNvGrpSpPr>
            <p:nvPr/>
          </p:nvGrpSpPr>
          <p:grpSpPr bwMode="auto">
            <a:xfrm>
              <a:off x="1847800" y="1693062"/>
              <a:ext cx="425145" cy="2713193"/>
              <a:chOff x="2660955" y="1956236"/>
              <a:chExt cx="337507" cy="2153904"/>
            </a:xfrm>
          </p:grpSpPr>
          <p:grpSp>
            <p:nvGrpSpPr>
              <p:cNvPr id="14422" name="Group 107"/>
              <p:cNvGrpSpPr>
                <a:grpSpLocks/>
              </p:cNvGrpSpPr>
              <p:nvPr/>
            </p:nvGrpSpPr>
            <p:grpSpPr bwMode="auto">
              <a:xfrm>
                <a:off x="2660955" y="1956236"/>
                <a:ext cx="337507" cy="233260"/>
                <a:chOff x="2590800" y="2048880"/>
                <a:chExt cx="337507" cy="233260"/>
              </a:xfrm>
            </p:grpSpPr>
            <p:sp>
              <p:nvSpPr>
                <p:cNvPr id="222" name="Oval 61"/>
                <p:cNvSpPr/>
                <p:nvPr/>
              </p:nvSpPr>
              <p:spPr>
                <a:xfrm>
                  <a:off x="2590800" y="2103117"/>
                  <a:ext cx="120307" cy="107023"/>
                </a:xfrm>
                <a:prstGeom prst="ellipse">
                  <a:avLst/>
                </a:prstGeom>
                <a:gradFill flip="none" rotWithShape="1">
                  <a:gsLst>
                    <a:gs pos="28000">
                      <a:schemeClr val="tx1">
                        <a:lumMod val="95000"/>
                        <a:lumOff val="5000"/>
                      </a:schemeClr>
                    </a:gs>
                    <a:gs pos="100000">
                      <a:schemeClr val="tx1">
                        <a:lumMod val="75000"/>
                        <a:lumOff val="25000"/>
                      </a:schemeClr>
                    </a:gs>
                  </a:gsLst>
                  <a:path path="circle">
                    <a:fillToRect l="50000" t="50000" r="50000" b="50000"/>
                  </a:path>
                  <a:tileRect/>
                </a:gradFill>
                <a:ln>
                  <a:solidFill>
                    <a:schemeClr val="tx1">
                      <a:lumMod val="95000"/>
                      <a:lumOff val="5000"/>
                    </a:schemeClr>
                  </a:solidFill>
                </a:ln>
                <a:effectLst/>
              </p:spPr>
              <p:style>
                <a:lnRef idx="1">
                  <a:schemeClr val="accent1"/>
                </a:lnRef>
                <a:fillRef idx="3">
                  <a:schemeClr val="accent1"/>
                </a:fillRef>
                <a:effectRef idx="2">
                  <a:schemeClr val="accent1"/>
                </a:effectRef>
                <a:fontRef idx="minor">
                  <a:schemeClr val="lt1"/>
                </a:fontRef>
              </p:style>
              <p:txBody>
                <a:bodyPr anchor="ctr"/>
                <a:lstStyle>
                  <a:lvl1pPr>
                    <a:defRPr>
                      <a:solidFill>
                        <a:schemeClr val="tx1"/>
                      </a:solidFill>
                      <a:latin typeface="Calibri" charset="0"/>
                      <a:ea typeface="ＭＳ Ｐゴシック" charset="0"/>
                      <a:cs typeface="ＭＳ Ｐゴシック" charset="0"/>
                    </a:defRPr>
                  </a:lvl1pPr>
                  <a:lvl2pPr marL="37931725" indent="-37474525">
                    <a:defRPr>
                      <a:solidFill>
                        <a:schemeClr val="tx1"/>
                      </a:solidFill>
                      <a:latin typeface="Calibri" charset="0"/>
                      <a:ea typeface="ＭＳ Ｐゴシック" charset="0"/>
                    </a:defRPr>
                  </a:lvl2pPr>
                  <a:lvl3pPr>
                    <a:defRPr>
                      <a:solidFill>
                        <a:schemeClr val="tx1"/>
                      </a:solidFill>
                      <a:latin typeface="Calibri" charset="0"/>
                      <a:ea typeface="ＭＳ Ｐゴシック" charset="0"/>
                    </a:defRPr>
                  </a:lvl3pPr>
                  <a:lvl4pPr>
                    <a:defRPr>
                      <a:solidFill>
                        <a:schemeClr val="tx1"/>
                      </a:solidFill>
                      <a:latin typeface="Calibri" charset="0"/>
                      <a:ea typeface="ＭＳ Ｐゴシック" charset="0"/>
                    </a:defRPr>
                  </a:lvl4pPr>
                  <a:lvl5pPr>
                    <a:defRPr>
                      <a:solidFill>
                        <a:schemeClr val="tx1"/>
                      </a:solidFill>
                      <a:latin typeface="Calibri" charset="0"/>
                      <a:ea typeface="ＭＳ Ｐゴシック" charset="0"/>
                    </a:defRPr>
                  </a:lvl5pPr>
                  <a:lvl6pPr marL="457200" fontAlgn="base">
                    <a:spcBef>
                      <a:spcPct val="0"/>
                    </a:spcBef>
                    <a:spcAft>
                      <a:spcPct val="0"/>
                    </a:spcAft>
                    <a:defRPr>
                      <a:solidFill>
                        <a:schemeClr val="tx1"/>
                      </a:solidFill>
                      <a:latin typeface="Calibri" charset="0"/>
                      <a:ea typeface="ＭＳ Ｐゴシック" charset="0"/>
                    </a:defRPr>
                  </a:lvl6pPr>
                  <a:lvl7pPr marL="914400" fontAlgn="base">
                    <a:spcBef>
                      <a:spcPct val="0"/>
                    </a:spcBef>
                    <a:spcAft>
                      <a:spcPct val="0"/>
                    </a:spcAft>
                    <a:defRPr>
                      <a:solidFill>
                        <a:schemeClr val="tx1"/>
                      </a:solidFill>
                      <a:latin typeface="Calibri" charset="0"/>
                      <a:ea typeface="ＭＳ Ｐゴシック" charset="0"/>
                    </a:defRPr>
                  </a:lvl7pPr>
                  <a:lvl8pPr marL="1371600" fontAlgn="base">
                    <a:spcBef>
                      <a:spcPct val="0"/>
                    </a:spcBef>
                    <a:spcAft>
                      <a:spcPct val="0"/>
                    </a:spcAft>
                    <a:defRPr>
                      <a:solidFill>
                        <a:schemeClr val="tx1"/>
                      </a:solidFill>
                      <a:latin typeface="Calibri" charset="0"/>
                      <a:ea typeface="ＭＳ Ｐゴシック" charset="0"/>
                    </a:defRPr>
                  </a:lvl8pPr>
                  <a:lvl9pPr marL="1828800" fontAlgn="base">
                    <a:spcBef>
                      <a:spcPct val="0"/>
                    </a:spcBef>
                    <a:spcAft>
                      <a:spcPct val="0"/>
                    </a:spcAft>
                    <a:defRPr>
                      <a:solidFill>
                        <a:schemeClr val="tx1"/>
                      </a:solidFill>
                      <a:latin typeface="Calibri" charset="0"/>
                      <a:ea typeface="ＭＳ Ｐゴシック" charset="0"/>
                    </a:defRPr>
                  </a:lvl9pPr>
                </a:lstStyle>
                <a:p>
                  <a:pPr algn="ctr" defTabSz="457200" fontAlgn="base">
                    <a:spcBef>
                      <a:spcPct val="0"/>
                    </a:spcBef>
                    <a:spcAft>
                      <a:spcPct val="0"/>
                    </a:spcAft>
                    <a:defRPr/>
                  </a:pPr>
                  <a:endParaRPr lang="en-US" sz="1600" smtClean="0">
                    <a:solidFill>
                      <a:srgbClr val="FFFFFF"/>
                    </a:solidFill>
                  </a:endParaRPr>
                </a:p>
              </p:txBody>
            </p:sp>
            <p:sp>
              <p:nvSpPr>
                <p:cNvPr id="223" name="Oval 62"/>
                <p:cNvSpPr/>
                <p:nvPr/>
              </p:nvSpPr>
              <p:spPr>
                <a:xfrm>
                  <a:off x="2808000" y="2103117"/>
                  <a:ext cx="120307" cy="107023"/>
                </a:xfrm>
                <a:prstGeom prst="ellipse">
                  <a:avLst/>
                </a:prstGeom>
                <a:gradFill flip="none" rotWithShape="1">
                  <a:gsLst>
                    <a:gs pos="28000">
                      <a:schemeClr val="tx1">
                        <a:lumMod val="95000"/>
                        <a:lumOff val="5000"/>
                      </a:schemeClr>
                    </a:gs>
                    <a:gs pos="100000">
                      <a:schemeClr val="tx1">
                        <a:lumMod val="75000"/>
                        <a:lumOff val="25000"/>
                      </a:schemeClr>
                    </a:gs>
                  </a:gsLst>
                  <a:path path="circle">
                    <a:fillToRect l="50000" t="50000" r="50000" b="50000"/>
                  </a:path>
                  <a:tileRect/>
                </a:gradFill>
                <a:ln>
                  <a:solidFill>
                    <a:schemeClr val="tx1">
                      <a:lumMod val="95000"/>
                      <a:lumOff val="5000"/>
                    </a:schemeClr>
                  </a:solidFill>
                </a:ln>
                <a:effectLst/>
              </p:spPr>
              <p:style>
                <a:lnRef idx="1">
                  <a:schemeClr val="accent1"/>
                </a:lnRef>
                <a:fillRef idx="3">
                  <a:schemeClr val="accent1"/>
                </a:fillRef>
                <a:effectRef idx="2">
                  <a:schemeClr val="accent1"/>
                </a:effectRef>
                <a:fontRef idx="minor">
                  <a:schemeClr val="lt1"/>
                </a:fontRef>
              </p:style>
              <p:txBody>
                <a:bodyPr anchor="ctr"/>
                <a:lstStyle>
                  <a:lvl1pPr>
                    <a:defRPr>
                      <a:solidFill>
                        <a:schemeClr val="tx1"/>
                      </a:solidFill>
                      <a:latin typeface="Calibri" charset="0"/>
                      <a:ea typeface="ＭＳ Ｐゴシック" charset="0"/>
                      <a:cs typeface="ＭＳ Ｐゴシック" charset="0"/>
                    </a:defRPr>
                  </a:lvl1pPr>
                  <a:lvl2pPr marL="37931725" indent="-37474525">
                    <a:defRPr>
                      <a:solidFill>
                        <a:schemeClr val="tx1"/>
                      </a:solidFill>
                      <a:latin typeface="Calibri" charset="0"/>
                      <a:ea typeface="ＭＳ Ｐゴシック" charset="0"/>
                    </a:defRPr>
                  </a:lvl2pPr>
                  <a:lvl3pPr>
                    <a:defRPr>
                      <a:solidFill>
                        <a:schemeClr val="tx1"/>
                      </a:solidFill>
                      <a:latin typeface="Calibri" charset="0"/>
                      <a:ea typeface="ＭＳ Ｐゴシック" charset="0"/>
                    </a:defRPr>
                  </a:lvl3pPr>
                  <a:lvl4pPr>
                    <a:defRPr>
                      <a:solidFill>
                        <a:schemeClr val="tx1"/>
                      </a:solidFill>
                      <a:latin typeface="Calibri" charset="0"/>
                      <a:ea typeface="ＭＳ Ｐゴシック" charset="0"/>
                    </a:defRPr>
                  </a:lvl4pPr>
                  <a:lvl5pPr>
                    <a:defRPr>
                      <a:solidFill>
                        <a:schemeClr val="tx1"/>
                      </a:solidFill>
                      <a:latin typeface="Calibri" charset="0"/>
                      <a:ea typeface="ＭＳ Ｐゴシック" charset="0"/>
                    </a:defRPr>
                  </a:lvl5pPr>
                  <a:lvl6pPr marL="457200" fontAlgn="base">
                    <a:spcBef>
                      <a:spcPct val="0"/>
                    </a:spcBef>
                    <a:spcAft>
                      <a:spcPct val="0"/>
                    </a:spcAft>
                    <a:defRPr>
                      <a:solidFill>
                        <a:schemeClr val="tx1"/>
                      </a:solidFill>
                      <a:latin typeface="Calibri" charset="0"/>
                      <a:ea typeface="ＭＳ Ｐゴシック" charset="0"/>
                    </a:defRPr>
                  </a:lvl6pPr>
                  <a:lvl7pPr marL="914400" fontAlgn="base">
                    <a:spcBef>
                      <a:spcPct val="0"/>
                    </a:spcBef>
                    <a:spcAft>
                      <a:spcPct val="0"/>
                    </a:spcAft>
                    <a:defRPr>
                      <a:solidFill>
                        <a:schemeClr val="tx1"/>
                      </a:solidFill>
                      <a:latin typeface="Calibri" charset="0"/>
                      <a:ea typeface="ＭＳ Ｐゴシック" charset="0"/>
                    </a:defRPr>
                  </a:lvl7pPr>
                  <a:lvl8pPr marL="1371600" fontAlgn="base">
                    <a:spcBef>
                      <a:spcPct val="0"/>
                    </a:spcBef>
                    <a:spcAft>
                      <a:spcPct val="0"/>
                    </a:spcAft>
                    <a:defRPr>
                      <a:solidFill>
                        <a:schemeClr val="tx1"/>
                      </a:solidFill>
                      <a:latin typeface="Calibri" charset="0"/>
                      <a:ea typeface="ＭＳ Ｐゴシック" charset="0"/>
                    </a:defRPr>
                  </a:lvl8pPr>
                  <a:lvl9pPr marL="1828800" fontAlgn="base">
                    <a:spcBef>
                      <a:spcPct val="0"/>
                    </a:spcBef>
                    <a:spcAft>
                      <a:spcPct val="0"/>
                    </a:spcAft>
                    <a:defRPr>
                      <a:solidFill>
                        <a:schemeClr val="tx1"/>
                      </a:solidFill>
                      <a:latin typeface="Calibri" charset="0"/>
                      <a:ea typeface="ＭＳ Ｐゴシック" charset="0"/>
                    </a:defRPr>
                  </a:lvl9pPr>
                </a:lstStyle>
                <a:p>
                  <a:pPr algn="ctr" defTabSz="457200" fontAlgn="base">
                    <a:spcBef>
                      <a:spcPct val="0"/>
                    </a:spcBef>
                    <a:spcAft>
                      <a:spcPct val="0"/>
                    </a:spcAft>
                    <a:defRPr/>
                  </a:pPr>
                  <a:endParaRPr lang="en-US" sz="1600" smtClean="0">
                    <a:solidFill>
                      <a:srgbClr val="FFFFFF"/>
                    </a:solidFill>
                  </a:endParaRPr>
                </a:p>
              </p:txBody>
            </p:sp>
            <p:sp>
              <p:nvSpPr>
                <p:cNvPr id="224" name="Block Arc 63"/>
                <p:cNvSpPr/>
                <p:nvPr/>
              </p:nvSpPr>
              <p:spPr>
                <a:xfrm>
                  <a:off x="2614345" y="2048313"/>
                  <a:ext cx="281283" cy="230624"/>
                </a:xfrm>
                <a:prstGeom prst="blockArc">
                  <a:avLst/>
                </a:prstGeom>
                <a:gradFill>
                  <a:gsLst>
                    <a:gs pos="0">
                      <a:schemeClr val="bg1">
                        <a:lumMod val="50000"/>
                      </a:schemeClr>
                    </a:gs>
                    <a:gs pos="100000">
                      <a:schemeClr val="bg1">
                        <a:lumMod val="75000"/>
                      </a:schemeClr>
                    </a:gs>
                  </a:gsLst>
                </a:gra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fontAlgn="base">
                    <a:spcBef>
                      <a:spcPct val="0"/>
                    </a:spcBef>
                    <a:spcAft>
                      <a:spcPct val="0"/>
                    </a:spcAft>
                    <a:defRPr/>
                  </a:pPr>
                  <a:endParaRPr lang="en-US" sz="1600">
                    <a:solidFill>
                      <a:prstClr val="black"/>
                    </a:solidFill>
                    <a:ea typeface="ＭＳ Ｐゴシック" charset="0"/>
                    <a:cs typeface="ＭＳ Ｐゴシック" charset="0"/>
                  </a:endParaRPr>
                </a:p>
              </p:txBody>
            </p:sp>
          </p:grpSp>
          <p:grpSp>
            <p:nvGrpSpPr>
              <p:cNvPr id="14423" name="Group 108"/>
              <p:cNvGrpSpPr>
                <a:grpSpLocks/>
              </p:cNvGrpSpPr>
              <p:nvPr/>
            </p:nvGrpSpPr>
            <p:grpSpPr bwMode="auto">
              <a:xfrm>
                <a:off x="2660955" y="2256376"/>
                <a:ext cx="337507" cy="233260"/>
                <a:chOff x="2590800" y="2048880"/>
                <a:chExt cx="337507" cy="233260"/>
              </a:xfrm>
            </p:grpSpPr>
            <p:sp>
              <p:nvSpPr>
                <p:cNvPr id="219" name="Oval 58"/>
                <p:cNvSpPr/>
                <p:nvPr/>
              </p:nvSpPr>
              <p:spPr>
                <a:xfrm>
                  <a:off x="2590800" y="2103117"/>
                  <a:ext cx="120307" cy="107023"/>
                </a:xfrm>
                <a:prstGeom prst="ellipse">
                  <a:avLst/>
                </a:prstGeom>
                <a:gradFill flip="none" rotWithShape="1">
                  <a:gsLst>
                    <a:gs pos="28000">
                      <a:schemeClr val="tx1">
                        <a:lumMod val="95000"/>
                        <a:lumOff val="5000"/>
                      </a:schemeClr>
                    </a:gs>
                    <a:gs pos="100000">
                      <a:schemeClr val="tx1">
                        <a:lumMod val="75000"/>
                        <a:lumOff val="25000"/>
                      </a:schemeClr>
                    </a:gs>
                  </a:gsLst>
                  <a:path path="circle">
                    <a:fillToRect l="50000" t="50000" r="50000" b="50000"/>
                  </a:path>
                  <a:tileRect/>
                </a:gradFill>
                <a:ln>
                  <a:solidFill>
                    <a:schemeClr val="tx1">
                      <a:lumMod val="95000"/>
                      <a:lumOff val="5000"/>
                    </a:schemeClr>
                  </a:solidFill>
                </a:ln>
                <a:effectLst/>
              </p:spPr>
              <p:style>
                <a:lnRef idx="1">
                  <a:schemeClr val="accent1"/>
                </a:lnRef>
                <a:fillRef idx="3">
                  <a:schemeClr val="accent1"/>
                </a:fillRef>
                <a:effectRef idx="2">
                  <a:schemeClr val="accent1"/>
                </a:effectRef>
                <a:fontRef idx="minor">
                  <a:schemeClr val="lt1"/>
                </a:fontRef>
              </p:style>
              <p:txBody>
                <a:bodyPr anchor="ctr"/>
                <a:lstStyle>
                  <a:lvl1pPr>
                    <a:defRPr>
                      <a:solidFill>
                        <a:schemeClr val="tx1"/>
                      </a:solidFill>
                      <a:latin typeface="Calibri" charset="0"/>
                      <a:ea typeface="ＭＳ Ｐゴシック" charset="0"/>
                      <a:cs typeface="ＭＳ Ｐゴシック" charset="0"/>
                    </a:defRPr>
                  </a:lvl1pPr>
                  <a:lvl2pPr marL="37931725" indent="-37474525">
                    <a:defRPr>
                      <a:solidFill>
                        <a:schemeClr val="tx1"/>
                      </a:solidFill>
                      <a:latin typeface="Calibri" charset="0"/>
                      <a:ea typeface="ＭＳ Ｐゴシック" charset="0"/>
                    </a:defRPr>
                  </a:lvl2pPr>
                  <a:lvl3pPr>
                    <a:defRPr>
                      <a:solidFill>
                        <a:schemeClr val="tx1"/>
                      </a:solidFill>
                      <a:latin typeface="Calibri" charset="0"/>
                      <a:ea typeface="ＭＳ Ｐゴシック" charset="0"/>
                    </a:defRPr>
                  </a:lvl3pPr>
                  <a:lvl4pPr>
                    <a:defRPr>
                      <a:solidFill>
                        <a:schemeClr val="tx1"/>
                      </a:solidFill>
                      <a:latin typeface="Calibri" charset="0"/>
                      <a:ea typeface="ＭＳ Ｐゴシック" charset="0"/>
                    </a:defRPr>
                  </a:lvl4pPr>
                  <a:lvl5pPr>
                    <a:defRPr>
                      <a:solidFill>
                        <a:schemeClr val="tx1"/>
                      </a:solidFill>
                      <a:latin typeface="Calibri" charset="0"/>
                      <a:ea typeface="ＭＳ Ｐゴシック" charset="0"/>
                    </a:defRPr>
                  </a:lvl5pPr>
                  <a:lvl6pPr marL="457200" fontAlgn="base">
                    <a:spcBef>
                      <a:spcPct val="0"/>
                    </a:spcBef>
                    <a:spcAft>
                      <a:spcPct val="0"/>
                    </a:spcAft>
                    <a:defRPr>
                      <a:solidFill>
                        <a:schemeClr val="tx1"/>
                      </a:solidFill>
                      <a:latin typeface="Calibri" charset="0"/>
                      <a:ea typeface="ＭＳ Ｐゴシック" charset="0"/>
                    </a:defRPr>
                  </a:lvl6pPr>
                  <a:lvl7pPr marL="914400" fontAlgn="base">
                    <a:spcBef>
                      <a:spcPct val="0"/>
                    </a:spcBef>
                    <a:spcAft>
                      <a:spcPct val="0"/>
                    </a:spcAft>
                    <a:defRPr>
                      <a:solidFill>
                        <a:schemeClr val="tx1"/>
                      </a:solidFill>
                      <a:latin typeface="Calibri" charset="0"/>
                      <a:ea typeface="ＭＳ Ｐゴシック" charset="0"/>
                    </a:defRPr>
                  </a:lvl7pPr>
                  <a:lvl8pPr marL="1371600" fontAlgn="base">
                    <a:spcBef>
                      <a:spcPct val="0"/>
                    </a:spcBef>
                    <a:spcAft>
                      <a:spcPct val="0"/>
                    </a:spcAft>
                    <a:defRPr>
                      <a:solidFill>
                        <a:schemeClr val="tx1"/>
                      </a:solidFill>
                      <a:latin typeface="Calibri" charset="0"/>
                      <a:ea typeface="ＭＳ Ｐゴシック" charset="0"/>
                    </a:defRPr>
                  </a:lvl8pPr>
                  <a:lvl9pPr marL="1828800" fontAlgn="base">
                    <a:spcBef>
                      <a:spcPct val="0"/>
                    </a:spcBef>
                    <a:spcAft>
                      <a:spcPct val="0"/>
                    </a:spcAft>
                    <a:defRPr>
                      <a:solidFill>
                        <a:schemeClr val="tx1"/>
                      </a:solidFill>
                      <a:latin typeface="Calibri" charset="0"/>
                      <a:ea typeface="ＭＳ Ｐゴシック" charset="0"/>
                    </a:defRPr>
                  </a:lvl9pPr>
                </a:lstStyle>
                <a:p>
                  <a:pPr algn="ctr" defTabSz="457200" fontAlgn="base">
                    <a:spcBef>
                      <a:spcPct val="0"/>
                    </a:spcBef>
                    <a:spcAft>
                      <a:spcPct val="0"/>
                    </a:spcAft>
                    <a:defRPr/>
                  </a:pPr>
                  <a:endParaRPr lang="en-US" sz="1600" smtClean="0">
                    <a:solidFill>
                      <a:srgbClr val="FFFFFF"/>
                    </a:solidFill>
                  </a:endParaRPr>
                </a:p>
              </p:txBody>
            </p:sp>
            <p:sp>
              <p:nvSpPr>
                <p:cNvPr id="220" name="Oval 59"/>
                <p:cNvSpPr/>
                <p:nvPr/>
              </p:nvSpPr>
              <p:spPr>
                <a:xfrm>
                  <a:off x="2808000" y="2103117"/>
                  <a:ext cx="120307" cy="107023"/>
                </a:xfrm>
                <a:prstGeom prst="ellipse">
                  <a:avLst/>
                </a:prstGeom>
                <a:gradFill flip="none" rotWithShape="1">
                  <a:gsLst>
                    <a:gs pos="28000">
                      <a:schemeClr val="tx1">
                        <a:lumMod val="95000"/>
                        <a:lumOff val="5000"/>
                      </a:schemeClr>
                    </a:gs>
                    <a:gs pos="100000">
                      <a:schemeClr val="tx1">
                        <a:lumMod val="75000"/>
                        <a:lumOff val="25000"/>
                      </a:schemeClr>
                    </a:gs>
                  </a:gsLst>
                  <a:path path="circle">
                    <a:fillToRect l="50000" t="50000" r="50000" b="50000"/>
                  </a:path>
                  <a:tileRect/>
                </a:gradFill>
                <a:ln>
                  <a:solidFill>
                    <a:schemeClr val="tx1">
                      <a:lumMod val="95000"/>
                      <a:lumOff val="5000"/>
                    </a:schemeClr>
                  </a:solidFill>
                </a:ln>
                <a:effectLst/>
              </p:spPr>
              <p:style>
                <a:lnRef idx="1">
                  <a:schemeClr val="accent1"/>
                </a:lnRef>
                <a:fillRef idx="3">
                  <a:schemeClr val="accent1"/>
                </a:fillRef>
                <a:effectRef idx="2">
                  <a:schemeClr val="accent1"/>
                </a:effectRef>
                <a:fontRef idx="minor">
                  <a:schemeClr val="lt1"/>
                </a:fontRef>
              </p:style>
              <p:txBody>
                <a:bodyPr anchor="ctr"/>
                <a:lstStyle>
                  <a:lvl1pPr>
                    <a:defRPr>
                      <a:solidFill>
                        <a:schemeClr val="tx1"/>
                      </a:solidFill>
                      <a:latin typeface="Calibri" charset="0"/>
                      <a:ea typeface="ＭＳ Ｐゴシック" charset="0"/>
                      <a:cs typeface="ＭＳ Ｐゴシック" charset="0"/>
                    </a:defRPr>
                  </a:lvl1pPr>
                  <a:lvl2pPr marL="37931725" indent="-37474525">
                    <a:defRPr>
                      <a:solidFill>
                        <a:schemeClr val="tx1"/>
                      </a:solidFill>
                      <a:latin typeface="Calibri" charset="0"/>
                      <a:ea typeface="ＭＳ Ｐゴシック" charset="0"/>
                    </a:defRPr>
                  </a:lvl2pPr>
                  <a:lvl3pPr>
                    <a:defRPr>
                      <a:solidFill>
                        <a:schemeClr val="tx1"/>
                      </a:solidFill>
                      <a:latin typeface="Calibri" charset="0"/>
                      <a:ea typeface="ＭＳ Ｐゴシック" charset="0"/>
                    </a:defRPr>
                  </a:lvl3pPr>
                  <a:lvl4pPr>
                    <a:defRPr>
                      <a:solidFill>
                        <a:schemeClr val="tx1"/>
                      </a:solidFill>
                      <a:latin typeface="Calibri" charset="0"/>
                      <a:ea typeface="ＭＳ Ｐゴシック" charset="0"/>
                    </a:defRPr>
                  </a:lvl4pPr>
                  <a:lvl5pPr>
                    <a:defRPr>
                      <a:solidFill>
                        <a:schemeClr val="tx1"/>
                      </a:solidFill>
                      <a:latin typeface="Calibri" charset="0"/>
                      <a:ea typeface="ＭＳ Ｐゴシック" charset="0"/>
                    </a:defRPr>
                  </a:lvl5pPr>
                  <a:lvl6pPr marL="457200" fontAlgn="base">
                    <a:spcBef>
                      <a:spcPct val="0"/>
                    </a:spcBef>
                    <a:spcAft>
                      <a:spcPct val="0"/>
                    </a:spcAft>
                    <a:defRPr>
                      <a:solidFill>
                        <a:schemeClr val="tx1"/>
                      </a:solidFill>
                      <a:latin typeface="Calibri" charset="0"/>
                      <a:ea typeface="ＭＳ Ｐゴシック" charset="0"/>
                    </a:defRPr>
                  </a:lvl6pPr>
                  <a:lvl7pPr marL="914400" fontAlgn="base">
                    <a:spcBef>
                      <a:spcPct val="0"/>
                    </a:spcBef>
                    <a:spcAft>
                      <a:spcPct val="0"/>
                    </a:spcAft>
                    <a:defRPr>
                      <a:solidFill>
                        <a:schemeClr val="tx1"/>
                      </a:solidFill>
                      <a:latin typeface="Calibri" charset="0"/>
                      <a:ea typeface="ＭＳ Ｐゴシック" charset="0"/>
                    </a:defRPr>
                  </a:lvl7pPr>
                  <a:lvl8pPr marL="1371600" fontAlgn="base">
                    <a:spcBef>
                      <a:spcPct val="0"/>
                    </a:spcBef>
                    <a:spcAft>
                      <a:spcPct val="0"/>
                    </a:spcAft>
                    <a:defRPr>
                      <a:solidFill>
                        <a:schemeClr val="tx1"/>
                      </a:solidFill>
                      <a:latin typeface="Calibri" charset="0"/>
                      <a:ea typeface="ＭＳ Ｐゴシック" charset="0"/>
                    </a:defRPr>
                  </a:lvl8pPr>
                  <a:lvl9pPr marL="1828800" fontAlgn="base">
                    <a:spcBef>
                      <a:spcPct val="0"/>
                    </a:spcBef>
                    <a:spcAft>
                      <a:spcPct val="0"/>
                    </a:spcAft>
                    <a:defRPr>
                      <a:solidFill>
                        <a:schemeClr val="tx1"/>
                      </a:solidFill>
                      <a:latin typeface="Calibri" charset="0"/>
                      <a:ea typeface="ＭＳ Ｐゴシック" charset="0"/>
                    </a:defRPr>
                  </a:lvl9pPr>
                </a:lstStyle>
                <a:p>
                  <a:pPr algn="ctr" defTabSz="457200" fontAlgn="base">
                    <a:spcBef>
                      <a:spcPct val="0"/>
                    </a:spcBef>
                    <a:spcAft>
                      <a:spcPct val="0"/>
                    </a:spcAft>
                    <a:defRPr/>
                  </a:pPr>
                  <a:endParaRPr lang="en-US" sz="1600" smtClean="0">
                    <a:solidFill>
                      <a:srgbClr val="FFFFFF"/>
                    </a:solidFill>
                  </a:endParaRPr>
                </a:p>
              </p:txBody>
            </p:sp>
            <p:sp>
              <p:nvSpPr>
                <p:cNvPr id="221" name="Block Arc 60"/>
                <p:cNvSpPr/>
                <p:nvPr/>
              </p:nvSpPr>
              <p:spPr>
                <a:xfrm>
                  <a:off x="2614345" y="2045589"/>
                  <a:ext cx="281283" cy="233144"/>
                </a:xfrm>
                <a:prstGeom prst="blockArc">
                  <a:avLst/>
                </a:prstGeom>
                <a:gradFill>
                  <a:gsLst>
                    <a:gs pos="0">
                      <a:schemeClr val="bg1">
                        <a:lumMod val="50000"/>
                      </a:schemeClr>
                    </a:gs>
                    <a:gs pos="100000">
                      <a:schemeClr val="bg1">
                        <a:lumMod val="75000"/>
                      </a:schemeClr>
                    </a:gs>
                  </a:gsLst>
                </a:gra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fontAlgn="base">
                    <a:spcBef>
                      <a:spcPct val="0"/>
                    </a:spcBef>
                    <a:spcAft>
                      <a:spcPct val="0"/>
                    </a:spcAft>
                    <a:defRPr/>
                  </a:pPr>
                  <a:endParaRPr lang="en-US" sz="1600">
                    <a:solidFill>
                      <a:prstClr val="black"/>
                    </a:solidFill>
                    <a:ea typeface="ＭＳ Ｐゴシック" charset="0"/>
                    <a:cs typeface="ＭＳ Ｐゴシック" charset="0"/>
                  </a:endParaRPr>
                </a:p>
              </p:txBody>
            </p:sp>
          </p:grpSp>
          <p:grpSp>
            <p:nvGrpSpPr>
              <p:cNvPr id="14424" name="Group 112"/>
              <p:cNvGrpSpPr>
                <a:grpSpLocks/>
              </p:cNvGrpSpPr>
              <p:nvPr/>
            </p:nvGrpSpPr>
            <p:grpSpPr bwMode="auto">
              <a:xfrm>
                <a:off x="2660955" y="3576740"/>
                <a:ext cx="337507" cy="233260"/>
                <a:chOff x="2590800" y="2048880"/>
                <a:chExt cx="337507" cy="233260"/>
              </a:xfrm>
            </p:grpSpPr>
            <p:sp>
              <p:nvSpPr>
                <p:cNvPr id="216" name="Oval 55"/>
                <p:cNvSpPr/>
                <p:nvPr/>
              </p:nvSpPr>
              <p:spPr>
                <a:xfrm>
                  <a:off x="2590800" y="2103117"/>
                  <a:ext cx="120307" cy="107023"/>
                </a:xfrm>
                <a:prstGeom prst="ellipse">
                  <a:avLst/>
                </a:prstGeom>
                <a:gradFill flip="none" rotWithShape="1">
                  <a:gsLst>
                    <a:gs pos="28000">
                      <a:schemeClr val="tx1">
                        <a:lumMod val="95000"/>
                        <a:lumOff val="5000"/>
                      </a:schemeClr>
                    </a:gs>
                    <a:gs pos="100000">
                      <a:schemeClr val="tx1">
                        <a:lumMod val="75000"/>
                        <a:lumOff val="25000"/>
                      </a:schemeClr>
                    </a:gs>
                  </a:gsLst>
                  <a:path path="circle">
                    <a:fillToRect l="50000" t="50000" r="50000" b="50000"/>
                  </a:path>
                  <a:tileRect/>
                </a:gradFill>
                <a:ln>
                  <a:solidFill>
                    <a:schemeClr val="tx1">
                      <a:lumMod val="95000"/>
                      <a:lumOff val="5000"/>
                    </a:schemeClr>
                  </a:solidFill>
                </a:ln>
                <a:effectLst/>
              </p:spPr>
              <p:style>
                <a:lnRef idx="1">
                  <a:schemeClr val="accent1"/>
                </a:lnRef>
                <a:fillRef idx="3">
                  <a:schemeClr val="accent1"/>
                </a:fillRef>
                <a:effectRef idx="2">
                  <a:schemeClr val="accent1"/>
                </a:effectRef>
                <a:fontRef idx="minor">
                  <a:schemeClr val="lt1"/>
                </a:fontRef>
              </p:style>
              <p:txBody>
                <a:bodyPr anchor="ctr"/>
                <a:lstStyle>
                  <a:lvl1pPr>
                    <a:defRPr>
                      <a:solidFill>
                        <a:schemeClr val="tx1"/>
                      </a:solidFill>
                      <a:latin typeface="Calibri" charset="0"/>
                      <a:ea typeface="ＭＳ Ｐゴシック" charset="0"/>
                      <a:cs typeface="ＭＳ Ｐゴシック" charset="0"/>
                    </a:defRPr>
                  </a:lvl1pPr>
                  <a:lvl2pPr marL="37931725" indent="-37474525">
                    <a:defRPr>
                      <a:solidFill>
                        <a:schemeClr val="tx1"/>
                      </a:solidFill>
                      <a:latin typeface="Calibri" charset="0"/>
                      <a:ea typeface="ＭＳ Ｐゴシック" charset="0"/>
                    </a:defRPr>
                  </a:lvl2pPr>
                  <a:lvl3pPr>
                    <a:defRPr>
                      <a:solidFill>
                        <a:schemeClr val="tx1"/>
                      </a:solidFill>
                      <a:latin typeface="Calibri" charset="0"/>
                      <a:ea typeface="ＭＳ Ｐゴシック" charset="0"/>
                    </a:defRPr>
                  </a:lvl3pPr>
                  <a:lvl4pPr>
                    <a:defRPr>
                      <a:solidFill>
                        <a:schemeClr val="tx1"/>
                      </a:solidFill>
                      <a:latin typeface="Calibri" charset="0"/>
                      <a:ea typeface="ＭＳ Ｐゴシック" charset="0"/>
                    </a:defRPr>
                  </a:lvl4pPr>
                  <a:lvl5pPr>
                    <a:defRPr>
                      <a:solidFill>
                        <a:schemeClr val="tx1"/>
                      </a:solidFill>
                      <a:latin typeface="Calibri" charset="0"/>
                      <a:ea typeface="ＭＳ Ｐゴシック" charset="0"/>
                    </a:defRPr>
                  </a:lvl5pPr>
                  <a:lvl6pPr marL="457200" fontAlgn="base">
                    <a:spcBef>
                      <a:spcPct val="0"/>
                    </a:spcBef>
                    <a:spcAft>
                      <a:spcPct val="0"/>
                    </a:spcAft>
                    <a:defRPr>
                      <a:solidFill>
                        <a:schemeClr val="tx1"/>
                      </a:solidFill>
                      <a:latin typeface="Calibri" charset="0"/>
                      <a:ea typeface="ＭＳ Ｐゴシック" charset="0"/>
                    </a:defRPr>
                  </a:lvl6pPr>
                  <a:lvl7pPr marL="914400" fontAlgn="base">
                    <a:spcBef>
                      <a:spcPct val="0"/>
                    </a:spcBef>
                    <a:spcAft>
                      <a:spcPct val="0"/>
                    </a:spcAft>
                    <a:defRPr>
                      <a:solidFill>
                        <a:schemeClr val="tx1"/>
                      </a:solidFill>
                      <a:latin typeface="Calibri" charset="0"/>
                      <a:ea typeface="ＭＳ Ｐゴシック" charset="0"/>
                    </a:defRPr>
                  </a:lvl7pPr>
                  <a:lvl8pPr marL="1371600" fontAlgn="base">
                    <a:spcBef>
                      <a:spcPct val="0"/>
                    </a:spcBef>
                    <a:spcAft>
                      <a:spcPct val="0"/>
                    </a:spcAft>
                    <a:defRPr>
                      <a:solidFill>
                        <a:schemeClr val="tx1"/>
                      </a:solidFill>
                      <a:latin typeface="Calibri" charset="0"/>
                      <a:ea typeface="ＭＳ Ｐゴシック" charset="0"/>
                    </a:defRPr>
                  </a:lvl8pPr>
                  <a:lvl9pPr marL="1828800" fontAlgn="base">
                    <a:spcBef>
                      <a:spcPct val="0"/>
                    </a:spcBef>
                    <a:spcAft>
                      <a:spcPct val="0"/>
                    </a:spcAft>
                    <a:defRPr>
                      <a:solidFill>
                        <a:schemeClr val="tx1"/>
                      </a:solidFill>
                      <a:latin typeface="Calibri" charset="0"/>
                      <a:ea typeface="ＭＳ Ｐゴシック" charset="0"/>
                    </a:defRPr>
                  </a:lvl9pPr>
                </a:lstStyle>
                <a:p>
                  <a:pPr algn="ctr" defTabSz="457200" fontAlgn="base">
                    <a:spcBef>
                      <a:spcPct val="0"/>
                    </a:spcBef>
                    <a:spcAft>
                      <a:spcPct val="0"/>
                    </a:spcAft>
                    <a:defRPr/>
                  </a:pPr>
                  <a:endParaRPr lang="en-US" sz="1600" smtClean="0">
                    <a:solidFill>
                      <a:srgbClr val="FFFFFF"/>
                    </a:solidFill>
                  </a:endParaRPr>
                </a:p>
              </p:txBody>
            </p:sp>
            <p:sp>
              <p:nvSpPr>
                <p:cNvPr id="217" name="Oval 56"/>
                <p:cNvSpPr/>
                <p:nvPr/>
              </p:nvSpPr>
              <p:spPr>
                <a:xfrm>
                  <a:off x="2808000" y="2103117"/>
                  <a:ext cx="120307" cy="107023"/>
                </a:xfrm>
                <a:prstGeom prst="ellipse">
                  <a:avLst/>
                </a:prstGeom>
                <a:gradFill flip="none" rotWithShape="1">
                  <a:gsLst>
                    <a:gs pos="28000">
                      <a:schemeClr val="tx1">
                        <a:lumMod val="95000"/>
                        <a:lumOff val="5000"/>
                      </a:schemeClr>
                    </a:gs>
                    <a:gs pos="100000">
                      <a:schemeClr val="tx1">
                        <a:lumMod val="75000"/>
                        <a:lumOff val="25000"/>
                      </a:schemeClr>
                    </a:gs>
                  </a:gsLst>
                  <a:path path="circle">
                    <a:fillToRect l="50000" t="50000" r="50000" b="50000"/>
                  </a:path>
                  <a:tileRect/>
                </a:gradFill>
                <a:ln>
                  <a:solidFill>
                    <a:schemeClr val="tx1">
                      <a:lumMod val="95000"/>
                      <a:lumOff val="5000"/>
                    </a:schemeClr>
                  </a:solidFill>
                </a:ln>
                <a:effectLst/>
              </p:spPr>
              <p:style>
                <a:lnRef idx="1">
                  <a:schemeClr val="accent1"/>
                </a:lnRef>
                <a:fillRef idx="3">
                  <a:schemeClr val="accent1"/>
                </a:fillRef>
                <a:effectRef idx="2">
                  <a:schemeClr val="accent1"/>
                </a:effectRef>
                <a:fontRef idx="minor">
                  <a:schemeClr val="lt1"/>
                </a:fontRef>
              </p:style>
              <p:txBody>
                <a:bodyPr anchor="ctr"/>
                <a:lstStyle>
                  <a:lvl1pPr>
                    <a:defRPr>
                      <a:solidFill>
                        <a:schemeClr val="tx1"/>
                      </a:solidFill>
                      <a:latin typeface="Calibri" charset="0"/>
                      <a:ea typeface="ＭＳ Ｐゴシック" charset="0"/>
                      <a:cs typeface="ＭＳ Ｐゴシック" charset="0"/>
                    </a:defRPr>
                  </a:lvl1pPr>
                  <a:lvl2pPr marL="37931725" indent="-37474525">
                    <a:defRPr>
                      <a:solidFill>
                        <a:schemeClr val="tx1"/>
                      </a:solidFill>
                      <a:latin typeface="Calibri" charset="0"/>
                      <a:ea typeface="ＭＳ Ｐゴシック" charset="0"/>
                    </a:defRPr>
                  </a:lvl2pPr>
                  <a:lvl3pPr>
                    <a:defRPr>
                      <a:solidFill>
                        <a:schemeClr val="tx1"/>
                      </a:solidFill>
                      <a:latin typeface="Calibri" charset="0"/>
                      <a:ea typeface="ＭＳ Ｐゴシック" charset="0"/>
                    </a:defRPr>
                  </a:lvl3pPr>
                  <a:lvl4pPr>
                    <a:defRPr>
                      <a:solidFill>
                        <a:schemeClr val="tx1"/>
                      </a:solidFill>
                      <a:latin typeface="Calibri" charset="0"/>
                      <a:ea typeface="ＭＳ Ｐゴシック" charset="0"/>
                    </a:defRPr>
                  </a:lvl4pPr>
                  <a:lvl5pPr>
                    <a:defRPr>
                      <a:solidFill>
                        <a:schemeClr val="tx1"/>
                      </a:solidFill>
                      <a:latin typeface="Calibri" charset="0"/>
                      <a:ea typeface="ＭＳ Ｐゴシック" charset="0"/>
                    </a:defRPr>
                  </a:lvl5pPr>
                  <a:lvl6pPr marL="457200" fontAlgn="base">
                    <a:spcBef>
                      <a:spcPct val="0"/>
                    </a:spcBef>
                    <a:spcAft>
                      <a:spcPct val="0"/>
                    </a:spcAft>
                    <a:defRPr>
                      <a:solidFill>
                        <a:schemeClr val="tx1"/>
                      </a:solidFill>
                      <a:latin typeface="Calibri" charset="0"/>
                      <a:ea typeface="ＭＳ Ｐゴシック" charset="0"/>
                    </a:defRPr>
                  </a:lvl6pPr>
                  <a:lvl7pPr marL="914400" fontAlgn="base">
                    <a:spcBef>
                      <a:spcPct val="0"/>
                    </a:spcBef>
                    <a:spcAft>
                      <a:spcPct val="0"/>
                    </a:spcAft>
                    <a:defRPr>
                      <a:solidFill>
                        <a:schemeClr val="tx1"/>
                      </a:solidFill>
                      <a:latin typeface="Calibri" charset="0"/>
                      <a:ea typeface="ＭＳ Ｐゴシック" charset="0"/>
                    </a:defRPr>
                  </a:lvl7pPr>
                  <a:lvl8pPr marL="1371600" fontAlgn="base">
                    <a:spcBef>
                      <a:spcPct val="0"/>
                    </a:spcBef>
                    <a:spcAft>
                      <a:spcPct val="0"/>
                    </a:spcAft>
                    <a:defRPr>
                      <a:solidFill>
                        <a:schemeClr val="tx1"/>
                      </a:solidFill>
                      <a:latin typeface="Calibri" charset="0"/>
                      <a:ea typeface="ＭＳ Ｐゴシック" charset="0"/>
                    </a:defRPr>
                  </a:lvl8pPr>
                  <a:lvl9pPr marL="1828800" fontAlgn="base">
                    <a:spcBef>
                      <a:spcPct val="0"/>
                    </a:spcBef>
                    <a:spcAft>
                      <a:spcPct val="0"/>
                    </a:spcAft>
                    <a:defRPr>
                      <a:solidFill>
                        <a:schemeClr val="tx1"/>
                      </a:solidFill>
                      <a:latin typeface="Calibri" charset="0"/>
                      <a:ea typeface="ＭＳ Ｐゴシック" charset="0"/>
                    </a:defRPr>
                  </a:lvl9pPr>
                </a:lstStyle>
                <a:p>
                  <a:pPr algn="ctr" defTabSz="457200" fontAlgn="base">
                    <a:spcBef>
                      <a:spcPct val="0"/>
                    </a:spcBef>
                    <a:spcAft>
                      <a:spcPct val="0"/>
                    </a:spcAft>
                    <a:defRPr/>
                  </a:pPr>
                  <a:endParaRPr lang="en-US" sz="1600" smtClean="0">
                    <a:solidFill>
                      <a:srgbClr val="FFFFFF"/>
                    </a:solidFill>
                  </a:endParaRPr>
                </a:p>
              </p:txBody>
            </p:sp>
            <p:sp>
              <p:nvSpPr>
                <p:cNvPr id="218" name="Block Arc 57"/>
                <p:cNvSpPr/>
                <p:nvPr/>
              </p:nvSpPr>
              <p:spPr>
                <a:xfrm>
                  <a:off x="2614345" y="2052254"/>
                  <a:ext cx="281283" cy="233143"/>
                </a:xfrm>
                <a:prstGeom prst="blockArc">
                  <a:avLst/>
                </a:prstGeom>
                <a:gradFill>
                  <a:gsLst>
                    <a:gs pos="0">
                      <a:schemeClr val="bg1">
                        <a:lumMod val="50000"/>
                      </a:schemeClr>
                    </a:gs>
                    <a:gs pos="100000">
                      <a:schemeClr val="bg1">
                        <a:lumMod val="75000"/>
                      </a:schemeClr>
                    </a:gs>
                  </a:gsLst>
                </a:gra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fontAlgn="base">
                    <a:spcBef>
                      <a:spcPct val="0"/>
                    </a:spcBef>
                    <a:spcAft>
                      <a:spcPct val="0"/>
                    </a:spcAft>
                    <a:defRPr/>
                  </a:pPr>
                  <a:endParaRPr lang="en-US" sz="1600">
                    <a:solidFill>
                      <a:prstClr val="black"/>
                    </a:solidFill>
                    <a:ea typeface="ＭＳ Ｐゴシック" charset="0"/>
                    <a:cs typeface="ＭＳ Ｐゴシック" charset="0"/>
                  </a:endParaRPr>
                </a:p>
              </p:txBody>
            </p:sp>
          </p:grpSp>
          <p:grpSp>
            <p:nvGrpSpPr>
              <p:cNvPr id="14425" name="Group 116"/>
              <p:cNvGrpSpPr>
                <a:grpSpLocks/>
              </p:cNvGrpSpPr>
              <p:nvPr/>
            </p:nvGrpSpPr>
            <p:grpSpPr bwMode="auto">
              <a:xfrm>
                <a:off x="2660955" y="3876880"/>
                <a:ext cx="337507" cy="233260"/>
                <a:chOff x="2590800" y="2048880"/>
                <a:chExt cx="337507" cy="233260"/>
              </a:xfrm>
            </p:grpSpPr>
            <p:sp>
              <p:nvSpPr>
                <p:cNvPr id="213" name="Oval 52"/>
                <p:cNvSpPr/>
                <p:nvPr/>
              </p:nvSpPr>
              <p:spPr>
                <a:xfrm>
                  <a:off x="2590800" y="2103117"/>
                  <a:ext cx="120307" cy="107023"/>
                </a:xfrm>
                <a:prstGeom prst="ellipse">
                  <a:avLst/>
                </a:prstGeom>
                <a:gradFill flip="none" rotWithShape="1">
                  <a:gsLst>
                    <a:gs pos="28000">
                      <a:schemeClr val="tx1">
                        <a:lumMod val="95000"/>
                        <a:lumOff val="5000"/>
                      </a:schemeClr>
                    </a:gs>
                    <a:gs pos="100000">
                      <a:schemeClr val="tx1">
                        <a:lumMod val="75000"/>
                        <a:lumOff val="25000"/>
                      </a:schemeClr>
                    </a:gs>
                  </a:gsLst>
                  <a:path path="circle">
                    <a:fillToRect l="50000" t="50000" r="50000" b="50000"/>
                  </a:path>
                  <a:tileRect/>
                </a:gradFill>
                <a:ln>
                  <a:solidFill>
                    <a:schemeClr val="tx1">
                      <a:lumMod val="95000"/>
                      <a:lumOff val="5000"/>
                    </a:schemeClr>
                  </a:solidFill>
                </a:ln>
                <a:effectLst/>
              </p:spPr>
              <p:style>
                <a:lnRef idx="1">
                  <a:schemeClr val="accent1"/>
                </a:lnRef>
                <a:fillRef idx="3">
                  <a:schemeClr val="accent1"/>
                </a:fillRef>
                <a:effectRef idx="2">
                  <a:schemeClr val="accent1"/>
                </a:effectRef>
                <a:fontRef idx="minor">
                  <a:schemeClr val="lt1"/>
                </a:fontRef>
              </p:style>
              <p:txBody>
                <a:bodyPr anchor="ctr"/>
                <a:lstStyle>
                  <a:lvl1pPr>
                    <a:defRPr>
                      <a:solidFill>
                        <a:schemeClr val="tx1"/>
                      </a:solidFill>
                      <a:latin typeface="Calibri" charset="0"/>
                      <a:ea typeface="ＭＳ Ｐゴシック" charset="0"/>
                      <a:cs typeface="ＭＳ Ｐゴシック" charset="0"/>
                    </a:defRPr>
                  </a:lvl1pPr>
                  <a:lvl2pPr marL="37931725" indent="-37474525">
                    <a:defRPr>
                      <a:solidFill>
                        <a:schemeClr val="tx1"/>
                      </a:solidFill>
                      <a:latin typeface="Calibri" charset="0"/>
                      <a:ea typeface="ＭＳ Ｐゴシック" charset="0"/>
                    </a:defRPr>
                  </a:lvl2pPr>
                  <a:lvl3pPr>
                    <a:defRPr>
                      <a:solidFill>
                        <a:schemeClr val="tx1"/>
                      </a:solidFill>
                      <a:latin typeface="Calibri" charset="0"/>
                      <a:ea typeface="ＭＳ Ｐゴシック" charset="0"/>
                    </a:defRPr>
                  </a:lvl3pPr>
                  <a:lvl4pPr>
                    <a:defRPr>
                      <a:solidFill>
                        <a:schemeClr val="tx1"/>
                      </a:solidFill>
                      <a:latin typeface="Calibri" charset="0"/>
                      <a:ea typeface="ＭＳ Ｐゴシック" charset="0"/>
                    </a:defRPr>
                  </a:lvl4pPr>
                  <a:lvl5pPr>
                    <a:defRPr>
                      <a:solidFill>
                        <a:schemeClr val="tx1"/>
                      </a:solidFill>
                      <a:latin typeface="Calibri" charset="0"/>
                      <a:ea typeface="ＭＳ Ｐゴシック" charset="0"/>
                    </a:defRPr>
                  </a:lvl5pPr>
                  <a:lvl6pPr marL="457200" fontAlgn="base">
                    <a:spcBef>
                      <a:spcPct val="0"/>
                    </a:spcBef>
                    <a:spcAft>
                      <a:spcPct val="0"/>
                    </a:spcAft>
                    <a:defRPr>
                      <a:solidFill>
                        <a:schemeClr val="tx1"/>
                      </a:solidFill>
                      <a:latin typeface="Calibri" charset="0"/>
                      <a:ea typeface="ＭＳ Ｐゴシック" charset="0"/>
                    </a:defRPr>
                  </a:lvl6pPr>
                  <a:lvl7pPr marL="914400" fontAlgn="base">
                    <a:spcBef>
                      <a:spcPct val="0"/>
                    </a:spcBef>
                    <a:spcAft>
                      <a:spcPct val="0"/>
                    </a:spcAft>
                    <a:defRPr>
                      <a:solidFill>
                        <a:schemeClr val="tx1"/>
                      </a:solidFill>
                      <a:latin typeface="Calibri" charset="0"/>
                      <a:ea typeface="ＭＳ Ｐゴシック" charset="0"/>
                    </a:defRPr>
                  </a:lvl7pPr>
                  <a:lvl8pPr marL="1371600" fontAlgn="base">
                    <a:spcBef>
                      <a:spcPct val="0"/>
                    </a:spcBef>
                    <a:spcAft>
                      <a:spcPct val="0"/>
                    </a:spcAft>
                    <a:defRPr>
                      <a:solidFill>
                        <a:schemeClr val="tx1"/>
                      </a:solidFill>
                      <a:latin typeface="Calibri" charset="0"/>
                      <a:ea typeface="ＭＳ Ｐゴシック" charset="0"/>
                    </a:defRPr>
                  </a:lvl8pPr>
                  <a:lvl9pPr marL="1828800" fontAlgn="base">
                    <a:spcBef>
                      <a:spcPct val="0"/>
                    </a:spcBef>
                    <a:spcAft>
                      <a:spcPct val="0"/>
                    </a:spcAft>
                    <a:defRPr>
                      <a:solidFill>
                        <a:schemeClr val="tx1"/>
                      </a:solidFill>
                      <a:latin typeface="Calibri" charset="0"/>
                      <a:ea typeface="ＭＳ Ｐゴシック" charset="0"/>
                    </a:defRPr>
                  </a:lvl9pPr>
                </a:lstStyle>
                <a:p>
                  <a:pPr algn="ctr" defTabSz="457200" fontAlgn="base">
                    <a:spcBef>
                      <a:spcPct val="0"/>
                    </a:spcBef>
                    <a:spcAft>
                      <a:spcPct val="0"/>
                    </a:spcAft>
                    <a:defRPr/>
                  </a:pPr>
                  <a:endParaRPr lang="en-US" sz="1600" smtClean="0">
                    <a:solidFill>
                      <a:srgbClr val="FFFFFF"/>
                    </a:solidFill>
                  </a:endParaRPr>
                </a:p>
              </p:txBody>
            </p:sp>
            <p:sp>
              <p:nvSpPr>
                <p:cNvPr id="214" name="Oval 53"/>
                <p:cNvSpPr/>
                <p:nvPr/>
              </p:nvSpPr>
              <p:spPr>
                <a:xfrm>
                  <a:off x="2808000" y="2103117"/>
                  <a:ext cx="120307" cy="107023"/>
                </a:xfrm>
                <a:prstGeom prst="ellipse">
                  <a:avLst/>
                </a:prstGeom>
                <a:gradFill flip="none" rotWithShape="1">
                  <a:gsLst>
                    <a:gs pos="28000">
                      <a:schemeClr val="tx1">
                        <a:lumMod val="95000"/>
                        <a:lumOff val="5000"/>
                      </a:schemeClr>
                    </a:gs>
                    <a:gs pos="100000">
                      <a:schemeClr val="tx1">
                        <a:lumMod val="75000"/>
                        <a:lumOff val="25000"/>
                      </a:schemeClr>
                    </a:gs>
                  </a:gsLst>
                  <a:path path="circle">
                    <a:fillToRect l="50000" t="50000" r="50000" b="50000"/>
                  </a:path>
                  <a:tileRect/>
                </a:gradFill>
                <a:ln>
                  <a:solidFill>
                    <a:schemeClr val="tx1">
                      <a:lumMod val="95000"/>
                      <a:lumOff val="5000"/>
                    </a:schemeClr>
                  </a:solidFill>
                </a:ln>
                <a:effectLst/>
              </p:spPr>
              <p:style>
                <a:lnRef idx="1">
                  <a:schemeClr val="accent1"/>
                </a:lnRef>
                <a:fillRef idx="3">
                  <a:schemeClr val="accent1"/>
                </a:fillRef>
                <a:effectRef idx="2">
                  <a:schemeClr val="accent1"/>
                </a:effectRef>
                <a:fontRef idx="minor">
                  <a:schemeClr val="lt1"/>
                </a:fontRef>
              </p:style>
              <p:txBody>
                <a:bodyPr anchor="ctr"/>
                <a:lstStyle>
                  <a:lvl1pPr>
                    <a:defRPr>
                      <a:solidFill>
                        <a:schemeClr val="tx1"/>
                      </a:solidFill>
                      <a:latin typeface="Calibri" charset="0"/>
                      <a:ea typeface="ＭＳ Ｐゴシック" charset="0"/>
                      <a:cs typeface="ＭＳ Ｐゴシック" charset="0"/>
                    </a:defRPr>
                  </a:lvl1pPr>
                  <a:lvl2pPr marL="37931725" indent="-37474525">
                    <a:defRPr>
                      <a:solidFill>
                        <a:schemeClr val="tx1"/>
                      </a:solidFill>
                      <a:latin typeface="Calibri" charset="0"/>
                      <a:ea typeface="ＭＳ Ｐゴシック" charset="0"/>
                    </a:defRPr>
                  </a:lvl2pPr>
                  <a:lvl3pPr>
                    <a:defRPr>
                      <a:solidFill>
                        <a:schemeClr val="tx1"/>
                      </a:solidFill>
                      <a:latin typeface="Calibri" charset="0"/>
                      <a:ea typeface="ＭＳ Ｐゴシック" charset="0"/>
                    </a:defRPr>
                  </a:lvl3pPr>
                  <a:lvl4pPr>
                    <a:defRPr>
                      <a:solidFill>
                        <a:schemeClr val="tx1"/>
                      </a:solidFill>
                      <a:latin typeface="Calibri" charset="0"/>
                      <a:ea typeface="ＭＳ Ｐゴシック" charset="0"/>
                    </a:defRPr>
                  </a:lvl4pPr>
                  <a:lvl5pPr>
                    <a:defRPr>
                      <a:solidFill>
                        <a:schemeClr val="tx1"/>
                      </a:solidFill>
                      <a:latin typeface="Calibri" charset="0"/>
                      <a:ea typeface="ＭＳ Ｐゴシック" charset="0"/>
                    </a:defRPr>
                  </a:lvl5pPr>
                  <a:lvl6pPr marL="457200" fontAlgn="base">
                    <a:spcBef>
                      <a:spcPct val="0"/>
                    </a:spcBef>
                    <a:spcAft>
                      <a:spcPct val="0"/>
                    </a:spcAft>
                    <a:defRPr>
                      <a:solidFill>
                        <a:schemeClr val="tx1"/>
                      </a:solidFill>
                      <a:latin typeface="Calibri" charset="0"/>
                      <a:ea typeface="ＭＳ Ｐゴシック" charset="0"/>
                    </a:defRPr>
                  </a:lvl6pPr>
                  <a:lvl7pPr marL="914400" fontAlgn="base">
                    <a:spcBef>
                      <a:spcPct val="0"/>
                    </a:spcBef>
                    <a:spcAft>
                      <a:spcPct val="0"/>
                    </a:spcAft>
                    <a:defRPr>
                      <a:solidFill>
                        <a:schemeClr val="tx1"/>
                      </a:solidFill>
                      <a:latin typeface="Calibri" charset="0"/>
                      <a:ea typeface="ＭＳ Ｐゴシック" charset="0"/>
                    </a:defRPr>
                  </a:lvl7pPr>
                  <a:lvl8pPr marL="1371600" fontAlgn="base">
                    <a:spcBef>
                      <a:spcPct val="0"/>
                    </a:spcBef>
                    <a:spcAft>
                      <a:spcPct val="0"/>
                    </a:spcAft>
                    <a:defRPr>
                      <a:solidFill>
                        <a:schemeClr val="tx1"/>
                      </a:solidFill>
                      <a:latin typeface="Calibri" charset="0"/>
                      <a:ea typeface="ＭＳ Ｐゴシック" charset="0"/>
                    </a:defRPr>
                  </a:lvl8pPr>
                  <a:lvl9pPr marL="1828800" fontAlgn="base">
                    <a:spcBef>
                      <a:spcPct val="0"/>
                    </a:spcBef>
                    <a:spcAft>
                      <a:spcPct val="0"/>
                    </a:spcAft>
                    <a:defRPr>
                      <a:solidFill>
                        <a:schemeClr val="tx1"/>
                      </a:solidFill>
                      <a:latin typeface="Calibri" charset="0"/>
                      <a:ea typeface="ＭＳ Ｐゴシック" charset="0"/>
                    </a:defRPr>
                  </a:lvl9pPr>
                </a:lstStyle>
                <a:p>
                  <a:pPr algn="ctr" defTabSz="457200" fontAlgn="base">
                    <a:spcBef>
                      <a:spcPct val="0"/>
                    </a:spcBef>
                    <a:spcAft>
                      <a:spcPct val="0"/>
                    </a:spcAft>
                    <a:defRPr/>
                  </a:pPr>
                  <a:endParaRPr lang="en-US" sz="1600" smtClean="0">
                    <a:solidFill>
                      <a:srgbClr val="FFFFFF"/>
                    </a:solidFill>
                  </a:endParaRPr>
                </a:p>
              </p:txBody>
            </p:sp>
            <p:sp>
              <p:nvSpPr>
                <p:cNvPr id="215" name="Block Arc 54"/>
                <p:cNvSpPr/>
                <p:nvPr/>
              </p:nvSpPr>
              <p:spPr>
                <a:xfrm>
                  <a:off x="2614345" y="2052050"/>
                  <a:ext cx="281283" cy="230623"/>
                </a:xfrm>
                <a:prstGeom prst="blockArc">
                  <a:avLst/>
                </a:prstGeom>
                <a:gradFill>
                  <a:gsLst>
                    <a:gs pos="0">
                      <a:schemeClr val="bg1">
                        <a:lumMod val="50000"/>
                      </a:schemeClr>
                    </a:gs>
                    <a:gs pos="100000">
                      <a:schemeClr val="bg1">
                        <a:lumMod val="75000"/>
                      </a:schemeClr>
                    </a:gs>
                  </a:gsLst>
                </a:gra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fontAlgn="base">
                    <a:spcBef>
                      <a:spcPct val="0"/>
                    </a:spcBef>
                    <a:spcAft>
                      <a:spcPct val="0"/>
                    </a:spcAft>
                    <a:defRPr/>
                  </a:pPr>
                  <a:endParaRPr lang="en-US" sz="1600">
                    <a:solidFill>
                      <a:prstClr val="black"/>
                    </a:solidFill>
                    <a:ea typeface="ＭＳ Ｐゴシック" charset="0"/>
                    <a:cs typeface="ＭＳ Ｐゴシック" charset="0"/>
                  </a:endParaRPr>
                </a:p>
              </p:txBody>
            </p:sp>
          </p:grpSp>
        </p:grpSp>
        <p:cxnSp>
          <p:nvCxnSpPr>
            <p:cNvPr id="228" name="Straight Connector 227"/>
            <p:cNvCxnSpPr>
              <a:cxnSpLocks noChangeShapeType="1"/>
            </p:cNvCxnSpPr>
            <p:nvPr/>
          </p:nvCxnSpPr>
          <p:spPr bwMode="auto">
            <a:xfrm rot="5400000">
              <a:off x="5348270" y="2859080"/>
              <a:ext cx="3441640" cy="6472"/>
            </a:xfrm>
            <a:prstGeom prst="line">
              <a:avLst/>
            </a:prstGeom>
            <a:noFill/>
            <a:ln w="25400">
              <a:solidFill>
                <a:schemeClr val="accent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grpSp>
      <p:grpSp>
        <p:nvGrpSpPr>
          <p:cNvPr id="14342" name="Group 241"/>
          <p:cNvGrpSpPr>
            <a:grpSpLocks/>
          </p:cNvGrpSpPr>
          <p:nvPr/>
        </p:nvGrpSpPr>
        <p:grpSpPr bwMode="auto">
          <a:xfrm rot="12681180">
            <a:off x="-120970" y="5523989"/>
            <a:ext cx="4165552" cy="982050"/>
            <a:chOff x="4730866" y="4965152"/>
            <a:chExt cx="4233874" cy="982546"/>
          </a:xfrm>
        </p:grpSpPr>
        <p:grpSp>
          <p:nvGrpSpPr>
            <p:cNvPr id="14351" name="Group 179"/>
            <p:cNvGrpSpPr>
              <a:grpSpLocks/>
            </p:cNvGrpSpPr>
            <p:nvPr/>
          </p:nvGrpSpPr>
          <p:grpSpPr bwMode="auto">
            <a:xfrm rot="4433168">
              <a:off x="6724678" y="3707637"/>
              <a:ext cx="507815" cy="3972308"/>
              <a:chOff x="7147940" y="1286904"/>
              <a:chExt cx="507815" cy="3972308"/>
            </a:xfrm>
          </p:grpSpPr>
          <p:sp>
            <p:nvSpPr>
              <p:cNvPr id="181" name="Round Same Side Corner Rectangle 180"/>
              <p:cNvSpPr>
                <a:spLocks/>
              </p:cNvSpPr>
              <p:nvPr/>
            </p:nvSpPr>
            <p:spPr bwMode="auto">
              <a:xfrm>
                <a:off x="7267242" y="1289507"/>
                <a:ext cx="381193" cy="3202873"/>
              </a:xfrm>
              <a:custGeom>
                <a:avLst/>
                <a:gdLst>
                  <a:gd name="T0" fmla="*/ 190597 w 381193"/>
                  <a:gd name="T1" fmla="*/ 0 h 3201717"/>
                  <a:gd name="T2" fmla="*/ 190597 w 381193"/>
                  <a:gd name="T3" fmla="*/ 0 h 3201717"/>
                  <a:gd name="T4" fmla="*/ 381194 w 381193"/>
                  <a:gd name="T5" fmla="*/ 190597 h 3201717"/>
                  <a:gd name="T6" fmla="*/ 381193 w 381193"/>
                  <a:gd name="T7" fmla="*/ 3201717 h 3201717"/>
                  <a:gd name="T8" fmla="*/ 381193 w 381193"/>
                  <a:gd name="T9" fmla="*/ 3201717 h 3201717"/>
                  <a:gd name="T10" fmla="*/ 0 w 381193"/>
                  <a:gd name="T11" fmla="*/ 3201717 h 3201717"/>
                  <a:gd name="T12" fmla="*/ 0 w 381193"/>
                  <a:gd name="T13" fmla="*/ 3201717 h 3201717"/>
                  <a:gd name="T14" fmla="*/ 0 w 381193"/>
                  <a:gd name="T15" fmla="*/ 190597 h 3201717"/>
                  <a:gd name="T16" fmla="*/ 190597 w 381193"/>
                  <a:gd name="T17" fmla="*/ 0 h 320171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81193" h="3201717">
                    <a:moveTo>
                      <a:pt x="190597" y="0"/>
                    </a:moveTo>
                    <a:lnTo>
                      <a:pt x="190597" y="0"/>
                    </a:lnTo>
                    <a:cubicBezTo>
                      <a:pt x="295861" y="0"/>
                      <a:pt x="381194" y="85333"/>
                      <a:pt x="381194" y="190597"/>
                    </a:cubicBezTo>
                    <a:cubicBezTo>
                      <a:pt x="381194" y="1194304"/>
                      <a:pt x="381193" y="2198010"/>
                      <a:pt x="381193" y="3201717"/>
                    </a:cubicBezTo>
                    <a:lnTo>
                      <a:pt x="0" y="3201717"/>
                    </a:lnTo>
                    <a:lnTo>
                      <a:pt x="0" y="190597"/>
                    </a:lnTo>
                    <a:cubicBezTo>
                      <a:pt x="0" y="85333"/>
                      <a:pt x="85333" y="0"/>
                      <a:pt x="190597" y="0"/>
                    </a:cubicBezTo>
                    <a:close/>
                  </a:path>
                </a:pathLst>
              </a:custGeom>
              <a:gradFill rotWithShape="1">
                <a:gsLst>
                  <a:gs pos="0">
                    <a:srgbClr val="7F7F7F"/>
                  </a:gs>
                  <a:gs pos="54000">
                    <a:srgbClr val="F2F2F2"/>
                  </a:gs>
                  <a:gs pos="100000">
                    <a:srgbClr val="7F7F7F"/>
                  </a:gs>
                </a:gsLst>
                <a:lin ang="0"/>
              </a:gradFill>
              <a:ln w="9525" cap="flat" cmpd="sng">
                <a:solidFill>
                  <a:srgbClr val="7F7F7F"/>
                </a:solidFill>
                <a:prstDash val="solid"/>
                <a:round/>
                <a:headEnd/>
                <a:tailEnd/>
              </a:ln>
              <a:effectLst>
                <a:outerShdw blurRad="40000" dist="23000" dir="5400000" rotWithShape="0">
                  <a:srgbClr val="000000">
                    <a:alpha val="34999"/>
                  </a:srgbClr>
                </a:outerShdw>
              </a:effectLst>
            </p:spPr>
            <p:txBody>
              <a:bodyPr anchor="ctr"/>
              <a:lstStyle/>
              <a:p>
                <a:pPr defTabSz="457200" fontAlgn="base">
                  <a:spcBef>
                    <a:spcPct val="0"/>
                  </a:spcBef>
                  <a:spcAft>
                    <a:spcPct val="0"/>
                  </a:spcAft>
                  <a:defRPr/>
                </a:pPr>
                <a:endParaRPr lang="tr-TR" sz="1600">
                  <a:solidFill>
                    <a:prstClr val="black"/>
                  </a:solidFill>
                  <a:ea typeface="MS PGothic" pitchFamily="34" charset="-128"/>
                </a:endParaRPr>
              </a:p>
            </p:txBody>
          </p:sp>
          <p:sp>
            <p:nvSpPr>
              <p:cNvPr id="182" name="Trapezoid 181"/>
              <p:cNvSpPr>
                <a:spLocks/>
              </p:cNvSpPr>
              <p:nvPr/>
            </p:nvSpPr>
            <p:spPr bwMode="auto">
              <a:xfrm rot="10800000">
                <a:off x="7273923" y="4498146"/>
                <a:ext cx="381193" cy="761590"/>
              </a:xfrm>
              <a:custGeom>
                <a:avLst/>
                <a:gdLst>
                  <a:gd name="T0" fmla="*/ 0 w 381193"/>
                  <a:gd name="T1" fmla="*/ 761936 h 761936"/>
                  <a:gd name="T2" fmla="*/ 158832 w 381193"/>
                  <a:gd name="T3" fmla="*/ 0 h 761936"/>
                  <a:gd name="T4" fmla="*/ 222361 w 381193"/>
                  <a:gd name="T5" fmla="*/ 0 h 761936"/>
                  <a:gd name="T6" fmla="*/ 381193 w 381193"/>
                  <a:gd name="T7" fmla="*/ 761936 h 761936"/>
                  <a:gd name="T8" fmla="*/ 0 w 381193"/>
                  <a:gd name="T9" fmla="*/ 761936 h 7619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81193" h="761936">
                    <a:moveTo>
                      <a:pt x="0" y="761936"/>
                    </a:moveTo>
                    <a:lnTo>
                      <a:pt x="158832" y="0"/>
                    </a:lnTo>
                    <a:lnTo>
                      <a:pt x="222361" y="0"/>
                    </a:lnTo>
                    <a:lnTo>
                      <a:pt x="381193" y="761936"/>
                    </a:lnTo>
                    <a:lnTo>
                      <a:pt x="0" y="761936"/>
                    </a:lnTo>
                    <a:close/>
                  </a:path>
                </a:pathLst>
              </a:custGeom>
              <a:gradFill rotWithShape="1">
                <a:gsLst>
                  <a:gs pos="0">
                    <a:srgbClr val="0D0D0D"/>
                  </a:gs>
                  <a:gs pos="48000">
                    <a:srgbClr val="404040"/>
                  </a:gs>
                  <a:gs pos="100000">
                    <a:srgbClr val="000000"/>
                  </a:gs>
                </a:gsLst>
                <a:lin ang="0"/>
              </a:gradFill>
              <a:ln>
                <a:noFill/>
              </a:ln>
              <a:effectLst>
                <a:outerShdw blurRad="40000" dist="23000" dir="5400000" rotWithShape="0">
                  <a:srgbClr val="000000">
                    <a:alpha val="34999"/>
                  </a:srgbClr>
                </a:outerShdw>
              </a:effectLst>
              <a:extLst>
                <a:ext uri="{91240B29-F687-4F45-9708-019B960494DF}">
                  <a14:hiddenLine xmlns:a14="http://schemas.microsoft.com/office/drawing/2010/main" w="9525" cap="flat" cmpd="sng">
                    <a:solidFill>
                      <a:srgbClr val="000000"/>
                    </a:solidFill>
                    <a:prstDash val="solid"/>
                    <a:round/>
                    <a:headEnd/>
                    <a:tailEnd/>
                  </a14:hiddenLine>
                </a:ext>
              </a:extLst>
            </p:spPr>
            <p:txBody>
              <a:bodyPr anchor="ctr"/>
              <a:lstStyle/>
              <a:p>
                <a:pPr defTabSz="457200" fontAlgn="base">
                  <a:spcBef>
                    <a:spcPct val="0"/>
                  </a:spcBef>
                  <a:spcAft>
                    <a:spcPct val="0"/>
                  </a:spcAft>
                  <a:defRPr/>
                </a:pPr>
                <a:endParaRPr lang="tr-TR" sz="1600">
                  <a:solidFill>
                    <a:prstClr val="black"/>
                  </a:solidFill>
                  <a:ea typeface="MS PGothic" pitchFamily="34" charset="-128"/>
                </a:endParaRPr>
              </a:p>
            </p:txBody>
          </p:sp>
          <p:cxnSp>
            <p:nvCxnSpPr>
              <p:cNvPr id="183" name="Straight Connector 182"/>
              <p:cNvCxnSpPr/>
              <p:nvPr/>
            </p:nvCxnSpPr>
            <p:spPr>
              <a:xfrm>
                <a:off x="7267624" y="1627248"/>
                <a:ext cx="381193" cy="1614"/>
              </a:xfrm>
              <a:prstGeom prst="line">
                <a:avLst/>
              </a:prstGeom>
              <a:ln>
                <a:solidFill>
                  <a:schemeClr val="tx1">
                    <a:lumMod val="95000"/>
                    <a:lumOff val="5000"/>
                  </a:schemeClr>
                </a:solidFill>
              </a:ln>
              <a:effectLst/>
            </p:spPr>
            <p:style>
              <a:lnRef idx="2">
                <a:schemeClr val="accent1"/>
              </a:lnRef>
              <a:fillRef idx="0">
                <a:schemeClr val="accent1"/>
              </a:fillRef>
              <a:effectRef idx="1">
                <a:schemeClr val="accent1"/>
              </a:effectRef>
              <a:fontRef idx="minor">
                <a:schemeClr val="tx1"/>
              </a:fontRef>
            </p:style>
          </p:cxnSp>
          <p:sp>
            <p:nvSpPr>
              <p:cNvPr id="184" name="Left Bracket 183"/>
              <p:cNvSpPr>
                <a:spLocks/>
              </p:cNvSpPr>
              <p:nvPr/>
            </p:nvSpPr>
            <p:spPr bwMode="auto">
              <a:xfrm>
                <a:off x="7181917" y="1625856"/>
                <a:ext cx="84181" cy="913262"/>
              </a:xfrm>
              <a:prstGeom prst="leftBracket">
                <a:avLst>
                  <a:gd name="adj" fmla="val 8333"/>
                </a:avLst>
              </a:prstGeom>
              <a:noFill/>
              <a:ln w="25400">
                <a:solidFill>
                  <a:schemeClr val="tx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solidFill>
                      <a:srgbClr val="FFFFFF"/>
                    </a:solidFill>
                  </a14:hiddenFill>
                </a:ext>
              </a:extLst>
            </p:spPr>
            <p:txBody>
              <a:bodyPr anchor="ctr"/>
              <a:lstStyle/>
              <a:p>
                <a:pPr algn="ctr" defTabSz="457200" fontAlgn="base">
                  <a:spcBef>
                    <a:spcPct val="0"/>
                  </a:spcBef>
                  <a:spcAft>
                    <a:spcPct val="0"/>
                  </a:spcAft>
                  <a:defRPr/>
                </a:pPr>
                <a:endParaRPr lang="en-US" sz="1600">
                  <a:solidFill>
                    <a:prstClr val="black"/>
                  </a:solidFill>
                  <a:ea typeface="ＭＳ Ｐゴシック" charset="0"/>
                  <a:cs typeface="ＭＳ Ｐゴシック" charset="0"/>
                </a:endParaRPr>
              </a:p>
            </p:txBody>
          </p:sp>
          <p:sp>
            <p:nvSpPr>
              <p:cNvPr id="185" name="Oval 184"/>
              <p:cNvSpPr/>
              <p:nvPr/>
            </p:nvSpPr>
            <p:spPr>
              <a:xfrm>
                <a:off x="7147940" y="2477235"/>
                <a:ext cx="120598" cy="120599"/>
              </a:xfrm>
              <a:prstGeom prst="ellipse">
                <a:avLst/>
              </a:prstGeom>
              <a:gradFill flip="none" rotWithShape="1">
                <a:gsLst>
                  <a:gs pos="100000">
                    <a:schemeClr val="tx1">
                      <a:lumMod val="95000"/>
                      <a:lumOff val="5000"/>
                    </a:schemeClr>
                  </a:gs>
                  <a:gs pos="0">
                    <a:schemeClr val="tx1">
                      <a:lumMod val="85000"/>
                      <a:lumOff val="15000"/>
                    </a:schemeClr>
                  </a:gs>
                </a:gsLst>
                <a:path path="circle">
                  <a:fillToRect l="50000" t="50000" r="50000" b="50000"/>
                </a:path>
                <a:tileRect/>
              </a:gradFill>
              <a:ln>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lvl1pPr>
                  <a:defRPr>
                    <a:solidFill>
                      <a:schemeClr val="tx1"/>
                    </a:solidFill>
                    <a:latin typeface="Calibri" charset="0"/>
                    <a:ea typeface="ＭＳ Ｐゴシック" charset="0"/>
                    <a:cs typeface="ＭＳ Ｐゴシック" charset="0"/>
                  </a:defRPr>
                </a:lvl1pPr>
                <a:lvl2pPr marL="37931725" indent="-37474525">
                  <a:defRPr>
                    <a:solidFill>
                      <a:schemeClr val="tx1"/>
                    </a:solidFill>
                    <a:latin typeface="Calibri" charset="0"/>
                    <a:ea typeface="ＭＳ Ｐゴシック" charset="0"/>
                  </a:defRPr>
                </a:lvl2pPr>
                <a:lvl3pPr>
                  <a:defRPr>
                    <a:solidFill>
                      <a:schemeClr val="tx1"/>
                    </a:solidFill>
                    <a:latin typeface="Calibri" charset="0"/>
                    <a:ea typeface="ＭＳ Ｐゴシック" charset="0"/>
                  </a:defRPr>
                </a:lvl3pPr>
                <a:lvl4pPr>
                  <a:defRPr>
                    <a:solidFill>
                      <a:schemeClr val="tx1"/>
                    </a:solidFill>
                    <a:latin typeface="Calibri" charset="0"/>
                    <a:ea typeface="ＭＳ Ｐゴシック" charset="0"/>
                  </a:defRPr>
                </a:lvl4pPr>
                <a:lvl5pPr>
                  <a:defRPr>
                    <a:solidFill>
                      <a:schemeClr val="tx1"/>
                    </a:solidFill>
                    <a:latin typeface="Calibri" charset="0"/>
                    <a:ea typeface="ＭＳ Ｐゴシック" charset="0"/>
                  </a:defRPr>
                </a:lvl5pPr>
                <a:lvl6pPr marL="457200" fontAlgn="base">
                  <a:spcBef>
                    <a:spcPct val="0"/>
                  </a:spcBef>
                  <a:spcAft>
                    <a:spcPct val="0"/>
                  </a:spcAft>
                  <a:defRPr>
                    <a:solidFill>
                      <a:schemeClr val="tx1"/>
                    </a:solidFill>
                    <a:latin typeface="Calibri" charset="0"/>
                    <a:ea typeface="ＭＳ Ｐゴシック" charset="0"/>
                  </a:defRPr>
                </a:lvl6pPr>
                <a:lvl7pPr marL="914400" fontAlgn="base">
                  <a:spcBef>
                    <a:spcPct val="0"/>
                  </a:spcBef>
                  <a:spcAft>
                    <a:spcPct val="0"/>
                  </a:spcAft>
                  <a:defRPr>
                    <a:solidFill>
                      <a:schemeClr val="tx1"/>
                    </a:solidFill>
                    <a:latin typeface="Calibri" charset="0"/>
                    <a:ea typeface="ＭＳ Ｐゴシック" charset="0"/>
                  </a:defRPr>
                </a:lvl7pPr>
                <a:lvl8pPr marL="1371600" fontAlgn="base">
                  <a:spcBef>
                    <a:spcPct val="0"/>
                  </a:spcBef>
                  <a:spcAft>
                    <a:spcPct val="0"/>
                  </a:spcAft>
                  <a:defRPr>
                    <a:solidFill>
                      <a:schemeClr val="tx1"/>
                    </a:solidFill>
                    <a:latin typeface="Calibri" charset="0"/>
                    <a:ea typeface="ＭＳ Ｐゴシック" charset="0"/>
                  </a:defRPr>
                </a:lvl8pPr>
                <a:lvl9pPr marL="1828800" fontAlgn="base">
                  <a:spcBef>
                    <a:spcPct val="0"/>
                  </a:spcBef>
                  <a:spcAft>
                    <a:spcPct val="0"/>
                  </a:spcAft>
                  <a:defRPr>
                    <a:solidFill>
                      <a:schemeClr val="tx1"/>
                    </a:solidFill>
                    <a:latin typeface="Calibri" charset="0"/>
                    <a:ea typeface="ＭＳ Ｐゴシック" charset="0"/>
                  </a:defRPr>
                </a:lvl9pPr>
              </a:lstStyle>
              <a:p>
                <a:pPr algn="ctr" defTabSz="457200" fontAlgn="base">
                  <a:spcBef>
                    <a:spcPct val="0"/>
                  </a:spcBef>
                  <a:spcAft>
                    <a:spcPct val="0"/>
                  </a:spcAft>
                  <a:defRPr/>
                </a:pPr>
                <a:endParaRPr lang="en-US" sz="1600" smtClean="0">
                  <a:solidFill>
                    <a:srgbClr val="FFFFFF"/>
                  </a:solidFill>
                </a:endParaRPr>
              </a:p>
            </p:txBody>
          </p:sp>
        </p:grpSp>
        <p:sp>
          <p:nvSpPr>
            <p:cNvPr id="186" name="Oval 185"/>
            <p:cNvSpPr>
              <a:spLocks noChangeArrowheads="1"/>
            </p:cNvSpPr>
            <p:nvPr/>
          </p:nvSpPr>
          <p:spPr bwMode="auto">
            <a:xfrm rot="19718820">
              <a:off x="4730866" y="4965152"/>
              <a:ext cx="4208106" cy="169948"/>
            </a:xfrm>
            <a:prstGeom prst="ellipse">
              <a:avLst/>
            </a:prstGeom>
            <a:gradFill rotWithShape="1">
              <a:gsLst>
                <a:gs pos="0">
                  <a:srgbClr val="0D0D0D">
                    <a:alpha val="47000"/>
                  </a:srgbClr>
                </a:gs>
                <a:gs pos="100000">
                  <a:srgbClr val="9BC1FF">
                    <a:alpha val="0"/>
                  </a:srgbClr>
                </a:gs>
              </a:gsLst>
              <a:path path="shape">
                <a:fillToRect l="50000" t="50000" r="50000" b="50000"/>
              </a:path>
            </a:gradFill>
            <a:ln w="9525">
              <a:noFill/>
              <a:round/>
              <a:headEnd/>
              <a:tailEnd/>
            </a:ln>
            <a:effectLst>
              <a:outerShdw blurRad="63500" dist="23000" dir="5400000" rotWithShape="0">
                <a:srgbClr val="000000">
                  <a:alpha val="34999"/>
                </a:srgbClr>
              </a:outerShdw>
            </a:effectLst>
          </p:spPr>
          <p:txBody>
            <a:bodyPr anchor="ctr"/>
            <a:lstStyle/>
            <a:p>
              <a:pPr algn="ctr" defTabSz="457200" fontAlgn="base">
                <a:spcBef>
                  <a:spcPct val="0"/>
                </a:spcBef>
                <a:spcAft>
                  <a:spcPct val="0"/>
                </a:spcAft>
                <a:defRPr/>
              </a:pPr>
              <a:endParaRPr lang="en-US" sz="1600">
                <a:solidFill>
                  <a:srgbClr val="FFFFFF"/>
                </a:solidFill>
                <a:ea typeface="ＭＳ Ｐゴシック" charset="0"/>
                <a:cs typeface="Arial" charset="0"/>
              </a:endParaRPr>
            </a:p>
          </p:txBody>
        </p:sp>
      </p:grpSp>
      <p:cxnSp>
        <p:nvCxnSpPr>
          <p:cNvPr id="229" name="Straight Connector 225"/>
          <p:cNvCxnSpPr>
            <a:cxnSpLocks noChangeShapeType="1"/>
          </p:cNvCxnSpPr>
          <p:nvPr/>
        </p:nvCxnSpPr>
        <p:spPr bwMode="auto">
          <a:xfrm flipH="1">
            <a:off x="4833938" y="1141413"/>
            <a:ext cx="6350" cy="3446462"/>
          </a:xfrm>
          <a:prstGeom prst="line">
            <a:avLst/>
          </a:prstGeom>
          <a:noFill/>
          <a:ln w="25400">
            <a:solidFill>
              <a:schemeClr val="accent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245" name="Round Same Side Corner Rectangle 183"/>
          <p:cNvSpPr/>
          <p:nvPr/>
        </p:nvSpPr>
        <p:spPr bwMode="auto">
          <a:xfrm>
            <a:off x="8447088" y="920750"/>
            <a:ext cx="204787" cy="217488"/>
          </a:xfrm>
          <a:prstGeom prst="round2SameRect">
            <a:avLst/>
          </a:prstGeom>
          <a:gradFill rotWithShape="1">
            <a:gsLst>
              <a:gs pos="0">
                <a:schemeClr val="tx2">
                  <a:lumMod val="60000"/>
                  <a:lumOff val="40000"/>
                </a:schemeClr>
              </a:gs>
              <a:gs pos="100000">
                <a:schemeClr val="tx2">
                  <a:lumMod val="40000"/>
                  <a:lumOff val="60000"/>
                </a:schemeClr>
              </a:gs>
            </a:gsLst>
            <a:lin ang="16200000" scaled="0"/>
          </a:gradFill>
          <a:ln w="9525" cap="flat" cmpd="sng" algn="ctr">
            <a:noFill/>
            <a:prstDash val="solid"/>
          </a:ln>
          <a:effectLst/>
        </p:spPr>
        <p:txBody>
          <a:bodyPr anchor="ctr"/>
          <a:lstStyle/>
          <a:p>
            <a:pPr algn="ctr" fontAlgn="base">
              <a:spcBef>
                <a:spcPct val="0"/>
              </a:spcBef>
              <a:spcAft>
                <a:spcPct val="0"/>
              </a:spcAft>
              <a:defRPr/>
            </a:pPr>
            <a:endParaRPr lang="en-US" sz="1600">
              <a:solidFill>
                <a:srgbClr val="FFFFFF"/>
              </a:solidFill>
              <a:ea typeface="ＭＳ Ｐゴシック" charset="0"/>
              <a:cs typeface="ＭＳ Ｐゴシック" charset="0"/>
            </a:endParaRPr>
          </a:p>
        </p:txBody>
      </p:sp>
      <p:sp>
        <p:nvSpPr>
          <p:cNvPr id="246" name="Round Same Side Corner Rectangle 183"/>
          <p:cNvSpPr/>
          <p:nvPr/>
        </p:nvSpPr>
        <p:spPr bwMode="auto">
          <a:xfrm>
            <a:off x="8685213" y="922338"/>
            <a:ext cx="203200" cy="217487"/>
          </a:xfrm>
          <a:prstGeom prst="round2SameRect">
            <a:avLst/>
          </a:prstGeom>
          <a:gradFill rotWithShape="1">
            <a:gsLst>
              <a:gs pos="0">
                <a:schemeClr val="tx2">
                  <a:lumMod val="60000"/>
                  <a:lumOff val="40000"/>
                </a:schemeClr>
              </a:gs>
              <a:gs pos="100000">
                <a:schemeClr val="tx2">
                  <a:lumMod val="40000"/>
                  <a:lumOff val="60000"/>
                </a:schemeClr>
              </a:gs>
            </a:gsLst>
            <a:lin ang="16200000" scaled="0"/>
          </a:gradFill>
          <a:ln w="9525" cap="flat" cmpd="sng" algn="ctr">
            <a:noFill/>
            <a:prstDash val="solid"/>
          </a:ln>
          <a:effectLst/>
        </p:spPr>
        <p:txBody>
          <a:bodyPr anchor="ctr"/>
          <a:lstStyle/>
          <a:p>
            <a:pPr algn="ctr" fontAlgn="base">
              <a:spcBef>
                <a:spcPct val="0"/>
              </a:spcBef>
              <a:spcAft>
                <a:spcPct val="0"/>
              </a:spcAft>
              <a:defRPr/>
            </a:pPr>
            <a:endParaRPr lang="en-US" sz="1600">
              <a:solidFill>
                <a:srgbClr val="FFFFFF"/>
              </a:solidFill>
              <a:ea typeface="ＭＳ Ｐゴシック" charset="0"/>
              <a:cs typeface="ＭＳ Ｐゴシック" charset="0"/>
            </a:endParaRPr>
          </a:p>
        </p:txBody>
      </p:sp>
      <p:sp>
        <p:nvSpPr>
          <p:cNvPr id="14347" name="TextBox 229"/>
          <p:cNvSpPr txBox="1">
            <a:spLocks noChangeArrowheads="1"/>
          </p:cNvSpPr>
          <p:nvPr/>
        </p:nvSpPr>
        <p:spPr bwMode="auto">
          <a:xfrm>
            <a:off x="4714478" y="1190625"/>
            <a:ext cx="1114425"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algn="ctr" defTabSz="457200" eaLnBrk="1" fontAlgn="base" hangingPunct="1">
              <a:spcBef>
                <a:spcPct val="0"/>
              </a:spcBef>
              <a:spcAft>
                <a:spcPct val="0"/>
              </a:spcAft>
            </a:pPr>
            <a:r>
              <a:rPr lang="tr-TR" sz="1600" b="1" dirty="0" smtClean="0">
                <a:solidFill>
                  <a:srgbClr val="558ED5"/>
                </a:solidFill>
              </a:rPr>
              <a:t>Kağıt</a:t>
            </a:r>
            <a:endParaRPr lang="en-US" sz="1600" b="1" dirty="0" smtClean="0">
              <a:solidFill>
                <a:srgbClr val="558ED5"/>
              </a:solidFill>
            </a:endParaRPr>
          </a:p>
        </p:txBody>
      </p:sp>
      <p:sp>
        <p:nvSpPr>
          <p:cNvPr id="14349" name="TextBox 229"/>
          <p:cNvSpPr txBox="1">
            <a:spLocks noChangeArrowheads="1"/>
          </p:cNvSpPr>
          <p:nvPr/>
        </p:nvSpPr>
        <p:spPr bwMode="auto">
          <a:xfrm>
            <a:off x="6914356" y="1190625"/>
            <a:ext cx="1114425"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algn="ctr" defTabSz="457200" eaLnBrk="1" fontAlgn="base" hangingPunct="1">
              <a:spcBef>
                <a:spcPct val="0"/>
              </a:spcBef>
              <a:spcAft>
                <a:spcPct val="0"/>
              </a:spcAft>
            </a:pPr>
            <a:r>
              <a:rPr lang="tr-TR" sz="1600" b="1" dirty="0" smtClean="0">
                <a:solidFill>
                  <a:srgbClr val="558ED5"/>
                </a:solidFill>
              </a:rPr>
              <a:t>Elektronik</a:t>
            </a:r>
            <a:endParaRPr lang="en-US" sz="1600" b="1" dirty="0" smtClean="0">
              <a:solidFill>
                <a:srgbClr val="558ED5"/>
              </a:solidFill>
            </a:endParaRPr>
          </a:p>
        </p:txBody>
      </p:sp>
      <p:sp>
        <p:nvSpPr>
          <p:cNvPr id="251" name="TextBox 54"/>
          <p:cNvSpPr txBox="1">
            <a:spLocks noChangeArrowheads="1"/>
          </p:cNvSpPr>
          <p:nvPr/>
        </p:nvSpPr>
        <p:spPr bwMode="auto">
          <a:xfrm>
            <a:off x="961203" y="251507"/>
            <a:ext cx="7221595" cy="477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itchFamily="34" charset="0"/>
                <a:ea typeface="MS PGothic" pitchFamily="34" charset="-128"/>
              </a:defRPr>
            </a:lvl1pPr>
            <a:lvl2pPr marL="742950" indent="-285750">
              <a:defRPr>
                <a:solidFill>
                  <a:schemeClr val="tx1"/>
                </a:solidFill>
                <a:latin typeface="Calibri" pitchFamily="34" charset="0"/>
                <a:ea typeface="MS PGothic" pitchFamily="34" charset="-128"/>
              </a:defRPr>
            </a:lvl2pPr>
            <a:lvl3pPr marL="1143000" indent="-228600">
              <a:defRPr>
                <a:solidFill>
                  <a:schemeClr val="tx1"/>
                </a:solidFill>
                <a:latin typeface="Calibri" pitchFamily="34" charset="0"/>
                <a:ea typeface="MS PGothic" pitchFamily="34" charset="-128"/>
              </a:defRPr>
            </a:lvl3pPr>
            <a:lvl4pPr marL="1600200" indent="-228600">
              <a:defRPr>
                <a:solidFill>
                  <a:schemeClr val="tx1"/>
                </a:solidFill>
                <a:latin typeface="Calibri" pitchFamily="34" charset="0"/>
                <a:ea typeface="MS PGothic" pitchFamily="34" charset="-128"/>
              </a:defRPr>
            </a:lvl4pPr>
            <a:lvl5pPr marL="2057400" indent="-228600">
              <a:defRPr>
                <a:solidFill>
                  <a:schemeClr val="tx1"/>
                </a:solidFill>
                <a:latin typeface="Calibri" pitchFamily="34" charset="0"/>
                <a:ea typeface="MS PGothic" pitchFamily="34" charset="-128"/>
              </a:defRPr>
            </a:lvl5pPr>
            <a:lvl6pPr marL="2514600" indent="-228600" defTabSz="457200" fontAlgn="base">
              <a:spcBef>
                <a:spcPct val="0"/>
              </a:spcBef>
              <a:spcAft>
                <a:spcPct val="0"/>
              </a:spcAft>
              <a:defRPr>
                <a:solidFill>
                  <a:schemeClr val="tx1"/>
                </a:solidFill>
                <a:latin typeface="Calibri" pitchFamily="34" charset="0"/>
                <a:ea typeface="MS PGothic" pitchFamily="34" charset="-128"/>
              </a:defRPr>
            </a:lvl6pPr>
            <a:lvl7pPr marL="2971800" indent="-228600" defTabSz="457200" fontAlgn="base">
              <a:spcBef>
                <a:spcPct val="0"/>
              </a:spcBef>
              <a:spcAft>
                <a:spcPct val="0"/>
              </a:spcAft>
              <a:defRPr>
                <a:solidFill>
                  <a:schemeClr val="tx1"/>
                </a:solidFill>
                <a:latin typeface="Calibri" pitchFamily="34" charset="0"/>
                <a:ea typeface="MS PGothic" pitchFamily="34" charset="-128"/>
              </a:defRPr>
            </a:lvl7pPr>
            <a:lvl8pPr marL="3429000" indent="-228600" defTabSz="457200" fontAlgn="base">
              <a:spcBef>
                <a:spcPct val="0"/>
              </a:spcBef>
              <a:spcAft>
                <a:spcPct val="0"/>
              </a:spcAft>
              <a:defRPr>
                <a:solidFill>
                  <a:schemeClr val="tx1"/>
                </a:solidFill>
                <a:latin typeface="Calibri" pitchFamily="34" charset="0"/>
                <a:ea typeface="MS PGothic" pitchFamily="34" charset="-128"/>
              </a:defRPr>
            </a:lvl8pPr>
            <a:lvl9pPr marL="3886200" indent="-228600" defTabSz="457200" fontAlgn="base">
              <a:spcBef>
                <a:spcPct val="0"/>
              </a:spcBef>
              <a:spcAft>
                <a:spcPct val="0"/>
              </a:spcAft>
              <a:defRPr>
                <a:solidFill>
                  <a:schemeClr val="tx1"/>
                </a:solidFill>
                <a:latin typeface="Calibri" pitchFamily="34" charset="0"/>
                <a:ea typeface="MS PGothic" pitchFamily="34" charset="-128"/>
              </a:defRPr>
            </a:lvl9pPr>
          </a:lstStyle>
          <a:p>
            <a:pPr algn="ctr" defTabSz="457200" fontAlgn="base">
              <a:spcBef>
                <a:spcPct val="0"/>
              </a:spcBef>
              <a:spcAft>
                <a:spcPct val="0"/>
              </a:spcAft>
              <a:defRPr/>
            </a:pPr>
            <a:r>
              <a:rPr lang="tr-TR" sz="2500" b="1" dirty="0">
                <a:solidFill>
                  <a:schemeClr val="tx2">
                    <a:lumMod val="50000"/>
                  </a:schemeClr>
                </a:solidFill>
              </a:rPr>
              <a:t>FATURA </a:t>
            </a:r>
            <a:r>
              <a:rPr lang="tr-TR" sz="2500" b="1" u="sng" dirty="0">
                <a:solidFill>
                  <a:schemeClr val="tx2">
                    <a:lumMod val="50000"/>
                  </a:schemeClr>
                </a:solidFill>
              </a:rPr>
              <a:t>ALAN</a:t>
            </a:r>
            <a:r>
              <a:rPr lang="tr-TR" sz="2500" b="1" dirty="0">
                <a:solidFill>
                  <a:schemeClr val="tx2">
                    <a:lumMod val="50000"/>
                  </a:schemeClr>
                </a:solidFill>
              </a:rPr>
              <a:t> </a:t>
            </a:r>
            <a:r>
              <a:rPr lang="tr-TR" sz="2500" b="1" dirty="0" smtClean="0">
                <a:solidFill>
                  <a:schemeClr val="tx2">
                    <a:lumMod val="50000"/>
                  </a:schemeClr>
                </a:solidFill>
              </a:rPr>
              <a:t>İÇİN MALİYET AVANTAJI </a:t>
            </a:r>
          </a:p>
        </p:txBody>
      </p:sp>
      <p:sp>
        <p:nvSpPr>
          <p:cNvPr id="149" name="TextBox 229"/>
          <p:cNvSpPr txBox="1">
            <a:spLocks noChangeArrowheads="1"/>
          </p:cNvSpPr>
          <p:nvPr/>
        </p:nvSpPr>
        <p:spPr bwMode="auto">
          <a:xfrm>
            <a:off x="2194375" y="1567678"/>
            <a:ext cx="111369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algn="ctr" defTabSz="457200" eaLnBrk="1" fontAlgn="base" hangingPunct="1">
              <a:spcBef>
                <a:spcPct val="0"/>
              </a:spcBef>
              <a:spcAft>
                <a:spcPct val="0"/>
              </a:spcAft>
            </a:pPr>
            <a:r>
              <a:rPr lang="tr-TR" sz="1600" b="1" dirty="0" smtClean="0">
                <a:solidFill>
                  <a:srgbClr val="558ED5"/>
                </a:solidFill>
              </a:rPr>
              <a:t>Arşivleme </a:t>
            </a:r>
            <a:endParaRPr lang="en-US" sz="1600" b="1" dirty="0" smtClean="0">
              <a:solidFill>
                <a:srgbClr val="558ED5"/>
              </a:solidFill>
            </a:endParaRPr>
          </a:p>
        </p:txBody>
      </p:sp>
      <p:sp>
        <p:nvSpPr>
          <p:cNvPr id="151" name="TextBox 229"/>
          <p:cNvSpPr txBox="1">
            <a:spLocks noChangeArrowheads="1"/>
          </p:cNvSpPr>
          <p:nvPr/>
        </p:nvSpPr>
        <p:spPr bwMode="auto">
          <a:xfrm>
            <a:off x="1964853" y="1938604"/>
            <a:ext cx="287702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algn="ctr" defTabSz="457200" eaLnBrk="1" fontAlgn="base" hangingPunct="1">
              <a:spcBef>
                <a:spcPct val="0"/>
              </a:spcBef>
              <a:spcAft>
                <a:spcPct val="0"/>
              </a:spcAft>
            </a:pPr>
            <a:r>
              <a:rPr lang="tr-TR" sz="1600" b="1" dirty="0" smtClean="0">
                <a:solidFill>
                  <a:srgbClr val="558ED5"/>
                </a:solidFill>
              </a:rPr>
              <a:t>Ödeme  ve Nakit Yönetimi </a:t>
            </a:r>
            <a:endParaRPr lang="en-US" sz="1600" b="1" dirty="0" smtClean="0">
              <a:solidFill>
                <a:srgbClr val="558ED5"/>
              </a:solidFill>
            </a:endParaRPr>
          </a:p>
        </p:txBody>
      </p:sp>
      <p:sp>
        <p:nvSpPr>
          <p:cNvPr id="153" name="TextBox 229"/>
          <p:cNvSpPr txBox="1">
            <a:spLocks noChangeArrowheads="1"/>
          </p:cNvSpPr>
          <p:nvPr/>
        </p:nvSpPr>
        <p:spPr bwMode="auto">
          <a:xfrm>
            <a:off x="2227158" y="2348880"/>
            <a:ext cx="224845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defTabSz="457200" eaLnBrk="1" fontAlgn="base" hangingPunct="1">
              <a:spcBef>
                <a:spcPct val="0"/>
              </a:spcBef>
              <a:spcAft>
                <a:spcPct val="0"/>
              </a:spcAft>
            </a:pPr>
            <a:r>
              <a:rPr lang="tr-TR" sz="1600" b="1" dirty="0" smtClean="0">
                <a:solidFill>
                  <a:srgbClr val="558ED5"/>
                </a:solidFill>
              </a:rPr>
              <a:t>Anlaşmazlık Yönetimi</a:t>
            </a:r>
            <a:endParaRPr lang="en-US" sz="1600" b="1" dirty="0" smtClean="0">
              <a:solidFill>
                <a:srgbClr val="558ED5"/>
              </a:solidFill>
            </a:endParaRPr>
          </a:p>
        </p:txBody>
      </p:sp>
      <p:sp>
        <p:nvSpPr>
          <p:cNvPr id="154" name="TextBox 229"/>
          <p:cNvSpPr txBox="1">
            <a:spLocks noChangeArrowheads="1"/>
          </p:cNvSpPr>
          <p:nvPr/>
        </p:nvSpPr>
        <p:spPr bwMode="auto">
          <a:xfrm>
            <a:off x="1966175" y="2772438"/>
            <a:ext cx="289385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algn="ctr" defTabSz="457200" eaLnBrk="1" fontAlgn="base" hangingPunct="1">
              <a:spcBef>
                <a:spcPct val="0"/>
              </a:spcBef>
              <a:spcAft>
                <a:spcPct val="0"/>
              </a:spcAft>
            </a:pPr>
            <a:r>
              <a:rPr lang="tr-TR" sz="1600" b="1" dirty="0" smtClean="0">
                <a:solidFill>
                  <a:srgbClr val="558ED5"/>
                </a:solidFill>
              </a:rPr>
              <a:t>Onaylama ve Karşılaştırma</a:t>
            </a:r>
            <a:endParaRPr lang="en-US" sz="1600" b="1" dirty="0" smtClean="0">
              <a:solidFill>
                <a:srgbClr val="558ED5"/>
              </a:solidFill>
            </a:endParaRPr>
          </a:p>
        </p:txBody>
      </p:sp>
      <p:sp>
        <p:nvSpPr>
          <p:cNvPr id="156" name="TextBox 229"/>
          <p:cNvSpPr txBox="1">
            <a:spLocks noChangeArrowheads="1"/>
          </p:cNvSpPr>
          <p:nvPr/>
        </p:nvSpPr>
        <p:spPr bwMode="auto">
          <a:xfrm>
            <a:off x="4780870" y="1567678"/>
            <a:ext cx="111369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algn="ctr" defTabSz="457200" eaLnBrk="1" fontAlgn="base" hangingPunct="1">
              <a:spcBef>
                <a:spcPct val="0"/>
              </a:spcBef>
              <a:spcAft>
                <a:spcPct val="0"/>
              </a:spcAft>
            </a:pPr>
            <a:r>
              <a:rPr lang="tr-TR" sz="1600" b="1" dirty="0" smtClean="0">
                <a:solidFill>
                  <a:prstClr val="black">
                    <a:lumMod val="95000"/>
                    <a:lumOff val="5000"/>
                  </a:prstClr>
                </a:solidFill>
              </a:rPr>
              <a:t>2,20 £ </a:t>
            </a:r>
            <a:endParaRPr lang="en-US" sz="1600" b="1" dirty="0" smtClean="0">
              <a:solidFill>
                <a:prstClr val="black">
                  <a:lumMod val="95000"/>
                  <a:lumOff val="5000"/>
                </a:prstClr>
              </a:solidFill>
            </a:endParaRPr>
          </a:p>
        </p:txBody>
      </p:sp>
      <p:sp>
        <p:nvSpPr>
          <p:cNvPr id="157" name="TextBox 229"/>
          <p:cNvSpPr txBox="1">
            <a:spLocks noChangeArrowheads="1"/>
          </p:cNvSpPr>
          <p:nvPr/>
        </p:nvSpPr>
        <p:spPr bwMode="auto">
          <a:xfrm>
            <a:off x="4996783" y="1938604"/>
            <a:ext cx="220402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defTabSz="457200" eaLnBrk="1" fontAlgn="base" hangingPunct="1">
              <a:spcBef>
                <a:spcPct val="0"/>
              </a:spcBef>
              <a:spcAft>
                <a:spcPct val="0"/>
              </a:spcAft>
            </a:pPr>
            <a:r>
              <a:rPr lang="tr-TR" sz="1600" b="1" dirty="0" smtClean="0">
                <a:solidFill>
                  <a:prstClr val="black">
                    <a:lumMod val="95000"/>
                    <a:lumOff val="5000"/>
                  </a:prstClr>
                </a:solidFill>
              </a:rPr>
              <a:t>4,80 £</a:t>
            </a:r>
            <a:endParaRPr lang="en-US" sz="1600" b="1" dirty="0" smtClean="0">
              <a:solidFill>
                <a:prstClr val="black">
                  <a:lumMod val="95000"/>
                  <a:lumOff val="5000"/>
                </a:prstClr>
              </a:solidFill>
            </a:endParaRPr>
          </a:p>
        </p:txBody>
      </p:sp>
      <p:sp>
        <p:nvSpPr>
          <p:cNvPr id="158" name="TextBox 229"/>
          <p:cNvSpPr txBox="1">
            <a:spLocks noChangeArrowheads="1"/>
          </p:cNvSpPr>
          <p:nvPr/>
        </p:nvSpPr>
        <p:spPr bwMode="auto">
          <a:xfrm>
            <a:off x="4347126" y="2348880"/>
            <a:ext cx="200048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algn="ctr" defTabSz="457200" eaLnBrk="1" fontAlgn="base" hangingPunct="1">
              <a:spcBef>
                <a:spcPct val="0"/>
              </a:spcBef>
              <a:spcAft>
                <a:spcPct val="0"/>
              </a:spcAft>
            </a:pPr>
            <a:r>
              <a:rPr lang="tr-TR" sz="1600" b="1" dirty="0" smtClean="0">
                <a:solidFill>
                  <a:prstClr val="black">
                    <a:lumMod val="95000"/>
                    <a:lumOff val="5000"/>
                  </a:prstClr>
                </a:solidFill>
              </a:rPr>
              <a:t>2,50 £</a:t>
            </a:r>
            <a:endParaRPr lang="en-US" sz="1600" b="1" dirty="0" smtClean="0">
              <a:solidFill>
                <a:prstClr val="black">
                  <a:lumMod val="95000"/>
                  <a:lumOff val="5000"/>
                </a:prstClr>
              </a:solidFill>
            </a:endParaRPr>
          </a:p>
        </p:txBody>
      </p:sp>
      <p:sp>
        <p:nvSpPr>
          <p:cNvPr id="159" name="TextBox 229"/>
          <p:cNvSpPr txBox="1">
            <a:spLocks noChangeArrowheads="1"/>
          </p:cNvSpPr>
          <p:nvPr/>
        </p:nvSpPr>
        <p:spPr bwMode="auto">
          <a:xfrm>
            <a:off x="4249935" y="2791488"/>
            <a:ext cx="223362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algn="ctr" defTabSz="457200" eaLnBrk="1" fontAlgn="base" hangingPunct="1">
              <a:spcBef>
                <a:spcPct val="0"/>
              </a:spcBef>
              <a:spcAft>
                <a:spcPct val="0"/>
              </a:spcAft>
            </a:pPr>
            <a:r>
              <a:rPr lang="tr-TR" sz="1600" b="1" dirty="0" smtClean="0">
                <a:solidFill>
                  <a:prstClr val="black">
                    <a:lumMod val="95000"/>
                    <a:lumOff val="5000"/>
                  </a:prstClr>
                </a:solidFill>
              </a:rPr>
              <a:t>4,00 £</a:t>
            </a:r>
            <a:endParaRPr lang="en-US" sz="1600" b="1" dirty="0" smtClean="0">
              <a:solidFill>
                <a:prstClr val="black">
                  <a:lumMod val="95000"/>
                  <a:lumOff val="5000"/>
                </a:prstClr>
              </a:solidFill>
            </a:endParaRPr>
          </a:p>
        </p:txBody>
      </p:sp>
      <p:sp>
        <p:nvSpPr>
          <p:cNvPr id="160" name="TextBox 229"/>
          <p:cNvSpPr txBox="1">
            <a:spLocks noChangeArrowheads="1"/>
          </p:cNvSpPr>
          <p:nvPr/>
        </p:nvSpPr>
        <p:spPr bwMode="auto">
          <a:xfrm>
            <a:off x="1978337" y="4230053"/>
            <a:ext cx="223362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algn="ctr" defTabSz="457200" eaLnBrk="1" fontAlgn="base" hangingPunct="1">
              <a:spcBef>
                <a:spcPct val="0"/>
              </a:spcBef>
              <a:spcAft>
                <a:spcPct val="0"/>
              </a:spcAft>
            </a:pPr>
            <a:r>
              <a:rPr lang="tr-TR" sz="1600" b="1" dirty="0" smtClean="0">
                <a:solidFill>
                  <a:srgbClr val="558ED5"/>
                </a:solidFill>
              </a:rPr>
              <a:t>TOPLAM MALİYET</a:t>
            </a:r>
            <a:endParaRPr lang="en-US" sz="1600" b="1" dirty="0" smtClean="0">
              <a:solidFill>
                <a:srgbClr val="558ED5"/>
              </a:solidFill>
            </a:endParaRPr>
          </a:p>
        </p:txBody>
      </p:sp>
      <p:sp>
        <p:nvSpPr>
          <p:cNvPr id="161" name="TextBox 229"/>
          <p:cNvSpPr txBox="1">
            <a:spLocks noChangeArrowheads="1"/>
          </p:cNvSpPr>
          <p:nvPr/>
        </p:nvSpPr>
        <p:spPr bwMode="auto">
          <a:xfrm>
            <a:off x="4222846" y="4291322"/>
            <a:ext cx="223362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algn="ctr" defTabSz="457200" eaLnBrk="1" fontAlgn="base" hangingPunct="1">
              <a:spcBef>
                <a:spcPct val="0"/>
              </a:spcBef>
              <a:spcAft>
                <a:spcPct val="0"/>
              </a:spcAft>
            </a:pPr>
            <a:r>
              <a:rPr lang="tr-TR" sz="1600" b="1" dirty="0" smtClean="0">
                <a:solidFill>
                  <a:prstClr val="black">
                    <a:lumMod val="95000"/>
                    <a:lumOff val="5000"/>
                  </a:prstClr>
                </a:solidFill>
              </a:rPr>
              <a:t>17,60 £</a:t>
            </a:r>
            <a:endParaRPr lang="en-US" sz="1600" b="1" dirty="0" smtClean="0">
              <a:solidFill>
                <a:prstClr val="black">
                  <a:lumMod val="95000"/>
                  <a:lumOff val="5000"/>
                </a:prstClr>
              </a:solidFill>
            </a:endParaRPr>
          </a:p>
        </p:txBody>
      </p:sp>
      <p:sp>
        <p:nvSpPr>
          <p:cNvPr id="162" name="TextBox 229"/>
          <p:cNvSpPr txBox="1">
            <a:spLocks noChangeArrowheads="1"/>
          </p:cNvSpPr>
          <p:nvPr/>
        </p:nvSpPr>
        <p:spPr bwMode="auto">
          <a:xfrm>
            <a:off x="6782016" y="1556792"/>
            <a:ext cx="111369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algn="ctr" defTabSz="457200" eaLnBrk="1" fontAlgn="base" hangingPunct="1">
              <a:spcBef>
                <a:spcPct val="0"/>
              </a:spcBef>
              <a:spcAft>
                <a:spcPct val="0"/>
              </a:spcAft>
            </a:pPr>
            <a:r>
              <a:rPr lang="tr-TR" sz="1600" b="1" dirty="0" smtClean="0">
                <a:solidFill>
                  <a:prstClr val="black">
                    <a:lumMod val="95000"/>
                    <a:lumOff val="5000"/>
                  </a:prstClr>
                </a:solidFill>
              </a:rPr>
              <a:t>0,80 £ </a:t>
            </a:r>
            <a:endParaRPr lang="en-US" sz="1600" b="1" dirty="0" smtClean="0">
              <a:solidFill>
                <a:prstClr val="black">
                  <a:lumMod val="95000"/>
                  <a:lumOff val="5000"/>
                </a:prstClr>
              </a:solidFill>
            </a:endParaRPr>
          </a:p>
        </p:txBody>
      </p:sp>
      <p:sp>
        <p:nvSpPr>
          <p:cNvPr id="165" name="TextBox 229"/>
          <p:cNvSpPr txBox="1">
            <a:spLocks noChangeArrowheads="1"/>
          </p:cNvSpPr>
          <p:nvPr/>
        </p:nvSpPr>
        <p:spPr bwMode="auto">
          <a:xfrm>
            <a:off x="7020272" y="1927718"/>
            <a:ext cx="220402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defTabSz="457200" eaLnBrk="1" fontAlgn="base" hangingPunct="1">
              <a:spcBef>
                <a:spcPct val="0"/>
              </a:spcBef>
              <a:spcAft>
                <a:spcPct val="0"/>
              </a:spcAft>
            </a:pPr>
            <a:r>
              <a:rPr lang="tr-TR" sz="1600" b="1" dirty="0" smtClean="0">
                <a:solidFill>
                  <a:prstClr val="black">
                    <a:lumMod val="95000"/>
                    <a:lumOff val="5000"/>
                  </a:prstClr>
                </a:solidFill>
              </a:rPr>
              <a:t>2,00 £</a:t>
            </a:r>
            <a:endParaRPr lang="en-US" sz="1600" b="1" dirty="0" smtClean="0">
              <a:solidFill>
                <a:prstClr val="black">
                  <a:lumMod val="95000"/>
                  <a:lumOff val="5000"/>
                </a:prstClr>
              </a:solidFill>
            </a:endParaRPr>
          </a:p>
        </p:txBody>
      </p:sp>
      <p:sp>
        <p:nvSpPr>
          <p:cNvPr id="166" name="TextBox 229"/>
          <p:cNvSpPr txBox="1">
            <a:spLocks noChangeArrowheads="1"/>
          </p:cNvSpPr>
          <p:nvPr/>
        </p:nvSpPr>
        <p:spPr bwMode="auto">
          <a:xfrm>
            <a:off x="6372200" y="2337994"/>
            <a:ext cx="200048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algn="ctr" defTabSz="457200" eaLnBrk="1" fontAlgn="base" hangingPunct="1">
              <a:spcBef>
                <a:spcPct val="0"/>
              </a:spcBef>
              <a:spcAft>
                <a:spcPct val="0"/>
              </a:spcAft>
            </a:pPr>
            <a:r>
              <a:rPr lang="tr-TR" sz="1600" b="1" dirty="0" smtClean="0">
                <a:solidFill>
                  <a:prstClr val="black">
                    <a:lumMod val="95000"/>
                    <a:lumOff val="5000"/>
                  </a:prstClr>
                </a:solidFill>
              </a:rPr>
              <a:t>2,00 £</a:t>
            </a:r>
            <a:endParaRPr lang="en-US" sz="1600" b="1" dirty="0" smtClean="0">
              <a:solidFill>
                <a:prstClr val="black">
                  <a:lumMod val="95000"/>
                  <a:lumOff val="5000"/>
                </a:prstClr>
              </a:solidFill>
            </a:endParaRPr>
          </a:p>
        </p:txBody>
      </p:sp>
      <p:sp>
        <p:nvSpPr>
          <p:cNvPr id="169" name="TextBox 229"/>
          <p:cNvSpPr txBox="1">
            <a:spLocks noChangeArrowheads="1"/>
          </p:cNvSpPr>
          <p:nvPr/>
        </p:nvSpPr>
        <p:spPr bwMode="auto">
          <a:xfrm>
            <a:off x="6241099" y="2780602"/>
            <a:ext cx="223362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algn="ctr" defTabSz="457200" eaLnBrk="1" fontAlgn="base" hangingPunct="1">
              <a:spcBef>
                <a:spcPct val="0"/>
              </a:spcBef>
              <a:spcAft>
                <a:spcPct val="0"/>
              </a:spcAft>
            </a:pPr>
            <a:r>
              <a:rPr lang="tr-TR" sz="1600" b="1" dirty="0" smtClean="0">
                <a:solidFill>
                  <a:prstClr val="black">
                    <a:lumMod val="95000"/>
                    <a:lumOff val="5000"/>
                  </a:prstClr>
                </a:solidFill>
              </a:rPr>
              <a:t>1,20 £</a:t>
            </a:r>
            <a:endParaRPr lang="en-US" sz="1600" b="1" dirty="0" smtClean="0">
              <a:solidFill>
                <a:prstClr val="black">
                  <a:lumMod val="95000"/>
                  <a:lumOff val="5000"/>
                </a:prstClr>
              </a:solidFill>
            </a:endParaRPr>
          </a:p>
        </p:txBody>
      </p:sp>
      <p:sp>
        <p:nvSpPr>
          <p:cNvPr id="170" name="TextBox 229"/>
          <p:cNvSpPr txBox="1">
            <a:spLocks noChangeArrowheads="1"/>
          </p:cNvSpPr>
          <p:nvPr/>
        </p:nvSpPr>
        <p:spPr bwMode="auto">
          <a:xfrm>
            <a:off x="6300192" y="4280436"/>
            <a:ext cx="223362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algn="ctr" defTabSz="457200" eaLnBrk="1" fontAlgn="base" hangingPunct="1">
              <a:spcBef>
                <a:spcPct val="0"/>
              </a:spcBef>
              <a:spcAft>
                <a:spcPct val="0"/>
              </a:spcAft>
            </a:pPr>
            <a:r>
              <a:rPr lang="tr-TR" sz="1600" b="1" dirty="0" smtClean="0">
                <a:solidFill>
                  <a:prstClr val="black">
                    <a:lumMod val="95000"/>
                    <a:lumOff val="5000"/>
                  </a:prstClr>
                </a:solidFill>
              </a:rPr>
              <a:t>6,70 £</a:t>
            </a:r>
            <a:endParaRPr lang="en-US" sz="1600" b="1" dirty="0" smtClean="0">
              <a:solidFill>
                <a:prstClr val="black">
                  <a:lumMod val="95000"/>
                  <a:lumOff val="5000"/>
                </a:prstClr>
              </a:solidFill>
            </a:endParaRPr>
          </a:p>
        </p:txBody>
      </p:sp>
      <p:sp>
        <p:nvSpPr>
          <p:cNvPr id="127" name="Ellipse 5"/>
          <p:cNvSpPr/>
          <p:nvPr/>
        </p:nvSpPr>
        <p:spPr>
          <a:xfrm>
            <a:off x="4720028" y="4230053"/>
            <a:ext cx="1265237" cy="395288"/>
          </a:xfrm>
          <a:prstGeom prst="ellipse">
            <a:avLst/>
          </a:prstGeom>
          <a:noFill/>
          <a:ln w="31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a-DK" sz="1600">
              <a:solidFill>
                <a:prstClr val="white"/>
              </a:solidFill>
            </a:endParaRPr>
          </a:p>
        </p:txBody>
      </p:sp>
      <p:sp>
        <p:nvSpPr>
          <p:cNvPr id="129" name="Ellipse 5"/>
          <p:cNvSpPr/>
          <p:nvPr/>
        </p:nvSpPr>
        <p:spPr>
          <a:xfrm>
            <a:off x="6867291" y="4221088"/>
            <a:ext cx="1265237" cy="395288"/>
          </a:xfrm>
          <a:prstGeom prst="ellipse">
            <a:avLst/>
          </a:prstGeom>
          <a:noFill/>
          <a:ln w="31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a-DK" sz="1600">
              <a:solidFill>
                <a:prstClr val="white"/>
              </a:solidFill>
            </a:endParaRPr>
          </a:p>
        </p:txBody>
      </p:sp>
      <p:cxnSp>
        <p:nvCxnSpPr>
          <p:cNvPr id="28" name="Düz Bağlayıcı 27"/>
          <p:cNvCxnSpPr/>
          <p:nvPr/>
        </p:nvCxnSpPr>
        <p:spPr>
          <a:xfrm flipH="1">
            <a:off x="5337715" y="4654320"/>
            <a:ext cx="2136" cy="267156"/>
          </a:xfrm>
          <a:prstGeom prst="line">
            <a:avLst/>
          </a:prstGeom>
          <a:ln>
            <a:solidFill>
              <a:schemeClr val="accent2">
                <a:lumMod val="50000"/>
              </a:schemeClr>
            </a:solidFill>
          </a:ln>
        </p:spPr>
        <p:style>
          <a:lnRef idx="2">
            <a:schemeClr val="accent1"/>
          </a:lnRef>
          <a:fillRef idx="0">
            <a:schemeClr val="accent1"/>
          </a:fillRef>
          <a:effectRef idx="1">
            <a:schemeClr val="accent1"/>
          </a:effectRef>
          <a:fontRef idx="minor">
            <a:schemeClr val="tx1"/>
          </a:fontRef>
        </p:style>
      </p:cxnSp>
      <p:cxnSp>
        <p:nvCxnSpPr>
          <p:cNvPr id="226" name="Düz Bağlayıcı 225"/>
          <p:cNvCxnSpPr/>
          <p:nvPr/>
        </p:nvCxnSpPr>
        <p:spPr>
          <a:xfrm>
            <a:off x="5339851" y="4921476"/>
            <a:ext cx="2104241" cy="0"/>
          </a:xfrm>
          <a:prstGeom prst="line">
            <a:avLst/>
          </a:prstGeom>
          <a:ln>
            <a:solidFill>
              <a:schemeClr val="accent2">
                <a:lumMod val="50000"/>
              </a:schemeClr>
            </a:solidFill>
          </a:ln>
        </p:spPr>
        <p:style>
          <a:lnRef idx="2">
            <a:schemeClr val="accent1"/>
          </a:lnRef>
          <a:fillRef idx="0">
            <a:schemeClr val="accent1"/>
          </a:fillRef>
          <a:effectRef idx="1">
            <a:schemeClr val="accent1"/>
          </a:effectRef>
          <a:fontRef idx="minor">
            <a:schemeClr val="tx1"/>
          </a:fontRef>
        </p:style>
      </p:cxnSp>
      <p:cxnSp>
        <p:nvCxnSpPr>
          <p:cNvPr id="230" name="Düz Ok Bağlayıcısı 229"/>
          <p:cNvCxnSpPr/>
          <p:nvPr/>
        </p:nvCxnSpPr>
        <p:spPr>
          <a:xfrm flipH="1" flipV="1">
            <a:off x="7415061" y="4622233"/>
            <a:ext cx="6290" cy="295310"/>
          </a:xfrm>
          <a:prstGeom prst="straightConnector1">
            <a:avLst/>
          </a:prstGeom>
          <a:ln>
            <a:solidFill>
              <a:schemeClr val="accent2">
                <a:lumMod val="50000"/>
              </a:schemeClr>
            </a:solidFill>
            <a:tailEnd type="arrow"/>
          </a:ln>
        </p:spPr>
        <p:style>
          <a:lnRef idx="2">
            <a:schemeClr val="accent1"/>
          </a:lnRef>
          <a:fillRef idx="0">
            <a:schemeClr val="accent1"/>
          </a:fillRef>
          <a:effectRef idx="1">
            <a:schemeClr val="accent1"/>
          </a:effectRef>
          <a:fontRef idx="minor">
            <a:schemeClr val="tx1"/>
          </a:fontRef>
        </p:style>
      </p:cxnSp>
      <p:sp>
        <p:nvSpPr>
          <p:cNvPr id="143" name="TextBox 177"/>
          <p:cNvSpPr txBox="1">
            <a:spLocks noChangeArrowheads="1"/>
          </p:cNvSpPr>
          <p:nvPr/>
        </p:nvSpPr>
        <p:spPr bwMode="auto">
          <a:xfrm>
            <a:off x="107503" y="1988840"/>
            <a:ext cx="1788769" cy="1323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defTabSz="457200" eaLnBrk="1" fontAlgn="base" hangingPunct="1">
              <a:spcBef>
                <a:spcPct val="0"/>
              </a:spcBef>
              <a:spcAft>
                <a:spcPct val="0"/>
              </a:spcAft>
            </a:pPr>
            <a:r>
              <a:rPr lang="tr-TR" sz="2000" b="1" dirty="0">
                <a:solidFill>
                  <a:schemeClr val="tx1">
                    <a:lumMod val="95000"/>
                    <a:lumOff val="5000"/>
                  </a:schemeClr>
                </a:solidFill>
              </a:rPr>
              <a:t>Kağıt Fatura</a:t>
            </a:r>
          </a:p>
          <a:p>
            <a:pPr defTabSz="457200" eaLnBrk="1" fontAlgn="base" hangingPunct="1">
              <a:spcBef>
                <a:spcPct val="0"/>
              </a:spcBef>
              <a:spcAft>
                <a:spcPct val="0"/>
              </a:spcAft>
            </a:pPr>
            <a:r>
              <a:rPr lang="tr-TR" sz="2000" b="1" dirty="0" smtClean="0">
                <a:solidFill>
                  <a:schemeClr val="tx1">
                    <a:lumMod val="95000"/>
                    <a:lumOff val="5000"/>
                  </a:schemeClr>
                </a:solidFill>
              </a:rPr>
              <a:t>e-Fatura </a:t>
            </a:r>
            <a:r>
              <a:rPr lang="tr-TR" sz="2000" b="1" dirty="0">
                <a:solidFill>
                  <a:schemeClr val="tx1">
                    <a:lumMod val="95000"/>
                    <a:lumOff val="5000"/>
                  </a:schemeClr>
                </a:solidFill>
              </a:rPr>
              <a:t>Karşılaştırması</a:t>
            </a:r>
          </a:p>
          <a:p>
            <a:pPr defTabSz="457200" eaLnBrk="1" fontAlgn="base" hangingPunct="1">
              <a:spcBef>
                <a:spcPct val="0"/>
              </a:spcBef>
              <a:spcAft>
                <a:spcPct val="0"/>
              </a:spcAft>
            </a:pPr>
            <a:r>
              <a:rPr lang="tr-TR" sz="2000" b="1" dirty="0">
                <a:solidFill>
                  <a:schemeClr val="tx1">
                    <a:lumMod val="95000"/>
                    <a:lumOff val="5000"/>
                  </a:schemeClr>
                </a:solidFill>
              </a:rPr>
              <a:t> </a:t>
            </a:r>
            <a:endParaRPr lang="en-US" sz="2000" b="1" dirty="0">
              <a:solidFill>
                <a:schemeClr val="tx1">
                  <a:lumMod val="95000"/>
                  <a:lumOff val="5000"/>
                </a:schemeClr>
              </a:solidFill>
            </a:endParaRPr>
          </a:p>
        </p:txBody>
      </p:sp>
      <p:sp>
        <p:nvSpPr>
          <p:cNvPr id="145" name="TextBox 229"/>
          <p:cNvSpPr txBox="1">
            <a:spLocks noChangeArrowheads="1"/>
          </p:cNvSpPr>
          <p:nvPr/>
        </p:nvSpPr>
        <p:spPr bwMode="auto">
          <a:xfrm>
            <a:off x="5148064" y="5157474"/>
            <a:ext cx="2541715"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algn="ctr" defTabSz="457200" eaLnBrk="1" fontAlgn="base" hangingPunct="1">
              <a:spcBef>
                <a:spcPct val="0"/>
              </a:spcBef>
              <a:spcAft>
                <a:spcPct val="0"/>
              </a:spcAft>
            </a:pPr>
            <a:r>
              <a:rPr lang="tr-TR" sz="2000" b="1" dirty="0" smtClean="0">
                <a:solidFill>
                  <a:prstClr val="black">
                    <a:lumMod val="95000"/>
                    <a:lumOff val="5000"/>
                  </a:prstClr>
                </a:solidFill>
              </a:rPr>
              <a:t>10,90 £ TASARRUF</a:t>
            </a:r>
            <a:endParaRPr lang="en-US" sz="2000" b="1" dirty="0" smtClean="0">
              <a:solidFill>
                <a:prstClr val="black">
                  <a:lumMod val="95000"/>
                  <a:lumOff val="5000"/>
                </a:prstClr>
              </a:solidFill>
            </a:endParaRPr>
          </a:p>
        </p:txBody>
      </p:sp>
      <p:cxnSp>
        <p:nvCxnSpPr>
          <p:cNvPr id="147" name="Straight Connector 36"/>
          <p:cNvCxnSpPr/>
          <p:nvPr/>
        </p:nvCxnSpPr>
        <p:spPr bwMode="auto">
          <a:xfrm>
            <a:off x="6921" y="1518692"/>
            <a:ext cx="1962149" cy="1588"/>
          </a:xfrm>
          <a:prstGeom prst="line">
            <a:avLst/>
          </a:prstGeom>
          <a:ln w="12700" cap="flat" cmpd="sng" algn="ctr">
            <a:solidFill>
              <a:schemeClr val="tx1">
                <a:lumMod val="65000"/>
                <a:lumOff val="35000"/>
              </a:schemeClr>
            </a:solidFill>
            <a:prstDash val="sysDash"/>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15" name="TextBox 229"/>
          <p:cNvSpPr txBox="1">
            <a:spLocks noChangeArrowheads="1"/>
          </p:cNvSpPr>
          <p:nvPr/>
        </p:nvSpPr>
        <p:spPr bwMode="auto">
          <a:xfrm>
            <a:off x="1822159" y="3143404"/>
            <a:ext cx="289385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algn="ctr" defTabSz="457200" eaLnBrk="1" fontAlgn="base" hangingPunct="1">
              <a:spcBef>
                <a:spcPct val="0"/>
              </a:spcBef>
              <a:spcAft>
                <a:spcPct val="0"/>
              </a:spcAft>
            </a:pPr>
            <a:r>
              <a:rPr lang="tr-TR" sz="1600" b="1" dirty="0" smtClean="0">
                <a:solidFill>
                  <a:srgbClr val="558ED5"/>
                </a:solidFill>
              </a:rPr>
              <a:t>Faturayı Sisteme Girme</a:t>
            </a:r>
            <a:endParaRPr lang="en-US" sz="1600" b="1" dirty="0" smtClean="0">
              <a:solidFill>
                <a:srgbClr val="558ED5"/>
              </a:solidFill>
            </a:endParaRPr>
          </a:p>
        </p:txBody>
      </p:sp>
      <p:sp>
        <p:nvSpPr>
          <p:cNvPr id="117" name="TextBox 229"/>
          <p:cNvSpPr txBox="1">
            <a:spLocks noChangeArrowheads="1"/>
          </p:cNvSpPr>
          <p:nvPr/>
        </p:nvSpPr>
        <p:spPr bwMode="auto">
          <a:xfrm>
            <a:off x="4229564" y="3162454"/>
            <a:ext cx="223362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algn="ctr" defTabSz="457200" eaLnBrk="1" fontAlgn="base" hangingPunct="1">
              <a:spcBef>
                <a:spcPct val="0"/>
              </a:spcBef>
              <a:spcAft>
                <a:spcPct val="0"/>
              </a:spcAft>
            </a:pPr>
            <a:r>
              <a:rPr lang="tr-TR" sz="1600" b="1" dirty="0" smtClean="0">
                <a:solidFill>
                  <a:prstClr val="black">
                    <a:lumMod val="95000"/>
                    <a:lumOff val="5000"/>
                  </a:prstClr>
                </a:solidFill>
              </a:rPr>
              <a:t>3,00 £</a:t>
            </a:r>
            <a:endParaRPr lang="en-US" sz="1600" b="1" dirty="0" smtClean="0">
              <a:solidFill>
                <a:prstClr val="black">
                  <a:lumMod val="95000"/>
                  <a:lumOff val="5000"/>
                </a:prstClr>
              </a:solidFill>
            </a:endParaRPr>
          </a:p>
        </p:txBody>
      </p:sp>
      <p:sp>
        <p:nvSpPr>
          <p:cNvPr id="119" name="TextBox 229"/>
          <p:cNvSpPr txBox="1">
            <a:spLocks noChangeArrowheads="1"/>
          </p:cNvSpPr>
          <p:nvPr/>
        </p:nvSpPr>
        <p:spPr bwMode="auto">
          <a:xfrm>
            <a:off x="6131793" y="3151568"/>
            <a:ext cx="223362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algn="ctr" defTabSz="457200" eaLnBrk="1" fontAlgn="base" hangingPunct="1">
              <a:spcBef>
                <a:spcPct val="0"/>
              </a:spcBef>
              <a:spcAft>
                <a:spcPct val="0"/>
              </a:spcAft>
            </a:pPr>
            <a:r>
              <a:rPr lang="tr-TR" sz="1600" b="1" dirty="0" smtClean="0">
                <a:solidFill>
                  <a:prstClr val="black">
                    <a:lumMod val="95000"/>
                    <a:lumOff val="5000"/>
                  </a:prstClr>
                </a:solidFill>
              </a:rPr>
              <a:t>0 £</a:t>
            </a:r>
            <a:endParaRPr lang="en-US" sz="1600" b="1" dirty="0" smtClean="0">
              <a:solidFill>
                <a:prstClr val="black">
                  <a:lumMod val="95000"/>
                  <a:lumOff val="5000"/>
                </a:prstClr>
              </a:solidFill>
            </a:endParaRPr>
          </a:p>
        </p:txBody>
      </p:sp>
      <p:sp>
        <p:nvSpPr>
          <p:cNvPr id="121" name="TextBox 229"/>
          <p:cNvSpPr txBox="1">
            <a:spLocks noChangeArrowheads="1"/>
          </p:cNvSpPr>
          <p:nvPr/>
        </p:nvSpPr>
        <p:spPr bwMode="auto">
          <a:xfrm>
            <a:off x="1441748" y="3512969"/>
            <a:ext cx="289385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algn="ctr" defTabSz="457200" eaLnBrk="1" fontAlgn="base" hangingPunct="1">
              <a:spcBef>
                <a:spcPct val="0"/>
              </a:spcBef>
              <a:spcAft>
                <a:spcPct val="0"/>
              </a:spcAft>
            </a:pPr>
            <a:r>
              <a:rPr lang="tr-TR" sz="1600" b="1" dirty="0" smtClean="0">
                <a:solidFill>
                  <a:srgbClr val="558ED5"/>
                </a:solidFill>
              </a:rPr>
              <a:t>Faturayı Alma</a:t>
            </a:r>
            <a:endParaRPr lang="en-US" sz="1600" b="1" dirty="0" smtClean="0">
              <a:solidFill>
                <a:srgbClr val="558ED5"/>
              </a:solidFill>
            </a:endParaRPr>
          </a:p>
        </p:txBody>
      </p:sp>
      <p:sp>
        <p:nvSpPr>
          <p:cNvPr id="123" name="TextBox 229"/>
          <p:cNvSpPr txBox="1">
            <a:spLocks noChangeArrowheads="1"/>
          </p:cNvSpPr>
          <p:nvPr/>
        </p:nvSpPr>
        <p:spPr bwMode="auto">
          <a:xfrm>
            <a:off x="4239089" y="3532019"/>
            <a:ext cx="223362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algn="ctr" defTabSz="457200" eaLnBrk="1" fontAlgn="base" hangingPunct="1">
              <a:spcBef>
                <a:spcPct val="0"/>
              </a:spcBef>
              <a:spcAft>
                <a:spcPct val="0"/>
              </a:spcAft>
            </a:pPr>
            <a:r>
              <a:rPr lang="tr-TR" sz="1600" b="1" dirty="0" smtClean="0">
                <a:solidFill>
                  <a:prstClr val="black">
                    <a:lumMod val="95000"/>
                    <a:lumOff val="5000"/>
                  </a:prstClr>
                </a:solidFill>
              </a:rPr>
              <a:t>1,10 £</a:t>
            </a:r>
            <a:endParaRPr lang="en-US" sz="1600" b="1" dirty="0" smtClean="0">
              <a:solidFill>
                <a:prstClr val="black">
                  <a:lumMod val="95000"/>
                  <a:lumOff val="5000"/>
                </a:prstClr>
              </a:solidFill>
            </a:endParaRPr>
          </a:p>
        </p:txBody>
      </p:sp>
      <p:sp>
        <p:nvSpPr>
          <p:cNvPr id="125" name="TextBox 229"/>
          <p:cNvSpPr txBox="1">
            <a:spLocks noChangeArrowheads="1"/>
          </p:cNvSpPr>
          <p:nvPr/>
        </p:nvSpPr>
        <p:spPr bwMode="auto">
          <a:xfrm>
            <a:off x="6131793" y="3521133"/>
            <a:ext cx="223362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algn="ctr" defTabSz="457200" eaLnBrk="1" fontAlgn="base" hangingPunct="1">
              <a:spcBef>
                <a:spcPct val="0"/>
              </a:spcBef>
              <a:spcAft>
                <a:spcPct val="0"/>
              </a:spcAft>
            </a:pPr>
            <a:r>
              <a:rPr lang="tr-TR" sz="1600" b="1" dirty="0" smtClean="0">
                <a:solidFill>
                  <a:prstClr val="black">
                    <a:lumMod val="95000"/>
                    <a:lumOff val="5000"/>
                  </a:prstClr>
                </a:solidFill>
              </a:rPr>
              <a:t>0 £</a:t>
            </a:r>
            <a:endParaRPr lang="en-US" sz="1600" b="1" dirty="0" smtClean="0">
              <a:solidFill>
                <a:prstClr val="black">
                  <a:lumMod val="95000"/>
                  <a:lumOff val="5000"/>
                </a:prstClr>
              </a:solidFill>
            </a:endParaRPr>
          </a:p>
        </p:txBody>
      </p:sp>
      <p:sp>
        <p:nvSpPr>
          <p:cNvPr id="131" name="Metin kutusu 130"/>
          <p:cNvSpPr txBox="1"/>
          <p:nvPr/>
        </p:nvSpPr>
        <p:spPr>
          <a:xfrm>
            <a:off x="5895108" y="6100316"/>
            <a:ext cx="1197172" cy="648000"/>
          </a:xfrm>
          <a:prstGeom prst="rect">
            <a:avLst/>
          </a:prstGeom>
          <a:solidFill>
            <a:schemeClr val="accent1">
              <a:lumMod val="60000"/>
              <a:lumOff val="40000"/>
            </a:schemeClr>
          </a:solidFill>
        </p:spPr>
        <p:txBody>
          <a:bodyPr wrap="square" rtlCol="0">
            <a:spAutoFit/>
          </a:bodyPr>
          <a:lstStyle/>
          <a:p>
            <a:pPr algn="ctr"/>
            <a:r>
              <a:rPr lang="tr-TR" sz="4000" b="1" dirty="0" smtClean="0">
                <a:solidFill>
                  <a:schemeClr val="tx1">
                    <a:lumMod val="95000"/>
                    <a:lumOff val="5000"/>
                  </a:schemeClr>
                </a:solidFill>
              </a:rPr>
              <a:t>% 62  </a:t>
            </a:r>
            <a:endParaRPr lang="en-US" sz="4000" dirty="0" smtClean="0">
              <a:solidFill>
                <a:schemeClr val="tx1">
                  <a:lumMod val="95000"/>
                  <a:lumOff val="5000"/>
                </a:schemeClr>
              </a:solidFill>
            </a:endParaRPr>
          </a:p>
        </p:txBody>
      </p:sp>
      <p:sp>
        <p:nvSpPr>
          <p:cNvPr id="133" name="Metin kutusu 132"/>
          <p:cNvSpPr txBox="1"/>
          <p:nvPr/>
        </p:nvSpPr>
        <p:spPr>
          <a:xfrm>
            <a:off x="-34130" y="4653136"/>
            <a:ext cx="2314574" cy="584775"/>
          </a:xfrm>
          <a:prstGeom prst="rect">
            <a:avLst/>
          </a:prstGeom>
          <a:noFill/>
        </p:spPr>
        <p:txBody>
          <a:bodyPr wrap="square" rtlCol="0">
            <a:spAutoFit/>
          </a:bodyPr>
          <a:lstStyle/>
          <a:p>
            <a:r>
              <a:rPr lang="tr-TR" sz="1600" b="1" dirty="0" smtClean="0"/>
              <a:t>Kaynak: </a:t>
            </a:r>
            <a:r>
              <a:rPr lang="tr-TR" sz="1600" b="1" dirty="0" err="1"/>
              <a:t>Billentis</a:t>
            </a:r>
            <a:r>
              <a:rPr lang="tr-TR" sz="1600" b="1" dirty="0"/>
              <a:t> 2013</a:t>
            </a:r>
          </a:p>
          <a:p>
            <a:r>
              <a:rPr lang="tr-TR" sz="1600" b="1" dirty="0" smtClean="0"/>
              <a:t>  </a:t>
            </a:r>
            <a:endParaRPr lang="tr-TR" sz="1600" b="1" dirty="0"/>
          </a:p>
        </p:txBody>
      </p:sp>
      <p:sp>
        <p:nvSpPr>
          <p:cNvPr id="135" name="Ellipse 5"/>
          <p:cNvSpPr/>
          <p:nvPr/>
        </p:nvSpPr>
        <p:spPr>
          <a:xfrm>
            <a:off x="5280973" y="5013176"/>
            <a:ext cx="2287825" cy="655037"/>
          </a:xfrm>
          <a:prstGeom prst="ellipse">
            <a:avLst/>
          </a:prstGeom>
          <a:noFill/>
          <a:ln w="31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a-DK" sz="1600"/>
          </a:p>
        </p:txBody>
      </p:sp>
      <p:cxnSp>
        <p:nvCxnSpPr>
          <p:cNvPr id="137" name="Düz Ok Bağlayıcısı 136"/>
          <p:cNvCxnSpPr/>
          <p:nvPr/>
        </p:nvCxnSpPr>
        <p:spPr>
          <a:xfrm>
            <a:off x="6421666" y="5733256"/>
            <a:ext cx="0" cy="288000"/>
          </a:xfrm>
          <a:prstGeom prst="straightConnector1">
            <a:avLst/>
          </a:prstGeom>
          <a:ln>
            <a:solidFill>
              <a:schemeClr val="accent2">
                <a:lumMod val="50000"/>
              </a:schemeClr>
            </a:solidFill>
            <a:tailEnd type="arrow"/>
          </a:ln>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10997529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4347"/>
                                        </p:tgtEl>
                                        <p:attrNameLst>
                                          <p:attrName>style.visibility</p:attrName>
                                        </p:attrNameLst>
                                      </p:cBhvr>
                                      <p:to>
                                        <p:strVal val="visible"/>
                                      </p:to>
                                    </p:set>
                                    <p:animEffect transition="in" filter="fade">
                                      <p:cBhvr>
                                        <p:cTn id="7" dur="500"/>
                                        <p:tgtEl>
                                          <p:spTgt spid="14347"/>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4349"/>
                                        </p:tgtEl>
                                        <p:attrNameLst>
                                          <p:attrName>style.visibility</p:attrName>
                                        </p:attrNameLst>
                                      </p:cBhvr>
                                      <p:to>
                                        <p:strVal val="visible"/>
                                      </p:to>
                                    </p:set>
                                    <p:animEffect transition="in" filter="fade">
                                      <p:cBhvr>
                                        <p:cTn id="11" dur="500"/>
                                        <p:tgtEl>
                                          <p:spTgt spid="14349"/>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49"/>
                                        </p:tgtEl>
                                        <p:attrNameLst>
                                          <p:attrName>style.visibility</p:attrName>
                                        </p:attrNameLst>
                                      </p:cBhvr>
                                      <p:to>
                                        <p:strVal val="visible"/>
                                      </p:to>
                                    </p:set>
                                    <p:animEffect transition="in" filter="fade">
                                      <p:cBhvr>
                                        <p:cTn id="15" dur="500"/>
                                        <p:tgtEl>
                                          <p:spTgt spid="149"/>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56"/>
                                        </p:tgtEl>
                                        <p:attrNameLst>
                                          <p:attrName>style.visibility</p:attrName>
                                        </p:attrNameLst>
                                      </p:cBhvr>
                                      <p:to>
                                        <p:strVal val="visible"/>
                                      </p:to>
                                    </p:set>
                                    <p:animEffect transition="in" filter="fade">
                                      <p:cBhvr>
                                        <p:cTn id="19" dur="500"/>
                                        <p:tgtEl>
                                          <p:spTgt spid="156"/>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162"/>
                                        </p:tgtEl>
                                        <p:attrNameLst>
                                          <p:attrName>style.visibility</p:attrName>
                                        </p:attrNameLst>
                                      </p:cBhvr>
                                      <p:to>
                                        <p:strVal val="visible"/>
                                      </p:to>
                                    </p:set>
                                    <p:animEffect transition="in" filter="fade">
                                      <p:cBhvr>
                                        <p:cTn id="23" dur="500"/>
                                        <p:tgtEl>
                                          <p:spTgt spid="162"/>
                                        </p:tgtEl>
                                      </p:cBhvr>
                                    </p:animEffect>
                                  </p:childTnLst>
                                </p:cTn>
                              </p:par>
                            </p:childTnLst>
                          </p:cTn>
                        </p:par>
                        <p:par>
                          <p:cTn id="24" fill="hold">
                            <p:stCondLst>
                              <p:cond delay="2500"/>
                            </p:stCondLst>
                            <p:childTnLst>
                              <p:par>
                                <p:cTn id="25" presetID="26" presetClass="emph" presetSubtype="0" fill="hold" grpId="1" nodeType="afterEffect">
                                  <p:stCondLst>
                                    <p:cond delay="0"/>
                                  </p:stCondLst>
                                  <p:childTnLst>
                                    <p:animEffect transition="out" filter="fade">
                                      <p:cBhvr>
                                        <p:cTn id="26" dur="500" tmFilter="0, 0; .2, .5; .8, .5; 1, 0"/>
                                        <p:tgtEl>
                                          <p:spTgt spid="162"/>
                                        </p:tgtEl>
                                      </p:cBhvr>
                                    </p:animEffect>
                                    <p:animScale>
                                      <p:cBhvr>
                                        <p:cTn id="27" dur="250" autoRev="1" fill="hold"/>
                                        <p:tgtEl>
                                          <p:spTgt spid="162"/>
                                        </p:tgtEl>
                                      </p:cBhvr>
                                      <p:by x="105000" y="105000"/>
                                    </p:animScale>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151"/>
                                        </p:tgtEl>
                                        <p:attrNameLst>
                                          <p:attrName>style.visibility</p:attrName>
                                        </p:attrNameLst>
                                      </p:cBhvr>
                                      <p:to>
                                        <p:strVal val="visible"/>
                                      </p:to>
                                    </p:set>
                                    <p:animEffect transition="in" filter="fade">
                                      <p:cBhvr>
                                        <p:cTn id="31" dur="500"/>
                                        <p:tgtEl>
                                          <p:spTgt spid="151"/>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157"/>
                                        </p:tgtEl>
                                        <p:attrNameLst>
                                          <p:attrName>style.visibility</p:attrName>
                                        </p:attrNameLst>
                                      </p:cBhvr>
                                      <p:to>
                                        <p:strVal val="visible"/>
                                      </p:to>
                                    </p:set>
                                    <p:animEffect transition="in" filter="fade">
                                      <p:cBhvr>
                                        <p:cTn id="35" dur="500"/>
                                        <p:tgtEl>
                                          <p:spTgt spid="157"/>
                                        </p:tgtEl>
                                      </p:cBhvr>
                                    </p:animEffect>
                                  </p:childTnLst>
                                </p:cTn>
                              </p:par>
                            </p:childTnLst>
                          </p:cTn>
                        </p:par>
                        <p:par>
                          <p:cTn id="36" fill="hold">
                            <p:stCondLst>
                              <p:cond delay="4000"/>
                            </p:stCondLst>
                            <p:childTnLst>
                              <p:par>
                                <p:cTn id="37" presetID="10" presetClass="entr" presetSubtype="0" fill="hold" grpId="0" nodeType="afterEffect">
                                  <p:stCondLst>
                                    <p:cond delay="0"/>
                                  </p:stCondLst>
                                  <p:childTnLst>
                                    <p:set>
                                      <p:cBhvr>
                                        <p:cTn id="38" dur="1" fill="hold">
                                          <p:stCondLst>
                                            <p:cond delay="0"/>
                                          </p:stCondLst>
                                        </p:cTn>
                                        <p:tgtEl>
                                          <p:spTgt spid="165"/>
                                        </p:tgtEl>
                                        <p:attrNameLst>
                                          <p:attrName>style.visibility</p:attrName>
                                        </p:attrNameLst>
                                      </p:cBhvr>
                                      <p:to>
                                        <p:strVal val="visible"/>
                                      </p:to>
                                    </p:set>
                                    <p:animEffect transition="in" filter="fade">
                                      <p:cBhvr>
                                        <p:cTn id="39" dur="500"/>
                                        <p:tgtEl>
                                          <p:spTgt spid="165"/>
                                        </p:tgtEl>
                                      </p:cBhvr>
                                    </p:animEffect>
                                  </p:childTnLst>
                                </p:cTn>
                              </p:par>
                            </p:childTnLst>
                          </p:cTn>
                        </p:par>
                        <p:par>
                          <p:cTn id="40" fill="hold">
                            <p:stCondLst>
                              <p:cond delay="4500"/>
                            </p:stCondLst>
                            <p:childTnLst>
                              <p:par>
                                <p:cTn id="41" presetID="26" presetClass="emph" presetSubtype="0" fill="hold" grpId="1" nodeType="afterEffect">
                                  <p:stCondLst>
                                    <p:cond delay="0"/>
                                  </p:stCondLst>
                                  <p:childTnLst>
                                    <p:animEffect transition="out" filter="fade">
                                      <p:cBhvr>
                                        <p:cTn id="42" dur="500" tmFilter="0, 0; .2, .5; .8, .5; 1, 0"/>
                                        <p:tgtEl>
                                          <p:spTgt spid="165"/>
                                        </p:tgtEl>
                                      </p:cBhvr>
                                    </p:animEffect>
                                    <p:animScale>
                                      <p:cBhvr>
                                        <p:cTn id="43" dur="250" autoRev="1" fill="hold"/>
                                        <p:tgtEl>
                                          <p:spTgt spid="165"/>
                                        </p:tgtEl>
                                      </p:cBhvr>
                                      <p:by x="105000" y="105000"/>
                                    </p:animScale>
                                  </p:childTnLst>
                                </p:cTn>
                              </p:par>
                            </p:childTnLst>
                          </p:cTn>
                        </p:par>
                        <p:par>
                          <p:cTn id="44" fill="hold">
                            <p:stCondLst>
                              <p:cond delay="5000"/>
                            </p:stCondLst>
                            <p:childTnLst>
                              <p:par>
                                <p:cTn id="45" presetID="10" presetClass="entr" presetSubtype="0" fill="hold" grpId="0" nodeType="afterEffect">
                                  <p:stCondLst>
                                    <p:cond delay="0"/>
                                  </p:stCondLst>
                                  <p:childTnLst>
                                    <p:set>
                                      <p:cBhvr>
                                        <p:cTn id="46" dur="1" fill="hold">
                                          <p:stCondLst>
                                            <p:cond delay="0"/>
                                          </p:stCondLst>
                                        </p:cTn>
                                        <p:tgtEl>
                                          <p:spTgt spid="153"/>
                                        </p:tgtEl>
                                        <p:attrNameLst>
                                          <p:attrName>style.visibility</p:attrName>
                                        </p:attrNameLst>
                                      </p:cBhvr>
                                      <p:to>
                                        <p:strVal val="visible"/>
                                      </p:to>
                                    </p:set>
                                    <p:animEffect transition="in" filter="fade">
                                      <p:cBhvr>
                                        <p:cTn id="47" dur="500"/>
                                        <p:tgtEl>
                                          <p:spTgt spid="153"/>
                                        </p:tgtEl>
                                      </p:cBhvr>
                                    </p:animEffect>
                                  </p:childTnLst>
                                </p:cTn>
                              </p:par>
                            </p:childTnLst>
                          </p:cTn>
                        </p:par>
                        <p:par>
                          <p:cTn id="48" fill="hold">
                            <p:stCondLst>
                              <p:cond delay="5500"/>
                            </p:stCondLst>
                            <p:childTnLst>
                              <p:par>
                                <p:cTn id="49" presetID="10" presetClass="entr" presetSubtype="0" fill="hold" grpId="0" nodeType="afterEffect">
                                  <p:stCondLst>
                                    <p:cond delay="0"/>
                                  </p:stCondLst>
                                  <p:childTnLst>
                                    <p:set>
                                      <p:cBhvr>
                                        <p:cTn id="50" dur="1" fill="hold">
                                          <p:stCondLst>
                                            <p:cond delay="0"/>
                                          </p:stCondLst>
                                        </p:cTn>
                                        <p:tgtEl>
                                          <p:spTgt spid="158"/>
                                        </p:tgtEl>
                                        <p:attrNameLst>
                                          <p:attrName>style.visibility</p:attrName>
                                        </p:attrNameLst>
                                      </p:cBhvr>
                                      <p:to>
                                        <p:strVal val="visible"/>
                                      </p:to>
                                    </p:set>
                                    <p:animEffect transition="in" filter="fade">
                                      <p:cBhvr>
                                        <p:cTn id="51" dur="500"/>
                                        <p:tgtEl>
                                          <p:spTgt spid="158"/>
                                        </p:tgtEl>
                                      </p:cBhvr>
                                    </p:animEffect>
                                  </p:childTnLst>
                                </p:cTn>
                              </p:par>
                            </p:childTnLst>
                          </p:cTn>
                        </p:par>
                        <p:par>
                          <p:cTn id="52" fill="hold">
                            <p:stCondLst>
                              <p:cond delay="6000"/>
                            </p:stCondLst>
                            <p:childTnLst>
                              <p:par>
                                <p:cTn id="53" presetID="10" presetClass="entr" presetSubtype="0" fill="hold" grpId="0" nodeType="afterEffect">
                                  <p:stCondLst>
                                    <p:cond delay="0"/>
                                  </p:stCondLst>
                                  <p:childTnLst>
                                    <p:set>
                                      <p:cBhvr>
                                        <p:cTn id="54" dur="1" fill="hold">
                                          <p:stCondLst>
                                            <p:cond delay="0"/>
                                          </p:stCondLst>
                                        </p:cTn>
                                        <p:tgtEl>
                                          <p:spTgt spid="166"/>
                                        </p:tgtEl>
                                        <p:attrNameLst>
                                          <p:attrName>style.visibility</p:attrName>
                                        </p:attrNameLst>
                                      </p:cBhvr>
                                      <p:to>
                                        <p:strVal val="visible"/>
                                      </p:to>
                                    </p:set>
                                    <p:animEffect transition="in" filter="fade">
                                      <p:cBhvr>
                                        <p:cTn id="55" dur="500"/>
                                        <p:tgtEl>
                                          <p:spTgt spid="166"/>
                                        </p:tgtEl>
                                      </p:cBhvr>
                                    </p:animEffect>
                                  </p:childTnLst>
                                </p:cTn>
                              </p:par>
                            </p:childTnLst>
                          </p:cTn>
                        </p:par>
                        <p:par>
                          <p:cTn id="56" fill="hold">
                            <p:stCondLst>
                              <p:cond delay="6500"/>
                            </p:stCondLst>
                            <p:childTnLst>
                              <p:par>
                                <p:cTn id="57" presetID="26" presetClass="emph" presetSubtype="0" fill="hold" grpId="1" nodeType="afterEffect">
                                  <p:stCondLst>
                                    <p:cond delay="0"/>
                                  </p:stCondLst>
                                  <p:childTnLst>
                                    <p:animEffect transition="out" filter="fade">
                                      <p:cBhvr>
                                        <p:cTn id="58" dur="500" tmFilter="0, 0; .2, .5; .8, .5; 1, 0"/>
                                        <p:tgtEl>
                                          <p:spTgt spid="166"/>
                                        </p:tgtEl>
                                      </p:cBhvr>
                                    </p:animEffect>
                                    <p:animScale>
                                      <p:cBhvr>
                                        <p:cTn id="59" dur="250" autoRev="1" fill="hold"/>
                                        <p:tgtEl>
                                          <p:spTgt spid="166"/>
                                        </p:tgtEl>
                                      </p:cBhvr>
                                      <p:by x="105000" y="105000"/>
                                    </p:animScale>
                                  </p:childTnLst>
                                </p:cTn>
                              </p:par>
                            </p:childTnLst>
                          </p:cTn>
                        </p:par>
                        <p:par>
                          <p:cTn id="60" fill="hold">
                            <p:stCondLst>
                              <p:cond delay="7000"/>
                            </p:stCondLst>
                            <p:childTnLst>
                              <p:par>
                                <p:cTn id="61" presetID="10" presetClass="entr" presetSubtype="0" fill="hold" grpId="0" nodeType="afterEffect">
                                  <p:stCondLst>
                                    <p:cond delay="0"/>
                                  </p:stCondLst>
                                  <p:childTnLst>
                                    <p:set>
                                      <p:cBhvr>
                                        <p:cTn id="62" dur="1" fill="hold">
                                          <p:stCondLst>
                                            <p:cond delay="0"/>
                                          </p:stCondLst>
                                        </p:cTn>
                                        <p:tgtEl>
                                          <p:spTgt spid="154"/>
                                        </p:tgtEl>
                                        <p:attrNameLst>
                                          <p:attrName>style.visibility</p:attrName>
                                        </p:attrNameLst>
                                      </p:cBhvr>
                                      <p:to>
                                        <p:strVal val="visible"/>
                                      </p:to>
                                    </p:set>
                                    <p:animEffect transition="in" filter="fade">
                                      <p:cBhvr>
                                        <p:cTn id="63" dur="500"/>
                                        <p:tgtEl>
                                          <p:spTgt spid="154"/>
                                        </p:tgtEl>
                                      </p:cBhvr>
                                    </p:animEffect>
                                  </p:childTnLst>
                                </p:cTn>
                              </p:par>
                            </p:childTnLst>
                          </p:cTn>
                        </p:par>
                        <p:par>
                          <p:cTn id="64" fill="hold">
                            <p:stCondLst>
                              <p:cond delay="7500"/>
                            </p:stCondLst>
                            <p:childTnLst>
                              <p:par>
                                <p:cTn id="65" presetID="10" presetClass="entr" presetSubtype="0" fill="hold" grpId="0" nodeType="afterEffect">
                                  <p:stCondLst>
                                    <p:cond delay="0"/>
                                  </p:stCondLst>
                                  <p:childTnLst>
                                    <p:set>
                                      <p:cBhvr>
                                        <p:cTn id="66" dur="1" fill="hold">
                                          <p:stCondLst>
                                            <p:cond delay="0"/>
                                          </p:stCondLst>
                                        </p:cTn>
                                        <p:tgtEl>
                                          <p:spTgt spid="159"/>
                                        </p:tgtEl>
                                        <p:attrNameLst>
                                          <p:attrName>style.visibility</p:attrName>
                                        </p:attrNameLst>
                                      </p:cBhvr>
                                      <p:to>
                                        <p:strVal val="visible"/>
                                      </p:to>
                                    </p:set>
                                    <p:animEffect transition="in" filter="fade">
                                      <p:cBhvr>
                                        <p:cTn id="67" dur="500"/>
                                        <p:tgtEl>
                                          <p:spTgt spid="159"/>
                                        </p:tgtEl>
                                      </p:cBhvr>
                                    </p:animEffect>
                                  </p:childTnLst>
                                </p:cTn>
                              </p:par>
                            </p:childTnLst>
                          </p:cTn>
                        </p:par>
                        <p:par>
                          <p:cTn id="68" fill="hold">
                            <p:stCondLst>
                              <p:cond delay="8000"/>
                            </p:stCondLst>
                            <p:childTnLst>
                              <p:par>
                                <p:cTn id="69" presetID="10" presetClass="entr" presetSubtype="0" fill="hold" grpId="0" nodeType="afterEffect">
                                  <p:stCondLst>
                                    <p:cond delay="0"/>
                                  </p:stCondLst>
                                  <p:childTnLst>
                                    <p:set>
                                      <p:cBhvr>
                                        <p:cTn id="70" dur="1" fill="hold">
                                          <p:stCondLst>
                                            <p:cond delay="0"/>
                                          </p:stCondLst>
                                        </p:cTn>
                                        <p:tgtEl>
                                          <p:spTgt spid="169"/>
                                        </p:tgtEl>
                                        <p:attrNameLst>
                                          <p:attrName>style.visibility</p:attrName>
                                        </p:attrNameLst>
                                      </p:cBhvr>
                                      <p:to>
                                        <p:strVal val="visible"/>
                                      </p:to>
                                    </p:set>
                                    <p:animEffect transition="in" filter="fade">
                                      <p:cBhvr>
                                        <p:cTn id="71" dur="500"/>
                                        <p:tgtEl>
                                          <p:spTgt spid="169"/>
                                        </p:tgtEl>
                                      </p:cBhvr>
                                    </p:animEffect>
                                  </p:childTnLst>
                                </p:cTn>
                              </p:par>
                            </p:childTnLst>
                          </p:cTn>
                        </p:par>
                        <p:par>
                          <p:cTn id="72" fill="hold">
                            <p:stCondLst>
                              <p:cond delay="8500"/>
                            </p:stCondLst>
                            <p:childTnLst>
                              <p:par>
                                <p:cTn id="73" presetID="26" presetClass="emph" presetSubtype="0" fill="hold" grpId="1" nodeType="afterEffect">
                                  <p:stCondLst>
                                    <p:cond delay="0"/>
                                  </p:stCondLst>
                                  <p:childTnLst>
                                    <p:animEffect transition="out" filter="fade">
                                      <p:cBhvr>
                                        <p:cTn id="74" dur="500" tmFilter="0, 0; .2, .5; .8, .5; 1, 0"/>
                                        <p:tgtEl>
                                          <p:spTgt spid="169"/>
                                        </p:tgtEl>
                                      </p:cBhvr>
                                    </p:animEffect>
                                    <p:animScale>
                                      <p:cBhvr>
                                        <p:cTn id="75" dur="250" autoRev="1" fill="hold"/>
                                        <p:tgtEl>
                                          <p:spTgt spid="169"/>
                                        </p:tgtEl>
                                      </p:cBhvr>
                                      <p:by x="105000" y="105000"/>
                                    </p:animScale>
                                  </p:childTnLst>
                                </p:cTn>
                              </p:par>
                            </p:childTnLst>
                          </p:cTn>
                        </p:par>
                        <p:par>
                          <p:cTn id="76" fill="hold">
                            <p:stCondLst>
                              <p:cond delay="9000"/>
                            </p:stCondLst>
                            <p:childTnLst>
                              <p:par>
                                <p:cTn id="77" presetID="10" presetClass="entr" presetSubtype="0" fill="hold" grpId="0" nodeType="afterEffect">
                                  <p:stCondLst>
                                    <p:cond delay="0"/>
                                  </p:stCondLst>
                                  <p:childTnLst>
                                    <p:set>
                                      <p:cBhvr>
                                        <p:cTn id="78" dur="1" fill="hold">
                                          <p:stCondLst>
                                            <p:cond delay="0"/>
                                          </p:stCondLst>
                                        </p:cTn>
                                        <p:tgtEl>
                                          <p:spTgt spid="115"/>
                                        </p:tgtEl>
                                        <p:attrNameLst>
                                          <p:attrName>style.visibility</p:attrName>
                                        </p:attrNameLst>
                                      </p:cBhvr>
                                      <p:to>
                                        <p:strVal val="visible"/>
                                      </p:to>
                                    </p:set>
                                    <p:animEffect transition="in" filter="fade">
                                      <p:cBhvr>
                                        <p:cTn id="79" dur="500"/>
                                        <p:tgtEl>
                                          <p:spTgt spid="115"/>
                                        </p:tgtEl>
                                      </p:cBhvr>
                                    </p:animEffect>
                                  </p:childTnLst>
                                </p:cTn>
                              </p:par>
                            </p:childTnLst>
                          </p:cTn>
                        </p:par>
                        <p:par>
                          <p:cTn id="80" fill="hold">
                            <p:stCondLst>
                              <p:cond delay="9500"/>
                            </p:stCondLst>
                            <p:childTnLst>
                              <p:par>
                                <p:cTn id="81" presetID="10" presetClass="entr" presetSubtype="0" fill="hold" grpId="0" nodeType="afterEffect">
                                  <p:stCondLst>
                                    <p:cond delay="0"/>
                                  </p:stCondLst>
                                  <p:childTnLst>
                                    <p:set>
                                      <p:cBhvr>
                                        <p:cTn id="82" dur="1" fill="hold">
                                          <p:stCondLst>
                                            <p:cond delay="0"/>
                                          </p:stCondLst>
                                        </p:cTn>
                                        <p:tgtEl>
                                          <p:spTgt spid="117"/>
                                        </p:tgtEl>
                                        <p:attrNameLst>
                                          <p:attrName>style.visibility</p:attrName>
                                        </p:attrNameLst>
                                      </p:cBhvr>
                                      <p:to>
                                        <p:strVal val="visible"/>
                                      </p:to>
                                    </p:set>
                                    <p:animEffect transition="in" filter="fade">
                                      <p:cBhvr>
                                        <p:cTn id="83" dur="500"/>
                                        <p:tgtEl>
                                          <p:spTgt spid="117"/>
                                        </p:tgtEl>
                                      </p:cBhvr>
                                    </p:animEffect>
                                  </p:childTnLst>
                                </p:cTn>
                              </p:par>
                            </p:childTnLst>
                          </p:cTn>
                        </p:par>
                        <p:par>
                          <p:cTn id="84" fill="hold">
                            <p:stCondLst>
                              <p:cond delay="10000"/>
                            </p:stCondLst>
                            <p:childTnLst>
                              <p:par>
                                <p:cTn id="85" presetID="10" presetClass="entr" presetSubtype="0" fill="hold" grpId="0" nodeType="afterEffect">
                                  <p:stCondLst>
                                    <p:cond delay="0"/>
                                  </p:stCondLst>
                                  <p:childTnLst>
                                    <p:set>
                                      <p:cBhvr>
                                        <p:cTn id="86" dur="1" fill="hold">
                                          <p:stCondLst>
                                            <p:cond delay="0"/>
                                          </p:stCondLst>
                                        </p:cTn>
                                        <p:tgtEl>
                                          <p:spTgt spid="119"/>
                                        </p:tgtEl>
                                        <p:attrNameLst>
                                          <p:attrName>style.visibility</p:attrName>
                                        </p:attrNameLst>
                                      </p:cBhvr>
                                      <p:to>
                                        <p:strVal val="visible"/>
                                      </p:to>
                                    </p:set>
                                    <p:animEffect transition="in" filter="fade">
                                      <p:cBhvr>
                                        <p:cTn id="87" dur="500"/>
                                        <p:tgtEl>
                                          <p:spTgt spid="119"/>
                                        </p:tgtEl>
                                      </p:cBhvr>
                                    </p:animEffect>
                                  </p:childTnLst>
                                </p:cTn>
                              </p:par>
                            </p:childTnLst>
                          </p:cTn>
                        </p:par>
                        <p:par>
                          <p:cTn id="88" fill="hold">
                            <p:stCondLst>
                              <p:cond delay="10500"/>
                            </p:stCondLst>
                            <p:childTnLst>
                              <p:par>
                                <p:cTn id="89" presetID="26" presetClass="emph" presetSubtype="0" fill="hold" grpId="1" nodeType="afterEffect">
                                  <p:stCondLst>
                                    <p:cond delay="0"/>
                                  </p:stCondLst>
                                  <p:childTnLst>
                                    <p:animEffect transition="out" filter="fade">
                                      <p:cBhvr>
                                        <p:cTn id="90" dur="500" tmFilter="0, 0; .2, .5; .8, .5; 1, 0"/>
                                        <p:tgtEl>
                                          <p:spTgt spid="119"/>
                                        </p:tgtEl>
                                      </p:cBhvr>
                                    </p:animEffect>
                                    <p:animScale>
                                      <p:cBhvr>
                                        <p:cTn id="91" dur="250" autoRev="1" fill="hold"/>
                                        <p:tgtEl>
                                          <p:spTgt spid="119"/>
                                        </p:tgtEl>
                                      </p:cBhvr>
                                      <p:by x="105000" y="105000"/>
                                    </p:animScale>
                                  </p:childTnLst>
                                </p:cTn>
                              </p:par>
                            </p:childTnLst>
                          </p:cTn>
                        </p:par>
                        <p:par>
                          <p:cTn id="92" fill="hold">
                            <p:stCondLst>
                              <p:cond delay="11000"/>
                            </p:stCondLst>
                            <p:childTnLst>
                              <p:par>
                                <p:cTn id="93" presetID="10" presetClass="entr" presetSubtype="0" fill="hold" grpId="0" nodeType="afterEffect">
                                  <p:stCondLst>
                                    <p:cond delay="0"/>
                                  </p:stCondLst>
                                  <p:childTnLst>
                                    <p:set>
                                      <p:cBhvr>
                                        <p:cTn id="94" dur="1" fill="hold">
                                          <p:stCondLst>
                                            <p:cond delay="0"/>
                                          </p:stCondLst>
                                        </p:cTn>
                                        <p:tgtEl>
                                          <p:spTgt spid="121"/>
                                        </p:tgtEl>
                                        <p:attrNameLst>
                                          <p:attrName>style.visibility</p:attrName>
                                        </p:attrNameLst>
                                      </p:cBhvr>
                                      <p:to>
                                        <p:strVal val="visible"/>
                                      </p:to>
                                    </p:set>
                                    <p:animEffect transition="in" filter="fade">
                                      <p:cBhvr>
                                        <p:cTn id="95" dur="500"/>
                                        <p:tgtEl>
                                          <p:spTgt spid="121"/>
                                        </p:tgtEl>
                                      </p:cBhvr>
                                    </p:animEffect>
                                  </p:childTnLst>
                                </p:cTn>
                              </p:par>
                            </p:childTnLst>
                          </p:cTn>
                        </p:par>
                        <p:par>
                          <p:cTn id="96" fill="hold">
                            <p:stCondLst>
                              <p:cond delay="11500"/>
                            </p:stCondLst>
                            <p:childTnLst>
                              <p:par>
                                <p:cTn id="97" presetID="10" presetClass="entr" presetSubtype="0" fill="hold" grpId="0" nodeType="afterEffect">
                                  <p:stCondLst>
                                    <p:cond delay="0"/>
                                  </p:stCondLst>
                                  <p:childTnLst>
                                    <p:set>
                                      <p:cBhvr>
                                        <p:cTn id="98" dur="1" fill="hold">
                                          <p:stCondLst>
                                            <p:cond delay="0"/>
                                          </p:stCondLst>
                                        </p:cTn>
                                        <p:tgtEl>
                                          <p:spTgt spid="123"/>
                                        </p:tgtEl>
                                        <p:attrNameLst>
                                          <p:attrName>style.visibility</p:attrName>
                                        </p:attrNameLst>
                                      </p:cBhvr>
                                      <p:to>
                                        <p:strVal val="visible"/>
                                      </p:to>
                                    </p:set>
                                    <p:animEffect transition="in" filter="fade">
                                      <p:cBhvr>
                                        <p:cTn id="99" dur="500"/>
                                        <p:tgtEl>
                                          <p:spTgt spid="123"/>
                                        </p:tgtEl>
                                      </p:cBhvr>
                                    </p:animEffect>
                                  </p:childTnLst>
                                </p:cTn>
                              </p:par>
                            </p:childTnLst>
                          </p:cTn>
                        </p:par>
                        <p:par>
                          <p:cTn id="100" fill="hold">
                            <p:stCondLst>
                              <p:cond delay="12000"/>
                            </p:stCondLst>
                            <p:childTnLst>
                              <p:par>
                                <p:cTn id="101" presetID="10" presetClass="entr" presetSubtype="0" fill="hold" grpId="0" nodeType="afterEffect">
                                  <p:stCondLst>
                                    <p:cond delay="0"/>
                                  </p:stCondLst>
                                  <p:childTnLst>
                                    <p:set>
                                      <p:cBhvr>
                                        <p:cTn id="102" dur="1" fill="hold">
                                          <p:stCondLst>
                                            <p:cond delay="0"/>
                                          </p:stCondLst>
                                        </p:cTn>
                                        <p:tgtEl>
                                          <p:spTgt spid="125"/>
                                        </p:tgtEl>
                                        <p:attrNameLst>
                                          <p:attrName>style.visibility</p:attrName>
                                        </p:attrNameLst>
                                      </p:cBhvr>
                                      <p:to>
                                        <p:strVal val="visible"/>
                                      </p:to>
                                    </p:set>
                                    <p:animEffect transition="in" filter="fade">
                                      <p:cBhvr>
                                        <p:cTn id="103" dur="500"/>
                                        <p:tgtEl>
                                          <p:spTgt spid="125"/>
                                        </p:tgtEl>
                                      </p:cBhvr>
                                    </p:animEffect>
                                  </p:childTnLst>
                                </p:cTn>
                              </p:par>
                            </p:childTnLst>
                          </p:cTn>
                        </p:par>
                        <p:par>
                          <p:cTn id="104" fill="hold">
                            <p:stCondLst>
                              <p:cond delay="12500"/>
                            </p:stCondLst>
                            <p:childTnLst>
                              <p:par>
                                <p:cTn id="105" presetID="26" presetClass="emph" presetSubtype="0" fill="hold" grpId="1" nodeType="afterEffect">
                                  <p:stCondLst>
                                    <p:cond delay="0"/>
                                  </p:stCondLst>
                                  <p:childTnLst>
                                    <p:animEffect transition="out" filter="fade">
                                      <p:cBhvr>
                                        <p:cTn id="106" dur="500" tmFilter="0, 0; .2, .5; .8, .5; 1, 0"/>
                                        <p:tgtEl>
                                          <p:spTgt spid="125"/>
                                        </p:tgtEl>
                                      </p:cBhvr>
                                    </p:animEffect>
                                    <p:animScale>
                                      <p:cBhvr>
                                        <p:cTn id="107" dur="250" autoRev="1" fill="hold"/>
                                        <p:tgtEl>
                                          <p:spTgt spid="125"/>
                                        </p:tgtEl>
                                      </p:cBhvr>
                                      <p:by x="105000" y="105000"/>
                                    </p:animScale>
                                  </p:childTnLst>
                                </p:cTn>
                              </p:par>
                            </p:childTnLst>
                          </p:cTn>
                        </p:par>
                        <p:par>
                          <p:cTn id="108" fill="hold">
                            <p:stCondLst>
                              <p:cond delay="13000"/>
                            </p:stCondLst>
                            <p:childTnLst>
                              <p:par>
                                <p:cTn id="109" presetID="10" presetClass="entr" presetSubtype="0" fill="hold" grpId="0" nodeType="afterEffect">
                                  <p:stCondLst>
                                    <p:cond delay="0"/>
                                  </p:stCondLst>
                                  <p:childTnLst>
                                    <p:set>
                                      <p:cBhvr>
                                        <p:cTn id="110" dur="1" fill="hold">
                                          <p:stCondLst>
                                            <p:cond delay="0"/>
                                          </p:stCondLst>
                                        </p:cTn>
                                        <p:tgtEl>
                                          <p:spTgt spid="160"/>
                                        </p:tgtEl>
                                        <p:attrNameLst>
                                          <p:attrName>style.visibility</p:attrName>
                                        </p:attrNameLst>
                                      </p:cBhvr>
                                      <p:to>
                                        <p:strVal val="visible"/>
                                      </p:to>
                                    </p:set>
                                    <p:animEffect transition="in" filter="fade">
                                      <p:cBhvr>
                                        <p:cTn id="111" dur="500"/>
                                        <p:tgtEl>
                                          <p:spTgt spid="160"/>
                                        </p:tgtEl>
                                      </p:cBhvr>
                                    </p:animEffect>
                                  </p:childTnLst>
                                </p:cTn>
                              </p:par>
                            </p:childTnLst>
                          </p:cTn>
                        </p:par>
                        <p:par>
                          <p:cTn id="112" fill="hold">
                            <p:stCondLst>
                              <p:cond delay="13500"/>
                            </p:stCondLst>
                            <p:childTnLst>
                              <p:par>
                                <p:cTn id="113" presetID="10" presetClass="entr" presetSubtype="0" fill="hold" grpId="0" nodeType="afterEffect">
                                  <p:stCondLst>
                                    <p:cond delay="0"/>
                                  </p:stCondLst>
                                  <p:childTnLst>
                                    <p:set>
                                      <p:cBhvr>
                                        <p:cTn id="114" dur="1" fill="hold">
                                          <p:stCondLst>
                                            <p:cond delay="0"/>
                                          </p:stCondLst>
                                        </p:cTn>
                                        <p:tgtEl>
                                          <p:spTgt spid="161"/>
                                        </p:tgtEl>
                                        <p:attrNameLst>
                                          <p:attrName>style.visibility</p:attrName>
                                        </p:attrNameLst>
                                      </p:cBhvr>
                                      <p:to>
                                        <p:strVal val="visible"/>
                                      </p:to>
                                    </p:set>
                                    <p:animEffect transition="in" filter="fade">
                                      <p:cBhvr>
                                        <p:cTn id="115" dur="500"/>
                                        <p:tgtEl>
                                          <p:spTgt spid="161"/>
                                        </p:tgtEl>
                                      </p:cBhvr>
                                    </p:animEffect>
                                  </p:childTnLst>
                                </p:cTn>
                              </p:par>
                            </p:childTnLst>
                          </p:cTn>
                        </p:par>
                        <p:par>
                          <p:cTn id="116" fill="hold">
                            <p:stCondLst>
                              <p:cond delay="14000"/>
                            </p:stCondLst>
                            <p:childTnLst>
                              <p:par>
                                <p:cTn id="117" presetID="10" presetClass="entr" presetSubtype="0" fill="hold" grpId="0" nodeType="afterEffect">
                                  <p:stCondLst>
                                    <p:cond delay="0"/>
                                  </p:stCondLst>
                                  <p:childTnLst>
                                    <p:set>
                                      <p:cBhvr>
                                        <p:cTn id="118" dur="1" fill="hold">
                                          <p:stCondLst>
                                            <p:cond delay="0"/>
                                          </p:stCondLst>
                                        </p:cTn>
                                        <p:tgtEl>
                                          <p:spTgt spid="170"/>
                                        </p:tgtEl>
                                        <p:attrNameLst>
                                          <p:attrName>style.visibility</p:attrName>
                                        </p:attrNameLst>
                                      </p:cBhvr>
                                      <p:to>
                                        <p:strVal val="visible"/>
                                      </p:to>
                                    </p:set>
                                    <p:animEffect transition="in" filter="fade">
                                      <p:cBhvr>
                                        <p:cTn id="119" dur="500"/>
                                        <p:tgtEl>
                                          <p:spTgt spid="170"/>
                                        </p:tgtEl>
                                      </p:cBhvr>
                                    </p:animEffect>
                                  </p:childTnLst>
                                </p:cTn>
                              </p:par>
                            </p:childTnLst>
                          </p:cTn>
                        </p:par>
                        <p:par>
                          <p:cTn id="120" fill="hold">
                            <p:stCondLst>
                              <p:cond delay="14500"/>
                            </p:stCondLst>
                            <p:childTnLst>
                              <p:par>
                                <p:cTn id="121" presetID="26" presetClass="emph" presetSubtype="0" fill="hold" grpId="1" nodeType="afterEffect">
                                  <p:stCondLst>
                                    <p:cond delay="0"/>
                                  </p:stCondLst>
                                  <p:childTnLst>
                                    <p:animEffect transition="out" filter="fade">
                                      <p:cBhvr>
                                        <p:cTn id="122" dur="500" tmFilter="0, 0; .2, .5; .8, .5; 1, 0"/>
                                        <p:tgtEl>
                                          <p:spTgt spid="170"/>
                                        </p:tgtEl>
                                      </p:cBhvr>
                                    </p:animEffect>
                                    <p:animScale>
                                      <p:cBhvr>
                                        <p:cTn id="123" dur="250" autoRev="1" fill="hold"/>
                                        <p:tgtEl>
                                          <p:spTgt spid="170"/>
                                        </p:tgtEl>
                                      </p:cBhvr>
                                      <p:by x="105000" y="105000"/>
                                    </p:animScale>
                                  </p:childTnLst>
                                </p:cTn>
                              </p:par>
                            </p:childTnLst>
                          </p:cTn>
                        </p:par>
                        <p:par>
                          <p:cTn id="124" fill="hold">
                            <p:stCondLst>
                              <p:cond delay="15000"/>
                            </p:stCondLst>
                            <p:childTnLst>
                              <p:par>
                                <p:cTn id="125" presetID="10" presetClass="entr" presetSubtype="0" fill="hold" grpId="0" nodeType="afterEffect">
                                  <p:stCondLst>
                                    <p:cond delay="0"/>
                                  </p:stCondLst>
                                  <p:childTnLst>
                                    <p:set>
                                      <p:cBhvr>
                                        <p:cTn id="126" dur="1" fill="hold">
                                          <p:stCondLst>
                                            <p:cond delay="0"/>
                                          </p:stCondLst>
                                        </p:cTn>
                                        <p:tgtEl>
                                          <p:spTgt spid="127"/>
                                        </p:tgtEl>
                                        <p:attrNameLst>
                                          <p:attrName>style.visibility</p:attrName>
                                        </p:attrNameLst>
                                      </p:cBhvr>
                                      <p:to>
                                        <p:strVal val="visible"/>
                                      </p:to>
                                    </p:set>
                                    <p:animEffect transition="in" filter="fade">
                                      <p:cBhvr>
                                        <p:cTn id="127" dur="500"/>
                                        <p:tgtEl>
                                          <p:spTgt spid="127"/>
                                        </p:tgtEl>
                                      </p:cBhvr>
                                    </p:animEffect>
                                  </p:childTnLst>
                                </p:cTn>
                              </p:par>
                            </p:childTnLst>
                          </p:cTn>
                        </p:par>
                        <p:par>
                          <p:cTn id="128" fill="hold">
                            <p:stCondLst>
                              <p:cond delay="15500"/>
                            </p:stCondLst>
                            <p:childTnLst>
                              <p:par>
                                <p:cTn id="129" presetID="22" presetClass="entr" presetSubtype="1" fill="hold" nodeType="afterEffect">
                                  <p:stCondLst>
                                    <p:cond delay="0"/>
                                  </p:stCondLst>
                                  <p:childTnLst>
                                    <p:set>
                                      <p:cBhvr>
                                        <p:cTn id="130" dur="1" fill="hold">
                                          <p:stCondLst>
                                            <p:cond delay="0"/>
                                          </p:stCondLst>
                                        </p:cTn>
                                        <p:tgtEl>
                                          <p:spTgt spid="28"/>
                                        </p:tgtEl>
                                        <p:attrNameLst>
                                          <p:attrName>style.visibility</p:attrName>
                                        </p:attrNameLst>
                                      </p:cBhvr>
                                      <p:to>
                                        <p:strVal val="visible"/>
                                      </p:to>
                                    </p:set>
                                    <p:animEffect transition="in" filter="wipe(up)">
                                      <p:cBhvr>
                                        <p:cTn id="131" dur="500"/>
                                        <p:tgtEl>
                                          <p:spTgt spid="28"/>
                                        </p:tgtEl>
                                      </p:cBhvr>
                                    </p:animEffect>
                                  </p:childTnLst>
                                </p:cTn>
                              </p:par>
                            </p:childTnLst>
                          </p:cTn>
                        </p:par>
                        <p:par>
                          <p:cTn id="132" fill="hold">
                            <p:stCondLst>
                              <p:cond delay="16000"/>
                            </p:stCondLst>
                            <p:childTnLst>
                              <p:par>
                                <p:cTn id="133" presetID="22" presetClass="entr" presetSubtype="8" fill="hold" nodeType="afterEffect">
                                  <p:stCondLst>
                                    <p:cond delay="0"/>
                                  </p:stCondLst>
                                  <p:childTnLst>
                                    <p:set>
                                      <p:cBhvr>
                                        <p:cTn id="134" dur="1" fill="hold">
                                          <p:stCondLst>
                                            <p:cond delay="0"/>
                                          </p:stCondLst>
                                        </p:cTn>
                                        <p:tgtEl>
                                          <p:spTgt spid="226"/>
                                        </p:tgtEl>
                                        <p:attrNameLst>
                                          <p:attrName>style.visibility</p:attrName>
                                        </p:attrNameLst>
                                      </p:cBhvr>
                                      <p:to>
                                        <p:strVal val="visible"/>
                                      </p:to>
                                    </p:set>
                                    <p:animEffect transition="in" filter="wipe(left)">
                                      <p:cBhvr>
                                        <p:cTn id="135" dur="500"/>
                                        <p:tgtEl>
                                          <p:spTgt spid="226"/>
                                        </p:tgtEl>
                                      </p:cBhvr>
                                    </p:animEffect>
                                  </p:childTnLst>
                                </p:cTn>
                              </p:par>
                            </p:childTnLst>
                          </p:cTn>
                        </p:par>
                        <p:par>
                          <p:cTn id="136" fill="hold">
                            <p:stCondLst>
                              <p:cond delay="16500"/>
                            </p:stCondLst>
                            <p:childTnLst>
                              <p:par>
                                <p:cTn id="137" presetID="22" presetClass="entr" presetSubtype="4" fill="hold" nodeType="afterEffect">
                                  <p:stCondLst>
                                    <p:cond delay="0"/>
                                  </p:stCondLst>
                                  <p:childTnLst>
                                    <p:set>
                                      <p:cBhvr>
                                        <p:cTn id="138" dur="1" fill="hold">
                                          <p:stCondLst>
                                            <p:cond delay="0"/>
                                          </p:stCondLst>
                                        </p:cTn>
                                        <p:tgtEl>
                                          <p:spTgt spid="230"/>
                                        </p:tgtEl>
                                        <p:attrNameLst>
                                          <p:attrName>style.visibility</p:attrName>
                                        </p:attrNameLst>
                                      </p:cBhvr>
                                      <p:to>
                                        <p:strVal val="visible"/>
                                      </p:to>
                                    </p:set>
                                    <p:animEffect transition="in" filter="wipe(down)">
                                      <p:cBhvr>
                                        <p:cTn id="139" dur="500"/>
                                        <p:tgtEl>
                                          <p:spTgt spid="230"/>
                                        </p:tgtEl>
                                      </p:cBhvr>
                                    </p:animEffect>
                                  </p:childTnLst>
                                </p:cTn>
                              </p:par>
                            </p:childTnLst>
                          </p:cTn>
                        </p:par>
                        <p:par>
                          <p:cTn id="140" fill="hold">
                            <p:stCondLst>
                              <p:cond delay="17000"/>
                            </p:stCondLst>
                            <p:childTnLst>
                              <p:par>
                                <p:cTn id="141" presetID="10" presetClass="entr" presetSubtype="0" fill="hold" grpId="0" nodeType="afterEffect">
                                  <p:stCondLst>
                                    <p:cond delay="0"/>
                                  </p:stCondLst>
                                  <p:childTnLst>
                                    <p:set>
                                      <p:cBhvr>
                                        <p:cTn id="142" dur="1" fill="hold">
                                          <p:stCondLst>
                                            <p:cond delay="0"/>
                                          </p:stCondLst>
                                        </p:cTn>
                                        <p:tgtEl>
                                          <p:spTgt spid="129"/>
                                        </p:tgtEl>
                                        <p:attrNameLst>
                                          <p:attrName>style.visibility</p:attrName>
                                        </p:attrNameLst>
                                      </p:cBhvr>
                                      <p:to>
                                        <p:strVal val="visible"/>
                                      </p:to>
                                    </p:set>
                                    <p:animEffect transition="in" filter="fade">
                                      <p:cBhvr>
                                        <p:cTn id="143" dur="500"/>
                                        <p:tgtEl>
                                          <p:spTgt spid="129"/>
                                        </p:tgtEl>
                                      </p:cBhvr>
                                    </p:animEffect>
                                  </p:childTnLst>
                                </p:cTn>
                              </p:par>
                            </p:childTnLst>
                          </p:cTn>
                        </p:par>
                        <p:par>
                          <p:cTn id="144" fill="hold">
                            <p:stCondLst>
                              <p:cond delay="17500"/>
                            </p:stCondLst>
                            <p:childTnLst>
                              <p:par>
                                <p:cTn id="145" presetID="10" presetClass="entr" presetSubtype="0" fill="hold" grpId="0" nodeType="afterEffect">
                                  <p:stCondLst>
                                    <p:cond delay="0"/>
                                  </p:stCondLst>
                                  <p:childTnLst>
                                    <p:set>
                                      <p:cBhvr>
                                        <p:cTn id="146" dur="1" fill="hold">
                                          <p:stCondLst>
                                            <p:cond delay="0"/>
                                          </p:stCondLst>
                                        </p:cTn>
                                        <p:tgtEl>
                                          <p:spTgt spid="145"/>
                                        </p:tgtEl>
                                        <p:attrNameLst>
                                          <p:attrName>style.visibility</p:attrName>
                                        </p:attrNameLst>
                                      </p:cBhvr>
                                      <p:to>
                                        <p:strVal val="visible"/>
                                      </p:to>
                                    </p:set>
                                    <p:animEffect transition="in" filter="fade">
                                      <p:cBhvr>
                                        <p:cTn id="147" dur="500"/>
                                        <p:tgtEl>
                                          <p:spTgt spid="145"/>
                                        </p:tgtEl>
                                      </p:cBhvr>
                                    </p:animEffect>
                                  </p:childTnLst>
                                </p:cTn>
                              </p:par>
                            </p:childTnLst>
                          </p:cTn>
                        </p:par>
                        <p:par>
                          <p:cTn id="148" fill="hold">
                            <p:stCondLst>
                              <p:cond delay="18000"/>
                            </p:stCondLst>
                            <p:childTnLst>
                              <p:par>
                                <p:cTn id="149" presetID="10" presetClass="entr" presetSubtype="0" fill="hold" grpId="0" nodeType="afterEffect">
                                  <p:stCondLst>
                                    <p:cond delay="0"/>
                                  </p:stCondLst>
                                  <p:childTnLst>
                                    <p:set>
                                      <p:cBhvr>
                                        <p:cTn id="150" dur="1" fill="hold">
                                          <p:stCondLst>
                                            <p:cond delay="0"/>
                                          </p:stCondLst>
                                        </p:cTn>
                                        <p:tgtEl>
                                          <p:spTgt spid="135"/>
                                        </p:tgtEl>
                                        <p:attrNameLst>
                                          <p:attrName>style.visibility</p:attrName>
                                        </p:attrNameLst>
                                      </p:cBhvr>
                                      <p:to>
                                        <p:strVal val="visible"/>
                                      </p:to>
                                    </p:set>
                                    <p:animEffect transition="in" filter="fade">
                                      <p:cBhvr>
                                        <p:cTn id="151" dur="500"/>
                                        <p:tgtEl>
                                          <p:spTgt spid="135"/>
                                        </p:tgtEl>
                                      </p:cBhvr>
                                    </p:animEffect>
                                  </p:childTnLst>
                                </p:cTn>
                              </p:par>
                            </p:childTnLst>
                          </p:cTn>
                        </p:par>
                        <p:par>
                          <p:cTn id="152" fill="hold">
                            <p:stCondLst>
                              <p:cond delay="18500"/>
                            </p:stCondLst>
                            <p:childTnLst>
                              <p:par>
                                <p:cTn id="153" presetID="10" presetClass="entr" presetSubtype="0" fill="hold" nodeType="afterEffect">
                                  <p:stCondLst>
                                    <p:cond delay="0"/>
                                  </p:stCondLst>
                                  <p:childTnLst>
                                    <p:set>
                                      <p:cBhvr>
                                        <p:cTn id="154" dur="1" fill="hold">
                                          <p:stCondLst>
                                            <p:cond delay="0"/>
                                          </p:stCondLst>
                                        </p:cTn>
                                        <p:tgtEl>
                                          <p:spTgt spid="137"/>
                                        </p:tgtEl>
                                        <p:attrNameLst>
                                          <p:attrName>style.visibility</p:attrName>
                                        </p:attrNameLst>
                                      </p:cBhvr>
                                      <p:to>
                                        <p:strVal val="visible"/>
                                      </p:to>
                                    </p:set>
                                    <p:animEffect transition="in" filter="fade">
                                      <p:cBhvr>
                                        <p:cTn id="155" dur="500"/>
                                        <p:tgtEl>
                                          <p:spTgt spid="137"/>
                                        </p:tgtEl>
                                      </p:cBhvr>
                                    </p:animEffect>
                                  </p:childTnLst>
                                </p:cTn>
                              </p:par>
                            </p:childTnLst>
                          </p:cTn>
                        </p:par>
                        <p:par>
                          <p:cTn id="156" fill="hold">
                            <p:stCondLst>
                              <p:cond delay="19000"/>
                            </p:stCondLst>
                            <p:childTnLst>
                              <p:par>
                                <p:cTn id="157" presetID="10" presetClass="entr" presetSubtype="0" fill="hold" grpId="0" nodeType="afterEffect">
                                  <p:stCondLst>
                                    <p:cond delay="0"/>
                                  </p:stCondLst>
                                  <p:childTnLst>
                                    <p:set>
                                      <p:cBhvr>
                                        <p:cTn id="158" dur="1" fill="hold">
                                          <p:stCondLst>
                                            <p:cond delay="0"/>
                                          </p:stCondLst>
                                        </p:cTn>
                                        <p:tgtEl>
                                          <p:spTgt spid="131"/>
                                        </p:tgtEl>
                                        <p:attrNameLst>
                                          <p:attrName>style.visibility</p:attrName>
                                        </p:attrNameLst>
                                      </p:cBhvr>
                                      <p:to>
                                        <p:strVal val="visible"/>
                                      </p:to>
                                    </p:set>
                                    <p:animEffect transition="in" filter="fade">
                                      <p:cBhvr>
                                        <p:cTn id="159" dur="500"/>
                                        <p:tgtEl>
                                          <p:spTgt spid="1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347" grpId="0"/>
      <p:bldP spid="14349" grpId="0"/>
      <p:bldP spid="149" grpId="0"/>
      <p:bldP spid="151" grpId="0"/>
      <p:bldP spid="153" grpId="0"/>
      <p:bldP spid="154" grpId="0"/>
      <p:bldP spid="156" grpId="0"/>
      <p:bldP spid="157" grpId="0"/>
      <p:bldP spid="158" grpId="0"/>
      <p:bldP spid="159" grpId="0"/>
      <p:bldP spid="160" grpId="0"/>
      <p:bldP spid="161" grpId="0"/>
      <p:bldP spid="162" grpId="0"/>
      <p:bldP spid="162" grpId="1"/>
      <p:bldP spid="165" grpId="0"/>
      <p:bldP spid="165" grpId="1"/>
      <p:bldP spid="166" grpId="0"/>
      <p:bldP spid="166" grpId="1"/>
      <p:bldP spid="169" grpId="0"/>
      <p:bldP spid="169" grpId="1"/>
      <p:bldP spid="170" grpId="0"/>
      <p:bldP spid="170" grpId="1"/>
      <p:bldP spid="127" grpId="0" animBg="1"/>
      <p:bldP spid="129" grpId="0" animBg="1"/>
      <p:bldP spid="145" grpId="0"/>
      <p:bldP spid="115" grpId="0"/>
      <p:bldP spid="117" grpId="0"/>
      <p:bldP spid="119" grpId="0"/>
      <p:bldP spid="119" grpId="1"/>
      <p:bldP spid="121" grpId="0"/>
      <p:bldP spid="123" grpId="0"/>
      <p:bldP spid="125" grpId="0"/>
      <p:bldP spid="125" grpId="1"/>
      <p:bldP spid="131" grpId="0" animBg="1"/>
      <p:bldP spid="135"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95"/>
          <p:cNvSpPr txBox="1">
            <a:spLocks noChangeArrowheads="1"/>
          </p:cNvSpPr>
          <p:nvPr/>
        </p:nvSpPr>
        <p:spPr>
          <a:xfrm>
            <a:off x="300038" y="58738"/>
            <a:ext cx="8520112" cy="1000125"/>
          </a:xfrm>
          <a:prstGeom prst="rect">
            <a:avLst/>
          </a:prstGeom>
        </p:spPr>
        <p:txBody>
          <a:bodyPr lIns="0" tIns="0" rIns="0" bIns="0" anchor="ctr"/>
          <a:lstStyle/>
          <a:p>
            <a:pPr algn="ctr" eaLnBrk="0" hangingPunct="0">
              <a:lnSpc>
                <a:spcPct val="90000"/>
              </a:lnSpc>
              <a:defRPr/>
            </a:pPr>
            <a:r>
              <a:rPr lang="tr-TR" sz="3000" b="1" kern="0" dirty="0" smtClean="0">
                <a:solidFill>
                  <a:schemeClr val="tx2">
                    <a:lumMod val="50000"/>
                  </a:schemeClr>
                </a:solidFill>
              </a:rPr>
              <a:t>İŞLEM SÜREÇLERİ</a:t>
            </a:r>
            <a:endParaRPr lang="en-US" sz="3000" b="1" kern="0" noProof="1">
              <a:solidFill>
                <a:schemeClr val="tx2">
                  <a:lumMod val="50000"/>
                </a:schemeClr>
              </a:solidFill>
            </a:endParaRPr>
          </a:p>
        </p:txBody>
      </p:sp>
      <p:sp>
        <p:nvSpPr>
          <p:cNvPr id="3082" name="Rectangle 4"/>
          <p:cNvSpPr>
            <a:spLocks noChangeArrowheads="1"/>
          </p:cNvSpPr>
          <p:nvPr/>
        </p:nvSpPr>
        <p:spPr bwMode="gray">
          <a:xfrm>
            <a:off x="304800" y="827088"/>
            <a:ext cx="5753100" cy="35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defTabSz="801688" eaLnBrk="0" hangingPunct="0"/>
            <a:endParaRPr lang="en-GB" sz="2000" dirty="0">
              <a:solidFill>
                <a:prstClr val="white"/>
              </a:solidFill>
            </a:endParaRPr>
          </a:p>
        </p:txBody>
      </p:sp>
      <p:sp>
        <p:nvSpPr>
          <p:cNvPr id="18" name="Pfeil nach links 25"/>
          <p:cNvSpPr/>
          <p:nvPr/>
        </p:nvSpPr>
        <p:spPr>
          <a:xfrm flipH="1">
            <a:off x="1214223" y="4090667"/>
            <a:ext cx="3789825" cy="2053073"/>
          </a:xfrm>
          <a:prstGeom prst="leftArrow">
            <a:avLst>
              <a:gd name="adj1" fmla="val 48544"/>
              <a:gd name="adj2" fmla="val 83864"/>
            </a:avLst>
          </a:prstGeom>
          <a:solidFill>
            <a:schemeClr val="bg1">
              <a:lumMod val="65000"/>
            </a:schemeClr>
          </a:solidFill>
          <a:ln w="34925">
            <a:noFill/>
          </a:ln>
          <a:effectLst>
            <a:outerShdw blurRad="317500" dir="2700000" algn="ctr">
              <a:srgbClr val="000000">
                <a:alpha val="43000"/>
              </a:srgbClr>
            </a:outerShdw>
          </a:effectLst>
          <a:scene3d>
            <a:camera prst="perspectiveLeft" fov="4800000">
              <a:rot lat="17880000" lon="0" rev="0"/>
            </a:camera>
            <a:lightRig rig="threePt" dir="t">
              <a:rot lat="0" lon="0" rev="2400000"/>
            </a:lightRig>
          </a:scene3d>
          <a:sp3d extrusionH="38100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tr-TR" sz="2400" noProof="1" smtClean="0">
                <a:solidFill>
                  <a:schemeClr val="tx1"/>
                </a:solidFill>
              </a:rPr>
              <a:t>KAĞIT FATURA </a:t>
            </a:r>
            <a:endParaRPr lang="en-US" sz="2400" noProof="1">
              <a:solidFill>
                <a:schemeClr val="tx1"/>
              </a:solidFill>
            </a:endParaRPr>
          </a:p>
        </p:txBody>
      </p:sp>
      <p:sp>
        <p:nvSpPr>
          <p:cNvPr id="20" name="Pfeil nach links 24"/>
          <p:cNvSpPr/>
          <p:nvPr/>
        </p:nvSpPr>
        <p:spPr>
          <a:xfrm>
            <a:off x="3995934" y="4711840"/>
            <a:ext cx="3789825" cy="2053073"/>
          </a:xfrm>
          <a:prstGeom prst="leftArrow">
            <a:avLst>
              <a:gd name="adj1" fmla="val 48544"/>
              <a:gd name="adj2" fmla="val 83864"/>
            </a:avLst>
          </a:prstGeom>
          <a:solidFill>
            <a:schemeClr val="accent5">
              <a:lumMod val="75000"/>
            </a:schemeClr>
          </a:solidFill>
          <a:ln w="34925">
            <a:noFill/>
          </a:ln>
          <a:effectLst>
            <a:outerShdw blurRad="317500" dir="2700000" algn="ctr">
              <a:srgbClr val="000000">
                <a:alpha val="43000"/>
              </a:srgbClr>
            </a:outerShdw>
          </a:effectLst>
          <a:scene3d>
            <a:camera prst="perspectiveLeft" fov="4800000">
              <a:rot lat="17880000" lon="0" rev="0"/>
            </a:camera>
            <a:lightRig rig="threePt" dir="t">
              <a:rot lat="0" lon="0" rev="2400000"/>
            </a:lightRig>
          </a:scene3d>
          <a:sp3d extrusionH="38100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tr-TR" sz="3200" noProof="1" smtClean="0"/>
              <a:t>E-FATURA</a:t>
            </a:r>
            <a:endParaRPr lang="en-US" sz="3200" noProof="1"/>
          </a:p>
        </p:txBody>
      </p:sp>
      <p:grpSp>
        <p:nvGrpSpPr>
          <p:cNvPr id="2" name="Grup 1"/>
          <p:cNvGrpSpPr/>
          <p:nvPr/>
        </p:nvGrpSpPr>
        <p:grpSpPr>
          <a:xfrm>
            <a:off x="251520" y="1340768"/>
            <a:ext cx="4193282" cy="2941823"/>
            <a:chOff x="300038" y="1124744"/>
            <a:chExt cx="4193282" cy="2941823"/>
          </a:xfrm>
        </p:grpSpPr>
        <p:sp>
          <p:nvSpPr>
            <p:cNvPr id="3075" name="Rectangle 19"/>
            <p:cNvSpPr>
              <a:spLocks noChangeArrowheads="1"/>
            </p:cNvSpPr>
            <p:nvPr/>
          </p:nvSpPr>
          <p:spPr bwMode="gray">
            <a:xfrm>
              <a:off x="300038" y="1124744"/>
              <a:ext cx="4175125" cy="721445"/>
            </a:xfrm>
            <a:prstGeom prst="rect">
              <a:avLst/>
            </a:prstGeom>
            <a:gradFill rotWithShape="1">
              <a:gsLst>
                <a:gs pos="0">
                  <a:srgbClr val="FFFFFF"/>
                </a:gs>
                <a:gs pos="100000">
                  <a:srgbClr val="C1C2C3"/>
                </a:gs>
              </a:gsLst>
              <a:lin ang="5400000" scaled="1"/>
            </a:gradFill>
            <a:ln w="12700" algn="ctr">
              <a:solidFill>
                <a:srgbClr val="C0C0C0"/>
              </a:solidFill>
              <a:miter lim="800000"/>
              <a:headEnd/>
              <a:tailEnd/>
            </a:ln>
          </p:spPr>
          <p:txBody>
            <a:bodyPr lIns="288000" tIns="0" rIns="0" bIns="0" anchor="ctr"/>
            <a:lstStyle/>
            <a:p>
              <a:pPr defTabSz="801688" eaLnBrk="0" hangingPunct="0"/>
              <a:r>
                <a:rPr lang="tr-TR" sz="2000" b="1" dirty="0" smtClean="0"/>
                <a:t>Kağıt </a:t>
              </a:r>
              <a:r>
                <a:rPr lang="tr-TR" sz="2000" b="1" dirty="0"/>
                <a:t>sürecin yönetimi ve denetimi </a:t>
              </a:r>
              <a:r>
                <a:rPr lang="tr-TR" sz="2000" b="1" dirty="0" smtClean="0"/>
                <a:t>zordur</a:t>
              </a:r>
              <a:endParaRPr lang="tr-TR" sz="2000" b="1" dirty="0"/>
            </a:p>
          </p:txBody>
        </p:sp>
        <p:pic>
          <p:nvPicPr>
            <p:cNvPr id="24" name="Picture 3" descr="D:\Users\GUR_ILKNUR\Desktop\sunumtemp\şaşkın.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27720" y="1916832"/>
              <a:ext cx="4165600" cy="214973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p:spPr>
        </p:pic>
      </p:grpSp>
      <p:grpSp>
        <p:nvGrpSpPr>
          <p:cNvPr id="5" name="Grup 4"/>
          <p:cNvGrpSpPr/>
          <p:nvPr/>
        </p:nvGrpSpPr>
        <p:grpSpPr>
          <a:xfrm>
            <a:off x="4716016" y="1351273"/>
            <a:ext cx="4201666" cy="2941823"/>
            <a:chOff x="-4168863" y="3201917"/>
            <a:chExt cx="4201666" cy="2941823"/>
          </a:xfrm>
        </p:grpSpPr>
        <p:sp>
          <p:nvSpPr>
            <p:cNvPr id="30" name="Rectangle 19"/>
            <p:cNvSpPr>
              <a:spLocks noChangeArrowheads="1"/>
            </p:cNvSpPr>
            <p:nvPr/>
          </p:nvSpPr>
          <p:spPr bwMode="gray">
            <a:xfrm>
              <a:off x="-4142322" y="3201917"/>
              <a:ext cx="4175125" cy="721445"/>
            </a:xfrm>
            <a:prstGeom prst="rect">
              <a:avLst/>
            </a:prstGeom>
            <a:gradFill rotWithShape="1">
              <a:gsLst>
                <a:gs pos="0">
                  <a:srgbClr val="FFFFFF"/>
                </a:gs>
                <a:gs pos="100000">
                  <a:srgbClr val="C1C2C3"/>
                </a:gs>
              </a:gsLst>
              <a:lin ang="5400000" scaled="1"/>
            </a:gradFill>
            <a:ln w="12700" algn="ctr">
              <a:solidFill>
                <a:srgbClr val="C0C0C0"/>
              </a:solidFill>
              <a:miter lim="800000"/>
              <a:headEnd/>
              <a:tailEnd/>
            </a:ln>
          </p:spPr>
          <p:txBody>
            <a:bodyPr lIns="288000" tIns="0" rIns="0" bIns="0" anchor="ctr"/>
            <a:lstStyle/>
            <a:p>
              <a:pPr defTabSz="801688" eaLnBrk="0" hangingPunct="0"/>
              <a:r>
                <a:rPr lang="tr-TR" sz="2000" b="1" dirty="0" smtClean="0"/>
                <a:t>İş süreçlerini hızlandırır</a:t>
              </a:r>
              <a:endParaRPr lang="tr-TR" sz="2000" b="1" dirty="0"/>
            </a:p>
          </p:txBody>
        </p:sp>
        <p:pic>
          <p:nvPicPr>
            <p:cNvPr id="31" name="Picture 3"/>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4168863" y="3994005"/>
              <a:ext cx="4168863" cy="2149735"/>
            </a:xfrm>
            <a:prstGeom prst="rect">
              <a:avLst/>
            </a:prstGeom>
            <a:noFill/>
            <a:ln>
              <a:noFill/>
            </a:ln>
            <a:extLst>
              <a:ext uri="{909E8E84-426E-40DD-AFC4-6F175D3DCCD1}">
                <a14:hiddenFill xmlns:a14="http://schemas.microsoft.com/office/drawing/2010/main">
                  <a:solidFill>
                    <a:srgbClr val="FFFFFF"/>
                  </a:solidFill>
                </a14:hiddenFill>
              </a:ext>
            </a:extLst>
          </p:spPr>
        </p:pic>
      </p:grpSp>
      <p:grpSp>
        <p:nvGrpSpPr>
          <p:cNvPr id="21" name="Group 46"/>
          <p:cNvGrpSpPr>
            <a:grpSpLocks/>
          </p:cNvGrpSpPr>
          <p:nvPr/>
        </p:nvGrpSpPr>
        <p:grpSpPr bwMode="auto">
          <a:xfrm>
            <a:off x="4479636" y="1124986"/>
            <a:ext cx="516908" cy="505269"/>
            <a:chOff x="1891" y="2606"/>
            <a:chExt cx="680" cy="680"/>
          </a:xfrm>
        </p:grpSpPr>
        <p:sp>
          <p:nvSpPr>
            <p:cNvPr id="22" name="Oval 19"/>
            <p:cNvSpPr>
              <a:spLocks noChangeArrowheads="1"/>
            </p:cNvSpPr>
            <p:nvPr/>
          </p:nvSpPr>
          <p:spPr bwMode="auto">
            <a:xfrm>
              <a:off x="1891" y="2606"/>
              <a:ext cx="680" cy="680"/>
            </a:xfrm>
            <a:prstGeom prst="ellipse">
              <a:avLst/>
            </a:prstGeom>
            <a:gradFill rotWithShape="1">
              <a:gsLst>
                <a:gs pos="0">
                  <a:srgbClr val="B2B2B2">
                    <a:gamma/>
                    <a:tint val="24314"/>
                    <a:invGamma/>
                  </a:srgbClr>
                </a:gs>
                <a:gs pos="100000">
                  <a:srgbClr val="B2B2B2"/>
                </a:gs>
              </a:gsLst>
              <a:path path="shape">
                <a:fillToRect l="50000" t="50000" r="50000" b="50000"/>
              </a:path>
            </a:gradFill>
            <a:ln w="28575">
              <a:solidFill>
                <a:schemeClr val="bg1"/>
              </a:solidFill>
              <a:round/>
              <a:headEnd/>
              <a:tailEnd/>
            </a:ln>
            <a:effectLst>
              <a:outerShdw dist="53882" dir="2700000" algn="ctr" rotWithShape="0">
                <a:srgbClr val="808080">
                  <a:alpha val="50000"/>
                </a:srgbClr>
              </a:outerShdw>
            </a:effectLst>
          </p:spPr>
          <p:txBody>
            <a:bodyPr wrap="none" anchor="ctr"/>
            <a:lstStyle/>
            <a:p>
              <a:pPr>
                <a:defRPr/>
              </a:pPr>
              <a:endParaRPr lang="de-DE"/>
            </a:p>
          </p:txBody>
        </p:sp>
        <p:sp>
          <p:nvSpPr>
            <p:cNvPr id="23" name="WordArt 35"/>
            <p:cNvSpPr>
              <a:spLocks noChangeArrowheads="1" noChangeShapeType="1" noTextEdit="1"/>
            </p:cNvSpPr>
            <p:nvPr/>
          </p:nvSpPr>
          <p:spPr bwMode="auto">
            <a:xfrm>
              <a:off x="2026" y="2793"/>
              <a:ext cx="409" cy="361"/>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wrap="none" fromWordArt="1">
              <a:prstTxWarp prst="textPlain">
                <a:avLst>
                  <a:gd name="adj" fmla="val 50000"/>
                </a:avLst>
              </a:prstTxWarp>
            </a:bodyPr>
            <a:lstStyle/>
            <a:p>
              <a:pPr algn="ctr"/>
              <a:r>
                <a:rPr lang="tr-TR" sz="3600" kern="10" dirty="0">
                  <a:gradFill rotWithShape="1">
                    <a:gsLst>
                      <a:gs pos="0">
                        <a:srgbClr val="4C7013"/>
                      </a:gs>
                      <a:gs pos="100000">
                        <a:srgbClr val="233409"/>
                      </a:gs>
                    </a:gsLst>
                    <a:lin ang="2700000" scaled="1"/>
                  </a:gradFill>
                  <a:latin typeface="Wingdings"/>
                </a:rPr>
                <a:t></a:t>
              </a:r>
            </a:p>
          </p:txBody>
        </p:sp>
      </p:grpSp>
      <p:grpSp>
        <p:nvGrpSpPr>
          <p:cNvPr id="26" name="Group 45"/>
          <p:cNvGrpSpPr>
            <a:grpSpLocks/>
          </p:cNvGrpSpPr>
          <p:nvPr/>
        </p:nvGrpSpPr>
        <p:grpSpPr bwMode="auto">
          <a:xfrm>
            <a:off x="20476" y="1120755"/>
            <a:ext cx="8121538" cy="3023447"/>
            <a:chOff x="-5280" y="-725"/>
            <a:chExt cx="10684" cy="4069"/>
          </a:xfrm>
        </p:grpSpPr>
        <p:sp>
          <p:nvSpPr>
            <p:cNvPr id="27" name="Oval 41"/>
            <p:cNvSpPr>
              <a:spLocks noChangeArrowheads="1"/>
            </p:cNvSpPr>
            <p:nvPr/>
          </p:nvSpPr>
          <p:spPr bwMode="auto">
            <a:xfrm>
              <a:off x="-5280" y="-725"/>
              <a:ext cx="680" cy="680"/>
            </a:xfrm>
            <a:prstGeom prst="ellipse">
              <a:avLst/>
            </a:prstGeom>
            <a:gradFill rotWithShape="1">
              <a:gsLst>
                <a:gs pos="0">
                  <a:srgbClr val="B2B2B2">
                    <a:gamma/>
                    <a:tint val="24314"/>
                    <a:invGamma/>
                  </a:srgbClr>
                </a:gs>
                <a:gs pos="100000">
                  <a:srgbClr val="B2B2B2"/>
                </a:gs>
              </a:gsLst>
              <a:path path="shape">
                <a:fillToRect l="50000" t="50000" r="50000" b="50000"/>
              </a:path>
            </a:gradFill>
            <a:ln w="28575">
              <a:solidFill>
                <a:schemeClr val="bg1"/>
              </a:solidFill>
              <a:round/>
              <a:headEnd/>
              <a:tailEnd/>
            </a:ln>
            <a:effectLst>
              <a:outerShdw dist="53882" dir="2700000" algn="ctr" rotWithShape="0">
                <a:srgbClr val="808080">
                  <a:alpha val="50000"/>
                </a:srgbClr>
              </a:outerShdw>
            </a:effectLst>
          </p:spPr>
          <p:txBody>
            <a:bodyPr wrap="none" anchor="ctr"/>
            <a:lstStyle/>
            <a:p>
              <a:pPr>
                <a:defRPr/>
              </a:pPr>
              <a:endParaRPr lang="de-DE"/>
            </a:p>
          </p:txBody>
        </p:sp>
        <p:sp>
          <p:nvSpPr>
            <p:cNvPr id="32" name="WordArt 42"/>
            <p:cNvSpPr>
              <a:spLocks noChangeArrowheads="1" noChangeShapeType="1" noTextEdit="1"/>
            </p:cNvSpPr>
            <p:nvPr/>
          </p:nvSpPr>
          <p:spPr bwMode="auto">
            <a:xfrm>
              <a:off x="-5128" y="-553"/>
              <a:ext cx="376" cy="335"/>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wrap="none" fromWordArt="1">
              <a:prstTxWarp prst="textPlain">
                <a:avLst>
                  <a:gd name="adj" fmla="val 50000"/>
                </a:avLst>
              </a:prstTxWarp>
            </a:bodyPr>
            <a:lstStyle/>
            <a:p>
              <a:pPr algn="ctr"/>
              <a:r>
                <a:rPr lang="tr-TR" sz="3600" kern="10" dirty="0">
                  <a:gradFill rotWithShape="1">
                    <a:gsLst>
                      <a:gs pos="0">
                        <a:srgbClr val="C40505"/>
                      </a:gs>
                      <a:gs pos="100000">
                        <a:srgbClr val="5B0202"/>
                      </a:gs>
                    </a:gsLst>
                    <a:lin ang="2700000" scaled="1"/>
                  </a:gradFill>
                  <a:latin typeface="Wingdings"/>
                </a:rPr>
                <a:t>û</a:t>
              </a:r>
            </a:p>
          </p:txBody>
        </p:sp>
        <p:sp>
          <p:nvSpPr>
            <p:cNvPr id="33" name="Oval 43"/>
            <p:cNvSpPr>
              <a:spLocks noChangeArrowheads="1"/>
            </p:cNvSpPr>
            <p:nvPr/>
          </p:nvSpPr>
          <p:spPr bwMode="auto">
            <a:xfrm>
              <a:off x="5028" y="3080"/>
              <a:ext cx="376" cy="264"/>
            </a:xfrm>
            <a:prstGeom prst="ellipse">
              <a:avLst/>
            </a:prstGeom>
            <a:gradFill rotWithShape="1">
              <a:gsLst>
                <a:gs pos="0">
                  <a:schemeClr val="bg1"/>
                </a:gs>
                <a:gs pos="100000">
                  <a:schemeClr val="bg1">
                    <a:gamma/>
                    <a:shade val="89020"/>
                    <a:invGamma/>
                    <a:alpha val="0"/>
                  </a:schemeClr>
                </a:gs>
              </a:gsLst>
              <a:lin ang="5400000" scaled="1"/>
            </a:gradFill>
            <a:ln w="9525">
              <a:noFill/>
              <a:round/>
              <a:headEnd/>
              <a:tailEnd/>
            </a:ln>
            <a:effectLst/>
          </p:spPr>
          <p:txBody>
            <a:bodyPr wrap="none" anchor="ctr"/>
            <a:lstStyle/>
            <a:p>
              <a:pPr>
                <a:defRPr/>
              </a:pPr>
              <a:endParaRPr lang="de-DE"/>
            </a:p>
          </p:txBody>
        </p:sp>
      </p:grpSp>
    </p:spTree>
    <p:extLst>
      <p:ext uri="{BB962C8B-B14F-4D97-AF65-F5344CB8AC3E}">
        <p14:creationId xmlns:p14="http://schemas.microsoft.com/office/powerpoint/2010/main" val="42793643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500" fill="hold"/>
                                        <p:tgtEl>
                                          <p:spTgt spid="18"/>
                                        </p:tgtEl>
                                        <p:attrNameLst>
                                          <p:attrName>ppt_x</p:attrName>
                                        </p:attrNameLst>
                                      </p:cBhvr>
                                      <p:tavLst>
                                        <p:tav tm="0">
                                          <p:val>
                                            <p:strVal val="0-#ppt_w/2"/>
                                          </p:val>
                                        </p:tav>
                                        <p:tav tm="100000">
                                          <p:val>
                                            <p:strVal val="#ppt_x"/>
                                          </p:val>
                                        </p:tav>
                                      </p:tavLst>
                                    </p:anim>
                                    <p:anim calcmode="lin" valueType="num">
                                      <p:cBhvr additive="base">
                                        <p:cTn id="8" dur="500" fill="hold"/>
                                        <p:tgtEl>
                                          <p:spTgt spid="18"/>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0"/>
                                  </p:stCondLst>
                                  <p:childTnLst>
                                    <p:set>
                                      <p:cBhvr>
                                        <p:cTn id="10" dur="1" fill="hold">
                                          <p:stCondLst>
                                            <p:cond delay="0"/>
                                          </p:stCondLst>
                                        </p:cTn>
                                        <p:tgtEl>
                                          <p:spTgt spid="2"/>
                                        </p:tgtEl>
                                        <p:attrNameLst>
                                          <p:attrName>style.visibility</p:attrName>
                                        </p:attrNameLst>
                                      </p:cBhvr>
                                      <p:to>
                                        <p:strVal val="visible"/>
                                      </p:to>
                                    </p:set>
                                    <p:anim calcmode="lin" valueType="num">
                                      <p:cBhvr additive="base">
                                        <p:cTn id="11" dur="500" fill="hold"/>
                                        <p:tgtEl>
                                          <p:spTgt spid="2"/>
                                        </p:tgtEl>
                                        <p:attrNameLst>
                                          <p:attrName>ppt_x</p:attrName>
                                        </p:attrNameLst>
                                      </p:cBhvr>
                                      <p:tavLst>
                                        <p:tav tm="0">
                                          <p:val>
                                            <p:strVal val="0-#ppt_w/2"/>
                                          </p:val>
                                        </p:tav>
                                        <p:tav tm="100000">
                                          <p:val>
                                            <p:strVal val="#ppt_x"/>
                                          </p:val>
                                        </p:tav>
                                      </p:tavLst>
                                    </p:anim>
                                    <p:anim calcmode="lin" valueType="num">
                                      <p:cBhvr additive="base">
                                        <p:cTn id="12" dur="500" fill="hold"/>
                                        <p:tgtEl>
                                          <p:spTgt spid="2"/>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2" presetClass="entr" presetSubtype="2" fill="hold" nodeType="afterEffect">
                                  <p:stCondLst>
                                    <p:cond delay="0"/>
                                  </p:stCondLst>
                                  <p:childTnLst>
                                    <p:set>
                                      <p:cBhvr>
                                        <p:cTn id="15" dur="1" fill="hold">
                                          <p:stCondLst>
                                            <p:cond delay="0"/>
                                          </p:stCondLst>
                                        </p:cTn>
                                        <p:tgtEl>
                                          <p:spTgt spid="5"/>
                                        </p:tgtEl>
                                        <p:attrNameLst>
                                          <p:attrName>style.visibility</p:attrName>
                                        </p:attrNameLst>
                                      </p:cBhvr>
                                      <p:to>
                                        <p:strVal val="visible"/>
                                      </p:to>
                                    </p:set>
                                    <p:anim calcmode="lin" valueType="num">
                                      <p:cBhvr additive="base">
                                        <p:cTn id="16" dur="500" fill="hold"/>
                                        <p:tgtEl>
                                          <p:spTgt spid="5"/>
                                        </p:tgtEl>
                                        <p:attrNameLst>
                                          <p:attrName>ppt_x</p:attrName>
                                        </p:attrNameLst>
                                      </p:cBhvr>
                                      <p:tavLst>
                                        <p:tav tm="0">
                                          <p:val>
                                            <p:strVal val="1+#ppt_w/2"/>
                                          </p:val>
                                        </p:tav>
                                        <p:tav tm="100000">
                                          <p:val>
                                            <p:strVal val="#ppt_x"/>
                                          </p:val>
                                        </p:tav>
                                      </p:tavLst>
                                    </p:anim>
                                    <p:anim calcmode="lin" valueType="num">
                                      <p:cBhvr additive="base">
                                        <p:cTn id="17" dur="500" fill="hold"/>
                                        <p:tgtEl>
                                          <p:spTgt spid="5"/>
                                        </p:tgtEl>
                                        <p:attrNameLst>
                                          <p:attrName>ppt_y</p:attrName>
                                        </p:attrNameLst>
                                      </p:cBhvr>
                                      <p:tavLst>
                                        <p:tav tm="0">
                                          <p:val>
                                            <p:strVal val="#ppt_y"/>
                                          </p:val>
                                        </p:tav>
                                        <p:tav tm="100000">
                                          <p:val>
                                            <p:strVal val="#ppt_y"/>
                                          </p:val>
                                        </p:tav>
                                      </p:tavLst>
                                    </p:anim>
                                  </p:childTnLst>
                                </p:cTn>
                              </p:par>
                              <p:par>
                                <p:cTn id="18" presetID="2" presetClass="entr" presetSubtype="2" fill="hold" grpId="0" nodeType="withEffect">
                                  <p:stCondLst>
                                    <p:cond delay="0"/>
                                  </p:stCondLst>
                                  <p:childTnLst>
                                    <p:set>
                                      <p:cBhvr>
                                        <p:cTn id="19" dur="1" fill="hold">
                                          <p:stCondLst>
                                            <p:cond delay="0"/>
                                          </p:stCondLst>
                                        </p:cTn>
                                        <p:tgtEl>
                                          <p:spTgt spid="20"/>
                                        </p:tgtEl>
                                        <p:attrNameLst>
                                          <p:attrName>style.visibility</p:attrName>
                                        </p:attrNameLst>
                                      </p:cBhvr>
                                      <p:to>
                                        <p:strVal val="visible"/>
                                      </p:to>
                                    </p:set>
                                    <p:anim calcmode="lin" valueType="num">
                                      <p:cBhvr additive="base">
                                        <p:cTn id="20" dur="500" fill="hold"/>
                                        <p:tgtEl>
                                          <p:spTgt spid="20"/>
                                        </p:tgtEl>
                                        <p:attrNameLst>
                                          <p:attrName>ppt_x</p:attrName>
                                        </p:attrNameLst>
                                      </p:cBhvr>
                                      <p:tavLst>
                                        <p:tav tm="0">
                                          <p:val>
                                            <p:strVal val="1+#ppt_w/2"/>
                                          </p:val>
                                        </p:tav>
                                        <p:tav tm="100000">
                                          <p:val>
                                            <p:strVal val="#ppt_x"/>
                                          </p:val>
                                        </p:tav>
                                      </p:tavLst>
                                    </p:anim>
                                    <p:anim calcmode="lin" valueType="num">
                                      <p:cBhvr additive="base">
                                        <p:cTn id="21" dur="500" fill="hold"/>
                                        <p:tgtEl>
                                          <p:spTgt spid="20"/>
                                        </p:tgtEl>
                                        <p:attrNameLst>
                                          <p:attrName>ppt_y</p:attrName>
                                        </p:attrNameLst>
                                      </p:cBhvr>
                                      <p:tavLst>
                                        <p:tav tm="0">
                                          <p:val>
                                            <p:strVal val="#ppt_y"/>
                                          </p:val>
                                        </p:tav>
                                        <p:tav tm="100000">
                                          <p:val>
                                            <p:strVal val="#ppt_y"/>
                                          </p:val>
                                        </p:tav>
                                      </p:tavLst>
                                    </p:anim>
                                  </p:childTnLst>
                                </p:cTn>
                              </p:par>
                            </p:childTnLst>
                          </p:cTn>
                        </p:par>
                        <p:par>
                          <p:cTn id="22" fill="hold">
                            <p:stCondLst>
                              <p:cond delay="1000"/>
                            </p:stCondLst>
                            <p:childTnLst>
                              <p:par>
                                <p:cTn id="23" presetID="10" presetClass="entr" presetSubtype="0" fill="hold" nodeType="afterEffect">
                                  <p:stCondLst>
                                    <p:cond delay="0"/>
                                  </p:stCondLst>
                                  <p:childTnLst>
                                    <p:set>
                                      <p:cBhvr>
                                        <p:cTn id="24" dur="1" fill="hold">
                                          <p:stCondLst>
                                            <p:cond delay="0"/>
                                          </p:stCondLst>
                                        </p:cTn>
                                        <p:tgtEl>
                                          <p:spTgt spid="21"/>
                                        </p:tgtEl>
                                        <p:attrNameLst>
                                          <p:attrName>style.visibility</p:attrName>
                                        </p:attrNameLst>
                                      </p:cBhvr>
                                      <p:to>
                                        <p:strVal val="visible"/>
                                      </p:to>
                                    </p:set>
                                    <p:animEffect transition="in" filter="fade">
                                      <p:cBhvr>
                                        <p:cTn id="25" dur="500"/>
                                        <p:tgtEl>
                                          <p:spTgt spid="21"/>
                                        </p:tgtEl>
                                      </p:cBhvr>
                                    </p:animEffect>
                                  </p:childTnLst>
                                </p:cTn>
                              </p:par>
                              <p:par>
                                <p:cTn id="26" presetID="10" presetClass="entr" presetSubtype="0" fill="hold" nodeType="withEffect">
                                  <p:stCondLst>
                                    <p:cond delay="0"/>
                                  </p:stCondLst>
                                  <p:childTnLst>
                                    <p:set>
                                      <p:cBhvr>
                                        <p:cTn id="27" dur="1" fill="hold">
                                          <p:stCondLst>
                                            <p:cond delay="0"/>
                                          </p:stCondLst>
                                        </p:cTn>
                                        <p:tgtEl>
                                          <p:spTgt spid="26"/>
                                        </p:tgtEl>
                                        <p:attrNameLst>
                                          <p:attrName>style.visibility</p:attrName>
                                        </p:attrNameLst>
                                      </p:cBhvr>
                                      <p:to>
                                        <p:strVal val="visible"/>
                                      </p:to>
                                    </p:set>
                                    <p:animEffect transition="in" filter="fade">
                                      <p:cBhvr>
                                        <p:cTn id="28"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20"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95"/>
          <p:cNvSpPr txBox="1">
            <a:spLocks noChangeArrowheads="1"/>
          </p:cNvSpPr>
          <p:nvPr/>
        </p:nvSpPr>
        <p:spPr>
          <a:xfrm>
            <a:off x="300038" y="58738"/>
            <a:ext cx="8520112" cy="1000125"/>
          </a:xfrm>
          <a:prstGeom prst="rect">
            <a:avLst/>
          </a:prstGeom>
        </p:spPr>
        <p:txBody>
          <a:bodyPr lIns="0" tIns="0" rIns="0" bIns="0" anchor="ctr"/>
          <a:lstStyle/>
          <a:p>
            <a:pPr algn="ctr" eaLnBrk="0" hangingPunct="0">
              <a:lnSpc>
                <a:spcPct val="90000"/>
              </a:lnSpc>
              <a:defRPr/>
            </a:pPr>
            <a:r>
              <a:rPr lang="tr-TR" sz="3000" b="1" kern="0" dirty="0" smtClean="0">
                <a:solidFill>
                  <a:schemeClr val="tx2">
                    <a:lumMod val="50000"/>
                  </a:schemeClr>
                </a:solidFill>
              </a:rPr>
              <a:t>NAKİT VE ÖDEME YÖNETİMİ</a:t>
            </a:r>
            <a:endParaRPr lang="en-US" sz="3000" b="1" kern="0" noProof="1">
              <a:solidFill>
                <a:schemeClr val="tx2">
                  <a:lumMod val="50000"/>
                </a:schemeClr>
              </a:solidFill>
            </a:endParaRPr>
          </a:p>
        </p:txBody>
      </p:sp>
      <p:sp>
        <p:nvSpPr>
          <p:cNvPr id="3082" name="Rectangle 4"/>
          <p:cNvSpPr>
            <a:spLocks noChangeArrowheads="1"/>
          </p:cNvSpPr>
          <p:nvPr/>
        </p:nvSpPr>
        <p:spPr bwMode="gray">
          <a:xfrm>
            <a:off x="304800" y="827088"/>
            <a:ext cx="5753100" cy="35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defTabSz="801688" eaLnBrk="0" hangingPunct="0"/>
            <a:endParaRPr lang="en-GB" sz="2000" dirty="0">
              <a:solidFill>
                <a:prstClr val="white"/>
              </a:solidFill>
            </a:endParaRPr>
          </a:p>
        </p:txBody>
      </p:sp>
      <p:sp>
        <p:nvSpPr>
          <p:cNvPr id="18" name="Pfeil nach links 25"/>
          <p:cNvSpPr/>
          <p:nvPr/>
        </p:nvSpPr>
        <p:spPr>
          <a:xfrm flipH="1">
            <a:off x="1214223" y="4090667"/>
            <a:ext cx="3789825" cy="2053073"/>
          </a:xfrm>
          <a:prstGeom prst="leftArrow">
            <a:avLst>
              <a:gd name="adj1" fmla="val 48544"/>
              <a:gd name="adj2" fmla="val 83864"/>
            </a:avLst>
          </a:prstGeom>
          <a:solidFill>
            <a:schemeClr val="bg1">
              <a:lumMod val="65000"/>
            </a:schemeClr>
          </a:solidFill>
          <a:ln w="34925">
            <a:noFill/>
          </a:ln>
          <a:effectLst>
            <a:outerShdw blurRad="317500" dir="2700000" algn="ctr">
              <a:srgbClr val="000000">
                <a:alpha val="43000"/>
              </a:srgbClr>
            </a:outerShdw>
          </a:effectLst>
          <a:scene3d>
            <a:camera prst="perspectiveLeft" fov="4800000">
              <a:rot lat="17880000" lon="0" rev="0"/>
            </a:camera>
            <a:lightRig rig="threePt" dir="t">
              <a:rot lat="0" lon="0" rev="2400000"/>
            </a:lightRig>
          </a:scene3d>
          <a:sp3d extrusionH="38100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tr-TR" sz="2400" noProof="1" smtClean="0">
                <a:solidFill>
                  <a:schemeClr val="tx1"/>
                </a:solidFill>
              </a:rPr>
              <a:t>KAĞIT FATURA </a:t>
            </a:r>
            <a:endParaRPr lang="en-US" sz="2400" noProof="1">
              <a:solidFill>
                <a:schemeClr val="tx1"/>
              </a:solidFill>
            </a:endParaRPr>
          </a:p>
        </p:txBody>
      </p:sp>
      <p:sp>
        <p:nvSpPr>
          <p:cNvPr id="20" name="Pfeil nach links 24"/>
          <p:cNvSpPr/>
          <p:nvPr/>
        </p:nvSpPr>
        <p:spPr>
          <a:xfrm>
            <a:off x="3995934" y="4711840"/>
            <a:ext cx="3789825" cy="2053073"/>
          </a:xfrm>
          <a:prstGeom prst="leftArrow">
            <a:avLst>
              <a:gd name="adj1" fmla="val 48544"/>
              <a:gd name="adj2" fmla="val 83864"/>
            </a:avLst>
          </a:prstGeom>
          <a:solidFill>
            <a:schemeClr val="accent5">
              <a:lumMod val="75000"/>
            </a:schemeClr>
          </a:solidFill>
          <a:ln w="34925">
            <a:noFill/>
          </a:ln>
          <a:effectLst>
            <a:outerShdw blurRad="317500" dir="2700000" algn="ctr">
              <a:srgbClr val="000000">
                <a:alpha val="43000"/>
              </a:srgbClr>
            </a:outerShdw>
          </a:effectLst>
          <a:scene3d>
            <a:camera prst="perspectiveLeft" fov="4800000">
              <a:rot lat="17880000" lon="0" rev="0"/>
            </a:camera>
            <a:lightRig rig="threePt" dir="t">
              <a:rot lat="0" lon="0" rev="2400000"/>
            </a:lightRig>
          </a:scene3d>
          <a:sp3d extrusionH="38100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tr-TR" sz="3200" noProof="1" smtClean="0"/>
              <a:t>E-FATURA</a:t>
            </a:r>
            <a:endParaRPr lang="en-US" sz="3200" noProof="1"/>
          </a:p>
        </p:txBody>
      </p:sp>
      <p:grpSp>
        <p:nvGrpSpPr>
          <p:cNvPr id="2" name="Grup 1"/>
          <p:cNvGrpSpPr/>
          <p:nvPr/>
        </p:nvGrpSpPr>
        <p:grpSpPr>
          <a:xfrm>
            <a:off x="251520" y="1340768"/>
            <a:ext cx="4193282" cy="2940281"/>
            <a:chOff x="300038" y="1124744"/>
            <a:chExt cx="4193282" cy="2940281"/>
          </a:xfrm>
        </p:grpSpPr>
        <p:sp>
          <p:nvSpPr>
            <p:cNvPr id="3075" name="Rectangle 19"/>
            <p:cNvSpPr>
              <a:spLocks noChangeArrowheads="1"/>
            </p:cNvSpPr>
            <p:nvPr/>
          </p:nvSpPr>
          <p:spPr bwMode="gray">
            <a:xfrm>
              <a:off x="300038" y="1124744"/>
              <a:ext cx="4175125" cy="721445"/>
            </a:xfrm>
            <a:prstGeom prst="rect">
              <a:avLst/>
            </a:prstGeom>
            <a:gradFill rotWithShape="1">
              <a:gsLst>
                <a:gs pos="0">
                  <a:srgbClr val="FFFFFF"/>
                </a:gs>
                <a:gs pos="100000">
                  <a:srgbClr val="C1C2C3"/>
                </a:gs>
              </a:gsLst>
              <a:lin ang="5400000" scaled="1"/>
            </a:gradFill>
            <a:ln w="12700" algn="ctr">
              <a:solidFill>
                <a:srgbClr val="C0C0C0"/>
              </a:solidFill>
              <a:miter lim="800000"/>
              <a:headEnd/>
              <a:tailEnd/>
            </a:ln>
          </p:spPr>
          <p:txBody>
            <a:bodyPr lIns="288000" tIns="0" rIns="0" bIns="0" anchor="ctr"/>
            <a:lstStyle/>
            <a:p>
              <a:pPr defTabSz="801688" eaLnBrk="0" hangingPunct="0"/>
              <a:r>
                <a:rPr lang="tr-TR" sz="2000" b="1" dirty="0" smtClean="0">
                  <a:solidFill>
                    <a:prstClr val="black"/>
                  </a:solidFill>
                </a:rPr>
                <a:t> Nakit </a:t>
              </a:r>
              <a:r>
                <a:rPr lang="tr-TR" sz="2000" b="1" dirty="0">
                  <a:solidFill>
                    <a:prstClr val="black"/>
                  </a:solidFill>
                </a:rPr>
                <a:t>ve ödeme yönetiminde zaman alıcıdır</a:t>
              </a:r>
            </a:p>
          </p:txBody>
        </p:sp>
        <p:pic>
          <p:nvPicPr>
            <p:cNvPr id="24"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27720" y="1918373"/>
              <a:ext cx="4165600" cy="214665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p:spPr>
        </p:pic>
      </p:grpSp>
      <p:grpSp>
        <p:nvGrpSpPr>
          <p:cNvPr id="5" name="Grup 4"/>
          <p:cNvGrpSpPr/>
          <p:nvPr/>
        </p:nvGrpSpPr>
        <p:grpSpPr>
          <a:xfrm>
            <a:off x="4716016" y="1351273"/>
            <a:ext cx="4201666" cy="2939744"/>
            <a:chOff x="-4168863" y="3201917"/>
            <a:chExt cx="4201666" cy="2939744"/>
          </a:xfrm>
        </p:grpSpPr>
        <p:sp>
          <p:nvSpPr>
            <p:cNvPr id="30" name="Rectangle 19"/>
            <p:cNvSpPr>
              <a:spLocks noChangeArrowheads="1"/>
            </p:cNvSpPr>
            <p:nvPr/>
          </p:nvSpPr>
          <p:spPr bwMode="gray">
            <a:xfrm>
              <a:off x="-4142322" y="3201917"/>
              <a:ext cx="4175125" cy="721445"/>
            </a:xfrm>
            <a:prstGeom prst="rect">
              <a:avLst/>
            </a:prstGeom>
            <a:gradFill rotWithShape="1">
              <a:gsLst>
                <a:gs pos="0">
                  <a:srgbClr val="FFFFFF"/>
                </a:gs>
                <a:gs pos="100000">
                  <a:srgbClr val="C1C2C3"/>
                </a:gs>
              </a:gsLst>
              <a:lin ang="5400000" scaled="1"/>
            </a:gradFill>
            <a:ln w="12700" algn="ctr">
              <a:solidFill>
                <a:srgbClr val="C0C0C0"/>
              </a:solidFill>
              <a:miter lim="800000"/>
              <a:headEnd/>
              <a:tailEnd/>
            </a:ln>
          </p:spPr>
          <p:txBody>
            <a:bodyPr lIns="288000" tIns="0" rIns="0" bIns="0" anchor="ctr"/>
            <a:lstStyle/>
            <a:p>
              <a:pPr defTabSz="801688" eaLnBrk="0" hangingPunct="0"/>
              <a:r>
                <a:rPr lang="tr-TR" sz="2000" b="1" dirty="0">
                  <a:solidFill>
                    <a:prstClr val="black"/>
                  </a:solidFill>
                </a:rPr>
                <a:t>Nakit ve ödeme yönetiminde otomasyon sağlar</a:t>
              </a:r>
            </a:p>
          </p:txBody>
        </p:sp>
        <p:pic>
          <p:nvPicPr>
            <p:cNvPr id="31" name="Picture 3"/>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4168863" y="3996083"/>
              <a:ext cx="4168863" cy="214557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p:spPr>
        </p:pic>
      </p:grpSp>
      <p:grpSp>
        <p:nvGrpSpPr>
          <p:cNvPr id="21" name="Group 46"/>
          <p:cNvGrpSpPr>
            <a:grpSpLocks/>
          </p:cNvGrpSpPr>
          <p:nvPr/>
        </p:nvGrpSpPr>
        <p:grpSpPr bwMode="auto">
          <a:xfrm>
            <a:off x="4479636" y="1124986"/>
            <a:ext cx="516908" cy="505269"/>
            <a:chOff x="1891" y="2606"/>
            <a:chExt cx="680" cy="680"/>
          </a:xfrm>
        </p:grpSpPr>
        <p:sp>
          <p:nvSpPr>
            <p:cNvPr id="22" name="Oval 19"/>
            <p:cNvSpPr>
              <a:spLocks noChangeArrowheads="1"/>
            </p:cNvSpPr>
            <p:nvPr/>
          </p:nvSpPr>
          <p:spPr bwMode="auto">
            <a:xfrm>
              <a:off x="1891" y="2606"/>
              <a:ext cx="680" cy="680"/>
            </a:xfrm>
            <a:prstGeom prst="ellipse">
              <a:avLst/>
            </a:prstGeom>
            <a:gradFill rotWithShape="1">
              <a:gsLst>
                <a:gs pos="0">
                  <a:srgbClr val="B2B2B2">
                    <a:gamma/>
                    <a:tint val="24314"/>
                    <a:invGamma/>
                  </a:srgbClr>
                </a:gs>
                <a:gs pos="100000">
                  <a:srgbClr val="B2B2B2"/>
                </a:gs>
              </a:gsLst>
              <a:path path="shape">
                <a:fillToRect l="50000" t="50000" r="50000" b="50000"/>
              </a:path>
            </a:gradFill>
            <a:ln w="28575">
              <a:solidFill>
                <a:schemeClr val="bg1"/>
              </a:solidFill>
              <a:round/>
              <a:headEnd/>
              <a:tailEnd/>
            </a:ln>
            <a:effectLst>
              <a:outerShdw dist="53882" dir="2700000" algn="ctr" rotWithShape="0">
                <a:srgbClr val="808080">
                  <a:alpha val="50000"/>
                </a:srgbClr>
              </a:outerShdw>
            </a:effectLst>
          </p:spPr>
          <p:txBody>
            <a:bodyPr wrap="none" anchor="ctr"/>
            <a:lstStyle/>
            <a:p>
              <a:pPr>
                <a:defRPr/>
              </a:pPr>
              <a:endParaRPr lang="de-DE"/>
            </a:p>
          </p:txBody>
        </p:sp>
        <p:sp>
          <p:nvSpPr>
            <p:cNvPr id="23" name="WordArt 35"/>
            <p:cNvSpPr>
              <a:spLocks noChangeArrowheads="1" noChangeShapeType="1" noTextEdit="1"/>
            </p:cNvSpPr>
            <p:nvPr/>
          </p:nvSpPr>
          <p:spPr bwMode="auto">
            <a:xfrm>
              <a:off x="2026" y="2793"/>
              <a:ext cx="409" cy="361"/>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wrap="none" fromWordArt="1">
              <a:prstTxWarp prst="textPlain">
                <a:avLst>
                  <a:gd name="adj" fmla="val 50000"/>
                </a:avLst>
              </a:prstTxWarp>
            </a:bodyPr>
            <a:lstStyle/>
            <a:p>
              <a:pPr algn="ctr"/>
              <a:r>
                <a:rPr lang="tr-TR" sz="3600" kern="10" dirty="0">
                  <a:gradFill rotWithShape="1">
                    <a:gsLst>
                      <a:gs pos="0">
                        <a:srgbClr val="4C7013"/>
                      </a:gs>
                      <a:gs pos="100000">
                        <a:srgbClr val="233409"/>
                      </a:gs>
                    </a:gsLst>
                    <a:lin ang="2700000" scaled="1"/>
                  </a:gradFill>
                  <a:latin typeface="Wingdings"/>
                </a:rPr>
                <a:t></a:t>
              </a:r>
            </a:p>
          </p:txBody>
        </p:sp>
      </p:grpSp>
      <p:grpSp>
        <p:nvGrpSpPr>
          <p:cNvPr id="26" name="Group 45"/>
          <p:cNvGrpSpPr>
            <a:grpSpLocks/>
          </p:cNvGrpSpPr>
          <p:nvPr/>
        </p:nvGrpSpPr>
        <p:grpSpPr bwMode="auto">
          <a:xfrm>
            <a:off x="20476" y="1120755"/>
            <a:ext cx="8121538" cy="3023447"/>
            <a:chOff x="-5280" y="-725"/>
            <a:chExt cx="10684" cy="4069"/>
          </a:xfrm>
        </p:grpSpPr>
        <p:sp>
          <p:nvSpPr>
            <p:cNvPr id="27" name="Oval 41"/>
            <p:cNvSpPr>
              <a:spLocks noChangeArrowheads="1"/>
            </p:cNvSpPr>
            <p:nvPr/>
          </p:nvSpPr>
          <p:spPr bwMode="auto">
            <a:xfrm>
              <a:off x="-5280" y="-725"/>
              <a:ext cx="680" cy="680"/>
            </a:xfrm>
            <a:prstGeom prst="ellipse">
              <a:avLst/>
            </a:prstGeom>
            <a:gradFill rotWithShape="1">
              <a:gsLst>
                <a:gs pos="0">
                  <a:srgbClr val="B2B2B2">
                    <a:gamma/>
                    <a:tint val="24314"/>
                    <a:invGamma/>
                  </a:srgbClr>
                </a:gs>
                <a:gs pos="100000">
                  <a:srgbClr val="B2B2B2"/>
                </a:gs>
              </a:gsLst>
              <a:path path="shape">
                <a:fillToRect l="50000" t="50000" r="50000" b="50000"/>
              </a:path>
            </a:gradFill>
            <a:ln w="28575">
              <a:solidFill>
                <a:schemeClr val="bg1"/>
              </a:solidFill>
              <a:round/>
              <a:headEnd/>
              <a:tailEnd/>
            </a:ln>
            <a:effectLst>
              <a:outerShdw dist="53882" dir="2700000" algn="ctr" rotWithShape="0">
                <a:srgbClr val="808080">
                  <a:alpha val="50000"/>
                </a:srgbClr>
              </a:outerShdw>
            </a:effectLst>
          </p:spPr>
          <p:txBody>
            <a:bodyPr wrap="none" anchor="ctr"/>
            <a:lstStyle/>
            <a:p>
              <a:pPr>
                <a:defRPr/>
              </a:pPr>
              <a:endParaRPr lang="de-DE"/>
            </a:p>
          </p:txBody>
        </p:sp>
        <p:sp>
          <p:nvSpPr>
            <p:cNvPr id="32" name="WordArt 42"/>
            <p:cNvSpPr>
              <a:spLocks noChangeArrowheads="1" noChangeShapeType="1" noTextEdit="1"/>
            </p:cNvSpPr>
            <p:nvPr/>
          </p:nvSpPr>
          <p:spPr bwMode="auto">
            <a:xfrm>
              <a:off x="-5128" y="-553"/>
              <a:ext cx="376" cy="335"/>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wrap="none" fromWordArt="1">
              <a:prstTxWarp prst="textPlain">
                <a:avLst>
                  <a:gd name="adj" fmla="val 50000"/>
                </a:avLst>
              </a:prstTxWarp>
            </a:bodyPr>
            <a:lstStyle/>
            <a:p>
              <a:pPr algn="ctr"/>
              <a:r>
                <a:rPr lang="tr-TR" sz="3600" kern="10" dirty="0">
                  <a:gradFill rotWithShape="1">
                    <a:gsLst>
                      <a:gs pos="0">
                        <a:srgbClr val="C40505"/>
                      </a:gs>
                      <a:gs pos="100000">
                        <a:srgbClr val="5B0202"/>
                      </a:gs>
                    </a:gsLst>
                    <a:lin ang="2700000" scaled="1"/>
                  </a:gradFill>
                  <a:latin typeface="Wingdings"/>
                </a:rPr>
                <a:t>û</a:t>
              </a:r>
            </a:p>
          </p:txBody>
        </p:sp>
        <p:sp>
          <p:nvSpPr>
            <p:cNvPr id="33" name="Oval 43"/>
            <p:cNvSpPr>
              <a:spLocks noChangeArrowheads="1"/>
            </p:cNvSpPr>
            <p:nvPr/>
          </p:nvSpPr>
          <p:spPr bwMode="auto">
            <a:xfrm>
              <a:off x="5028" y="3080"/>
              <a:ext cx="376" cy="264"/>
            </a:xfrm>
            <a:prstGeom prst="ellipse">
              <a:avLst/>
            </a:prstGeom>
            <a:gradFill rotWithShape="1">
              <a:gsLst>
                <a:gs pos="0">
                  <a:schemeClr val="bg1"/>
                </a:gs>
                <a:gs pos="100000">
                  <a:schemeClr val="bg1">
                    <a:gamma/>
                    <a:shade val="89020"/>
                    <a:invGamma/>
                    <a:alpha val="0"/>
                  </a:schemeClr>
                </a:gs>
              </a:gsLst>
              <a:lin ang="5400000" scaled="1"/>
            </a:gradFill>
            <a:ln w="9525">
              <a:noFill/>
              <a:round/>
              <a:headEnd/>
              <a:tailEnd/>
            </a:ln>
            <a:effectLst/>
          </p:spPr>
          <p:txBody>
            <a:bodyPr wrap="none" anchor="ctr"/>
            <a:lstStyle/>
            <a:p>
              <a:pPr>
                <a:defRPr/>
              </a:pPr>
              <a:endParaRPr lang="de-DE"/>
            </a:p>
          </p:txBody>
        </p:sp>
      </p:grpSp>
    </p:spTree>
    <p:extLst>
      <p:ext uri="{BB962C8B-B14F-4D97-AF65-F5344CB8AC3E}">
        <p14:creationId xmlns:p14="http://schemas.microsoft.com/office/powerpoint/2010/main" val="3675387388"/>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500" fill="hold"/>
                                        <p:tgtEl>
                                          <p:spTgt spid="18"/>
                                        </p:tgtEl>
                                        <p:attrNameLst>
                                          <p:attrName>ppt_x</p:attrName>
                                        </p:attrNameLst>
                                      </p:cBhvr>
                                      <p:tavLst>
                                        <p:tav tm="0">
                                          <p:val>
                                            <p:strVal val="0-#ppt_w/2"/>
                                          </p:val>
                                        </p:tav>
                                        <p:tav tm="100000">
                                          <p:val>
                                            <p:strVal val="#ppt_x"/>
                                          </p:val>
                                        </p:tav>
                                      </p:tavLst>
                                    </p:anim>
                                    <p:anim calcmode="lin" valueType="num">
                                      <p:cBhvr additive="base">
                                        <p:cTn id="8" dur="500" fill="hold"/>
                                        <p:tgtEl>
                                          <p:spTgt spid="18"/>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0"/>
                                  </p:stCondLst>
                                  <p:childTnLst>
                                    <p:set>
                                      <p:cBhvr>
                                        <p:cTn id="10" dur="1" fill="hold">
                                          <p:stCondLst>
                                            <p:cond delay="0"/>
                                          </p:stCondLst>
                                        </p:cTn>
                                        <p:tgtEl>
                                          <p:spTgt spid="2"/>
                                        </p:tgtEl>
                                        <p:attrNameLst>
                                          <p:attrName>style.visibility</p:attrName>
                                        </p:attrNameLst>
                                      </p:cBhvr>
                                      <p:to>
                                        <p:strVal val="visible"/>
                                      </p:to>
                                    </p:set>
                                    <p:anim calcmode="lin" valueType="num">
                                      <p:cBhvr additive="base">
                                        <p:cTn id="11" dur="500" fill="hold"/>
                                        <p:tgtEl>
                                          <p:spTgt spid="2"/>
                                        </p:tgtEl>
                                        <p:attrNameLst>
                                          <p:attrName>ppt_x</p:attrName>
                                        </p:attrNameLst>
                                      </p:cBhvr>
                                      <p:tavLst>
                                        <p:tav tm="0">
                                          <p:val>
                                            <p:strVal val="0-#ppt_w/2"/>
                                          </p:val>
                                        </p:tav>
                                        <p:tav tm="100000">
                                          <p:val>
                                            <p:strVal val="#ppt_x"/>
                                          </p:val>
                                        </p:tav>
                                      </p:tavLst>
                                    </p:anim>
                                    <p:anim calcmode="lin" valueType="num">
                                      <p:cBhvr additive="base">
                                        <p:cTn id="12" dur="500" fill="hold"/>
                                        <p:tgtEl>
                                          <p:spTgt spid="2"/>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2" presetClass="entr" presetSubtype="2" fill="hold" nodeType="afterEffect">
                                  <p:stCondLst>
                                    <p:cond delay="0"/>
                                  </p:stCondLst>
                                  <p:childTnLst>
                                    <p:set>
                                      <p:cBhvr>
                                        <p:cTn id="15" dur="1" fill="hold">
                                          <p:stCondLst>
                                            <p:cond delay="0"/>
                                          </p:stCondLst>
                                        </p:cTn>
                                        <p:tgtEl>
                                          <p:spTgt spid="5"/>
                                        </p:tgtEl>
                                        <p:attrNameLst>
                                          <p:attrName>style.visibility</p:attrName>
                                        </p:attrNameLst>
                                      </p:cBhvr>
                                      <p:to>
                                        <p:strVal val="visible"/>
                                      </p:to>
                                    </p:set>
                                    <p:anim calcmode="lin" valueType="num">
                                      <p:cBhvr additive="base">
                                        <p:cTn id="16" dur="500" fill="hold"/>
                                        <p:tgtEl>
                                          <p:spTgt spid="5"/>
                                        </p:tgtEl>
                                        <p:attrNameLst>
                                          <p:attrName>ppt_x</p:attrName>
                                        </p:attrNameLst>
                                      </p:cBhvr>
                                      <p:tavLst>
                                        <p:tav tm="0">
                                          <p:val>
                                            <p:strVal val="1+#ppt_w/2"/>
                                          </p:val>
                                        </p:tav>
                                        <p:tav tm="100000">
                                          <p:val>
                                            <p:strVal val="#ppt_x"/>
                                          </p:val>
                                        </p:tav>
                                      </p:tavLst>
                                    </p:anim>
                                    <p:anim calcmode="lin" valueType="num">
                                      <p:cBhvr additive="base">
                                        <p:cTn id="17" dur="500" fill="hold"/>
                                        <p:tgtEl>
                                          <p:spTgt spid="5"/>
                                        </p:tgtEl>
                                        <p:attrNameLst>
                                          <p:attrName>ppt_y</p:attrName>
                                        </p:attrNameLst>
                                      </p:cBhvr>
                                      <p:tavLst>
                                        <p:tav tm="0">
                                          <p:val>
                                            <p:strVal val="#ppt_y"/>
                                          </p:val>
                                        </p:tav>
                                        <p:tav tm="100000">
                                          <p:val>
                                            <p:strVal val="#ppt_y"/>
                                          </p:val>
                                        </p:tav>
                                      </p:tavLst>
                                    </p:anim>
                                  </p:childTnLst>
                                </p:cTn>
                              </p:par>
                              <p:par>
                                <p:cTn id="18" presetID="2" presetClass="entr" presetSubtype="2" fill="hold" grpId="0" nodeType="withEffect">
                                  <p:stCondLst>
                                    <p:cond delay="0"/>
                                  </p:stCondLst>
                                  <p:childTnLst>
                                    <p:set>
                                      <p:cBhvr>
                                        <p:cTn id="19" dur="1" fill="hold">
                                          <p:stCondLst>
                                            <p:cond delay="0"/>
                                          </p:stCondLst>
                                        </p:cTn>
                                        <p:tgtEl>
                                          <p:spTgt spid="20"/>
                                        </p:tgtEl>
                                        <p:attrNameLst>
                                          <p:attrName>style.visibility</p:attrName>
                                        </p:attrNameLst>
                                      </p:cBhvr>
                                      <p:to>
                                        <p:strVal val="visible"/>
                                      </p:to>
                                    </p:set>
                                    <p:anim calcmode="lin" valueType="num">
                                      <p:cBhvr additive="base">
                                        <p:cTn id="20" dur="500" fill="hold"/>
                                        <p:tgtEl>
                                          <p:spTgt spid="20"/>
                                        </p:tgtEl>
                                        <p:attrNameLst>
                                          <p:attrName>ppt_x</p:attrName>
                                        </p:attrNameLst>
                                      </p:cBhvr>
                                      <p:tavLst>
                                        <p:tav tm="0">
                                          <p:val>
                                            <p:strVal val="1+#ppt_w/2"/>
                                          </p:val>
                                        </p:tav>
                                        <p:tav tm="100000">
                                          <p:val>
                                            <p:strVal val="#ppt_x"/>
                                          </p:val>
                                        </p:tav>
                                      </p:tavLst>
                                    </p:anim>
                                    <p:anim calcmode="lin" valueType="num">
                                      <p:cBhvr additive="base">
                                        <p:cTn id="21" dur="500" fill="hold"/>
                                        <p:tgtEl>
                                          <p:spTgt spid="20"/>
                                        </p:tgtEl>
                                        <p:attrNameLst>
                                          <p:attrName>ppt_y</p:attrName>
                                        </p:attrNameLst>
                                      </p:cBhvr>
                                      <p:tavLst>
                                        <p:tav tm="0">
                                          <p:val>
                                            <p:strVal val="#ppt_y"/>
                                          </p:val>
                                        </p:tav>
                                        <p:tav tm="100000">
                                          <p:val>
                                            <p:strVal val="#ppt_y"/>
                                          </p:val>
                                        </p:tav>
                                      </p:tavLst>
                                    </p:anim>
                                  </p:childTnLst>
                                </p:cTn>
                              </p:par>
                            </p:childTnLst>
                          </p:cTn>
                        </p:par>
                        <p:par>
                          <p:cTn id="22" fill="hold">
                            <p:stCondLst>
                              <p:cond delay="1000"/>
                            </p:stCondLst>
                            <p:childTnLst>
                              <p:par>
                                <p:cTn id="23" presetID="10" presetClass="entr" presetSubtype="0" fill="hold" nodeType="afterEffect">
                                  <p:stCondLst>
                                    <p:cond delay="0"/>
                                  </p:stCondLst>
                                  <p:childTnLst>
                                    <p:set>
                                      <p:cBhvr>
                                        <p:cTn id="24" dur="1" fill="hold">
                                          <p:stCondLst>
                                            <p:cond delay="0"/>
                                          </p:stCondLst>
                                        </p:cTn>
                                        <p:tgtEl>
                                          <p:spTgt spid="21"/>
                                        </p:tgtEl>
                                        <p:attrNameLst>
                                          <p:attrName>style.visibility</p:attrName>
                                        </p:attrNameLst>
                                      </p:cBhvr>
                                      <p:to>
                                        <p:strVal val="visible"/>
                                      </p:to>
                                    </p:set>
                                    <p:animEffect transition="in" filter="fade">
                                      <p:cBhvr>
                                        <p:cTn id="25" dur="500"/>
                                        <p:tgtEl>
                                          <p:spTgt spid="21"/>
                                        </p:tgtEl>
                                      </p:cBhvr>
                                    </p:animEffect>
                                  </p:childTnLst>
                                </p:cTn>
                              </p:par>
                              <p:par>
                                <p:cTn id="26" presetID="10" presetClass="entr" presetSubtype="0" fill="hold" nodeType="withEffect">
                                  <p:stCondLst>
                                    <p:cond delay="0"/>
                                  </p:stCondLst>
                                  <p:childTnLst>
                                    <p:set>
                                      <p:cBhvr>
                                        <p:cTn id="27" dur="1" fill="hold">
                                          <p:stCondLst>
                                            <p:cond delay="0"/>
                                          </p:stCondLst>
                                        </p:cTn>
                                        <p:tgtEl>
                                          <p:spTgt spid="26"/>
                                        </p:tgtEl>
                                        <p:attrNameLst>
                                          <p:attrName>style.visibility</p:attrName>
                                        </p:attrNameLst>
                                      </p:cBhvr>
                                      <p:to>
                                        <p:strVal val="visible"/>
                                      </p:to>
                                    </p:set>
                                    <p:animEffect transition="in" filter="fade">
                                      <p:cBhvr>
                                        <p:cTn id="28"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20"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95"/>
          <p:cNvSpPr txBox="1">
            <a:spLocks noChangeArrowheads="1"/>
          </p:cNvSpPr>
          <p:nvPr/>
        </p:nvSpPr>
        <p:spPr>
          <a:xfrm>
            <a:off x="300038" y="58738"/>
            <a:ext cx="8520112" cy="1000125"/>
          </a:xfrm>
          <a:prstGeom prst="rect">
            <a:avLst/>
          </a:prstGeom>
        </p:spPr>
        <p:txBody>
          <a:bodyPr lIns="0" tIns="0" rIns="0" bIns="0" anchor="ctr"/>
          <a:lstStyle/>
          <a:p>
            <a:pPr algn="ctr" eaLnBrk="0" hangingPunct="0">
              <a:lnSpc>
                <a:spcPct val="90000"/>
              </a:lnSpc>
              <a:defRPr/>
            </a:pPr>
            <a:r>
              <a:rPr lang="tr-TR" sz="3000" b="1" kern="0" dirty="0" smtClean="0">
                <a:solidFill>
                  <a:schemeClr val="tx2">
                    <a:lumMod val="50000"/>
                  </a:schemeClr>
                </a:solidFill>
              </a:rPr>
              <a:t>KONTROL VE HATA TESPİTİ</a:t>
            </a:r>
            <a:endParaRPr lang="en-US" sz="3000" b="1" kern="0" noProof="1">
              <a:solidFill>
                <a:schemeClr val="tx2">
                  <a:lumMod val="50000"/>
                </a:schemeClr>
              </a:solidFill>
            </a:endParaRPr>
          </a:p>
        </p:txBody>
      </p:sp>
      <p:sp>
        <p:nvSpPr>
          <p:cNvPr id="3082" name="Rectangle 4"/>
          <p:cNvSpPr>
            <a:spLocks noChangeArrowheads="1"/>
          </p:cNvSpPr>
          <p:nvPr/>
        </p:nvSpPr>
        <p:spPr bwMode="gray">
          <a:xfrm>
            <a:off x="304800" y="827088"/>
            <a:ext cx="5753100" cy="35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defTabSz="801688" eaLnBrk="0" hangingPunct="0"/>
            <a:endParaRPr lang="en-GB" sz="2000" dirty="0">
              <a:solidFill>
                <a:prstClr val="white"/>
              </a:solidFill>
            </a:endParaRPr>
          </a:p>
        </p:txBody>
      </p:sp>
      <p:sp>
        <p:nvSpPr>
          <p:cNvPr id="18" name="Pfeil nach links 25"/>
          <p:cNvSpPr/>
          <p:nvPr/>
        </p:nvSpPr>
        <p:spPr>
          <a:xfrm flipH="1">
            <a:off x="1214223" y="4090667"/>
            <a:ext cx="3789825" cy="2053073"/>
          </a:xfrm>
          <a:prstGeom prst="leftArrow">
            <a:avLst>
              <a:gd name="adj1" fmla="val 48544"/>
              <a:gd name="adj2" fmla="val 83864"/>
            </a:avLst>
          </a:prstGeom>
          <a:solidFill>
            <a:schemeClr val="bg1">
              <a:lumMod val="65000"/>
            </a:schemeClr>
          </a:solidFill>
          <a:ln w="34925">
            <a:noFill/>
          </a:ln>
          <a:effectLst>
            <a:outerShdw blurRad="317500" dir="2700000" algn="ctr">
              <a:srgbClr val="000000">
                <a:alpha val="43000"/>
              </a:srgbClr>
            </a:outerShdw>
          </a:effectLst>
          <a:scene3d>
            <a:camera prst="perspectiveLeft" fov="4800000">
              <a:rot lat="17880000" lon="0" rev="0"/>
            </a:camera>
            <a:lightRig rig="threePt" dir="t">
              <a:rot lat="0" lon="0" rev="2400000"/>
            </a:lightRig>
          </a:scene3d>
          <a:sp3d extrusionH="38100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tr-TR" sz="2400" noProof="1" smtClean="0">
                <a:solidFill>
                  <a:schemeClr val="tx1"/>
                </a:solidFill>
              </a:rPr>
              <a:t>KAĞIT FATURA </a:t>
            </a:r>
            <a:endParaRPr lang="en-US" sz="2400" noProof="1">
              <a:solidFill>
                <a:schemeClr val="tx1"/>
              </a:solidFill>
            </a:endParaRPr>
          </a:p>
        </p:txBody>
      </p:sp>
      <p:sp>
        <p:nvSpPr>
          <p:cNvPr id="20" name="Pfeil nach links 24"/>
          <p:cNvSpPr/>
          <p:nvPr/>
        </p:nvSpPr>
        <p:spPr>
          <a:xfrm>
            <a:off x="3995934" y="4711840"/>
            <a:ext cx="3789825" cy="2053073"/>
          </a:xfrm>
          <a:prstGeom prst="leftArrow">
            <a:avLst>
              <a:gd name="adj1" fmla="val 48544"/>
              <a:gd name="adj2" fmla="val 83864"/>
            </a:avLst>
          </a:prstGeom>
          <a:solidFill>
            <a:schemeClr val="accent5">
              <a:lumMod val="75000"/>
            </a:schemeClr>
          </a:solidFill>
          <a:ln w="34925">
            <a:noFill/>
          </a:ln>
          <a:effectLst>
            <a:outerShdw blurRad="317500" dir="2700000" algn="ctr">
              <a:srgbClr val="000000">
                <a:alpha val="43000"/>
              </a:srgbClr>
            </a:outerShdw>
          </a:effectLst>
          <a:scene3d>
            <a:camera prst="perspectiveLeft" fov="4800000">
              <a:rot lat="17880000" lon="0" rev="0"/>
            </a:camera>
            <a:lightRig rig="threePt" dir="t">
              <a:rot lat="0" lon="0" rev="2400000"/>
            </a:lightRig>
          </a:scene3d>
          <a:sp3d extrusionH="38100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tr-TR" sz="3200" noProof="1" smtClean="0"/>
              <a:t>E-FATURA</a:t>
            </a:r>
            <a:endParaRPr lang="en-US" sz="3200" noProof="1"/>
          </a:p>
        </p:txBody>
      </p:sp>
      <p:grpSp>
        <p:nvGrpSpPr>
          <p:cNvPr id="2" name="Grup 1"/>
          <p:cNvGrpSpPr/>
          <p:nvPr/>
        </p:nvGrpSpPr>
        <p:grpSpPr>
          <a:xfrm>
            <a:off x="251520" y="1340768"/>
            <a:ext cx="4175125" cy="2940281"/>
            <a:chOff x="300038" y="1124744"/>
            <a:chExt cx="4175125" cy="2940281"/>
          </a:xfrm>
        </p:grpSpPr>
        <p:sp>
          <p:nvSpPr>
            <p:cNvPr id="3075" name="Rectangle 19"/>
            <p:cNvSpPr>
              <a:spLocks noChangeArrowheads="1"/>
            </p:cNvSpPr>
            <p:nvPr/>
          </p:nvSpPr>
          <p:spPr bwMode="gray">
            <a:xfrm>
              <a:off x="300038" y="1124744"/>
              <a:ext cx="4175125" cy="721445"/>
            </a:xfrm>
            <a:prstGeom prst="rect">
              <a:avLst/>
            </a:prstGeom>
            <a:gradFill rotWithShape="1">
              <a:gsLst>
                <a:gs pos="0">
                  <a:srgbClr val="FFFFFF"/>
                </a:gs>
                <a:gs pos="100000">
                  <a:srgbClr val="C1C2C3"/>
                </a:gs>
              </a:gsLst>
              <a:lin ang="5400000" scaled="1"/>
            </a:gradFill>
            <a:ln w="12700" algn="ctr">
              <a:solidFill>
                <a:srgbClr val="C0C0C0"/>
              </a:solidFill>
              <a:miter lim="800000"/>
              <a:headEnd/>
              <a:tailEnd/>
            </a:ln>
          </p:spPr>
          <p:txBody>
            <a:bodyPr lIns="288000" tIns="0" rIns="0" bIns="0" anchor="ctr"/>
            <a:lstStyle/>
            <a:p>
              <a:pPr defTabSz="801688" eaLnBrk="0" hangingPunct="0"/>
              <a:r>
                <a:rPr lang="tr-TR" sz="2000" b="1" dirty="0" smtClean="0">
                  <a:solidFill>
                    <a:prstClr val="black"/>
                  </a:solidFill>
                </a:rPr>
                <a:t> Faturada </a:t>
              </a:r>
              <a:r>
                <a:rPr lang="tr-TR" sz="2000" b="1" dirty="0">
                  <a:solidFill>
                    <a:prstClr val="black"/>
                  </a:solidFill>
                </a:rPr>
                <a:t>hata tespiti ve itiraz süresinin uzunluğu</a:t>
              </a:r>
            </a:p>
          </p:txBody>
        </p:sp>
        <p:pic>
          <p:nvPicPr>
            <p:cNvPr id="24"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535356" y="1918373"/>
              <a:ext cx="3750327" cy="214665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p:spPr>
        </p:pic>
      </p:grpSp>
      <p:grpSp>
        <p:nvGrpSpPr>
          <p:cNvPr id="5" name="Grup 4"/>
          <p:cNvGrpSpPr/>
          <p:nvPr/>
        </p:nvGrpSpPr>
        <p:grpSpPr>
          <a:xfrm>
            <a:off x="4742557" y="1351273"/>
            <a:ext cx="4175125" cy="2939744"/>
            <a:chOff x="-4142322" y="3201917"/>
            <a:chExt cx="4175125" cy="2939744"/>
          </a:xfrm>
        </p:grpSpPr>
        <p:sp>
          <p:nvSpPr>
            <p:cNvPr id="30" name="Rectangle 19"/>
            <p:cNvSpPr>
              <a:spLocks noChangeArrowheads="1"/>
            </p:cNvSpPr>
            <p:nvPr/>
          </p:nvSpPr>
          <p:spPr bwMode="gray">
            <a:xfrm>
              <a:off x="-4142322" y="3201917"/>
              <a:ext cx="4175125" cy="721445"/>
            </a:xfrm>
            <a:prstGeom prst="rect">
              <a:avLst/>
            </a:prstGeom>
            <a:gradFill rotWithShape="1">
              <a:gsLst>
                <a:gs pos="0">
                  <a:srgbClr val="FFFFFF"/>
                </a:gs>
                <a:gs pos="100000">
                  <a:srgbClr val="C1C2C3"/>
                </a:gs>
              </a:gsLst>
              <a:lin ang="5400000" scaled="1"/>
            </a:gradFill>
            <a:ln w="12700" algn="ctr">
              <a:solidFill>
                <a:srgbClr val="C0C0C0"/>
              </a:solidFill>
              <a:miter lim="800000"/>
              <a:headEnd/>
              <a:tailEnd/>
            </a:ln>
          </p:spPr>
          <p:txBody>
            <a:bodyPr lIns="288000" tIns="0" rIns="0" bIns="0" anchor="ctr"/>
            <a:lstStyle/>
            <a:p>
              <a:pPr defTabSz="801688" eaLnBrk="0" hangingPunct="0"/>
              <a:r>
                <a:rPr lang="tr-TR" b="1" dirty="0">
                  <a:solidFill>
                    <a:prstClr val="black"/>
                  </a:solidFill>
                </a:rPr>
                <a:t>Faturaya ilişkin bilgilerin </a:t>
              </a:r>
              <a:r>
                <a:rPr lang="tr-TR" b="1" dirty="0" smtClean="0">
                  <a:solidFill>
                    <a:prstClr val="black"/>
                  </a:solidFill>
                </a:rPr>
                <a:t>anında kontrolü</a:t>
              </a:r>
              <a:r>
                <a:rPr lang="tr-TR" b="1" dirty="0">
                  <a:solidFill>
                    <a:prstClr val="black"/>
                  </a:solidFill>
                </a:rPr>
                <a:t>, doğrulanması ve </a:t>
              </a:r>
              <a:r>
                <a:rPr lang="tr-TR" b="1" dirty="0" smtClean="0">
                  <a:solidFill>
                    <a:prstClr val="black"/>
                  </a:solidFill>
                </a:rPr>
                <a:t>anlık uyuşmazlık </a:t>
              </a:r>
              <a:r>
                <a:rPr lang="tr-TR" b="1" dirty="0">
                  <a:solidFill>
                    <a:prstClr val="black"/>
                  </a:solidFill>
                </a:rPr>
                <a:t>çözümü </a:t>
              </a:r>
            </a:p>
          </p:txBody>
        </p:sp>
        <p:pic>
          <p:nvPicPr>
            <p:cNvPr id="31" name="Picture 3"/>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991717" y="3996083"/>
              <a:ext cx="3639278" cy="214557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p:spPr>
        </p:pic>
      </p:grpSp>
      <p:grpSp>
        <p:nvGrpSpPr>
          <p:cNvPr id="21" name="Group 46"/>
          <p:cNvGrpSpPr>
            <a:grpSpLocks/>
          </p:cNvGrpSpPr>
          <p:nvPr/>
        </p:nvGrpSpPr>
        <p:grpSpPr bwMode="auto">
          <a:xfrm>
            <a:off x="4427984" y="1123531"/>
            <a:ext cx="516908" cy="505269"/>
            <a:chOff x="1891" y="2606"/>
            <a:chExt cx="680" cy="680"/>
          </a:xfrm>
        </p:grpSpPr>
        <p:sp>
          <p:nvSpPr>
            <p:cNvPr id="22" name="Oval 19"/>
            <p:cNvSpPr>
              <a:spLocks noChangeArrowheads="1"/>
            </p:cNvSpPr>
            <p:nvPr/>
          </p:nvSpPr>
          <p:spPr bwMode="auto">
            <a:xfrm>
              <a:off x="1891" y="2606"/>
              <a:ext cx="680" cy="680"/>
            </a:xfrm>
            <a:prstGeom prst="ellipse">
              <a:avLst/>
            </a:prstGeom>
            <a:gradFill rotWithShape="1">
              <a:gsLst>
                <a:gs pos="0">
                  <a:srgbClr val="B2B2B2">
                    <a:gamma/>
                    <a:tint val="24314"/>
                    <a:invGamma/>
                  </a:srgbClr>
                </a:gs>
                <a:gs pos="100000">
                  <a:srgbClr val="B2B2B2"/>
                </a:gs>
              </a:gsLst>
              <a:path path="shape">
                <a:fillToRect l="50000" t="50000" r="50000" b="50000"/>
              </a:path>
            </a:gradFill>
            <a:ln w="28575">
              <a:solidFill>
                <a:schemeClr val="bg1"/>
              </a:solidFill>
              <a:round/>
              <a:headEnd/>
              <a:tailEnd/>
            </a:ln>
            <a:effectLst>
              <a:outerShdw dist="53882" dir="2700000" algn="ctr" rotWithShape="0">
                <a:srgbClr val="808080">
                  <a:alpha val="50000"/>
                </a:srgbClr>
              </a:outerShdw>
            </a:effectLst>
          </p:spPr>
          <p:txBody>
            <a:bodyPr wrap="none" anchor="ctr"/>
            <a:lstStyle/>
            <a:p>
              <a:pPr>
                <a:defRPr/>
              </a:pPr>
              <a:endParaRPr lang="de-DE"/>
            </a:p>
          </p:txBody>
        </p:sp>
        <p:sp>
          <p:nvSpPr>
            <p:cNvPr id="23" name="WordArt 35"/>
            <p:cNvSpPr>
              <a:spLocks noChangeArrowheads="1" noChangeShapeType="1" noTextEdit="1"/>
            </p:cNvSpPr>
            <p:nvPr/>
          </p:nvSpPr>
          <p:spPr bwMode="auto">
            <a:xfrm>
              <a:off x="2026" y="2793"/>
              <a:ext cx="409" cy="361"/>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wrap="none" fromWordArt="1">
              <a:prstTxWarp prst="textPlain">
                <a:avLst>
                  <a:gd name="adj" fmla="val 50000"/>
                </a:avLst>
              </a:prstTxWarp>
            </a:bodyPr>
            <a:lstStyle/>
            <a:p>
              <a:pPr algn="ctr"/>
              <a:r>
                <a:rPr lang="tr-TR" sz="3600" kern="10" dirty="0">
                  <a:gradFill rotWithShape="1">
                    <a:gsLst>
                      <a:gs pos="0">
                        <a:srgbClr val="4C7013"/>
                      </a:gs>
                      <a:gs pos="100000">
                        <a:srgbClr val="233409"/>
                      </a:gs>
                    </a:gsLst>
                    <a:lin ang="2700000" scaled="1"/>
                  </a:gradFill>
                  <a:latin typeface="Wingdings"/>
                </a:rPr>
                <a:t></a:t>
              </a:r>
            </a:p>
          </p:txBody>
        </p:sp>
      </p:grpSp>
      <p:grpSp>
        <p:nvGrpSpPr>
          <p:cNvPr id="26" name="Group 45"/>
          <p:cNvGrpSpPr>
            <a:grpSpLocks/>
          </p:cNvGrpSpPr>
          <p:nvPr/>
        </p:nvGrpSpPr>
        <p:grpSpPr bwMode="auto">
          <a:xfrm>
            <a:off x="20477" y="1120755"/>
            <a:ext cx="516908" cy="505270"/>
            <a:chOff x="-5280" y="-725"/>
            <a:chExt cx="680" cy="680"/>
          </a:xfrm>
        </p:grpSpPr>
        <p:sp>
          <p:nvSpPr>
            <p:cNvPr id="27" name="Oval 41"/>
            <p:cNvSpPr>
              <a:spLocks noChangeArrowheads="1"/>
            </p:cNvSpPr>
            <p:nvPr/>
          </p:nvSpPr>
          <p:spPr bwMode="auto">
            <a:xfrm>
              <a:off x="-5280" y="-725"/>
              <a:ext cx="680" cy="680"/>
            </a:xfrm>
            <a:prstGeom prst="ellipse">
              <a:avLst/>
            </a:prstGeom>
            <a:gradFill rotWithShape="1">
              <a:gsLst>
                <a:gs pos="0">
                  <a:srgbClr val="B2B2B2">
                    <a:gamma/>
                    <a:tint val="24314"/>
                    <a:invGamma/>
                  </a:srgbClr>
                </a:gs>
                <a:gs pos="100000">
                  <a:srgbClr val="B2B2B2"/>
                </a:gs>
              </a:gsLst>
              <a:path path="shape">
                <a:fillToRect l="50000" t="50000" r="50000" b="50000"/>
              </a:path>
            </a:gradFill>
            <a:ln w="28575">
              <a:solidFill>
                <a:schemeClr val="bg1"/>
              </a:solidFill>
              <a:round/>
              <a:headEnd/>
              <a:tailEnd/>
            </a:ln>
            <a:effectLst>
              <a:outerShdw dist="53882" dir="2700000" algn="ctr" rotWithShape="0">
                <a:srgbClr val="808080">
                  <a:alpha val="50000"/>
                </a:srgbClr>
              </a:outerShdw>
            </a:effectLst>
          </p:spPr>
          <p:txBody>
            <a:bodyPr wrap="none" anchor="ctr"/>
            <a:lstStyle/>
            <a:p>
              <a:pPr>
                <a:defRPr/>
              </a:pPr>
              <a:endParaRPr lang="de-DE"/>
            </a:p>
          </p:txBody>
        </p:sp>
        <p:sp>
          <p:nvSpPr>
            <p:cNvPr id="32" name="WordArt 42"/>
            <p:cNvSpPr>
              <a:spLocks noChangeArrowheads="1" noChangeShapeType="1" noTextEdit="1"/>
            </p:cNvSpPr>
            <p:nvPr/>
          </p:nvSpPr>
          <p:spPr bwMode="auto">
            <a:xfrm>
              <a:off x="-5128" y="-553"/>
              <a:ext cx="376" cy="335"/>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wrap="none" fromWordArt="1">
              <a:prstTxWarp prst="textPlain">
                <a:avLst>
                  <a:gd name="adj" fmla="val 50000"/>
                </a:avLst>
              </a:prstTxWarp>
            </a:bodyPr>
            <a:lstStyle/>
            <a:p>
              <a:pPr algn="ctr"/>
              <a:r>
                <a:rPr lang="tr-TR" sz="3600" kern="10" dirty="0">
                  <a:gradFill rotWithShape="1">
                    <a:gsLst>
                      <a:gs pos="0">
                        <a:srgbClr val="C40505"/>
                      </a:gs>
                      <a:gs pos="100000">
                        <a:srgbClr val="5B0202"/>
                      </a:gs>
                    </a:gsLst>
                    <a:lin ang="2700000" scaled="1"/>
                  </a:gradFill>
                  <a:latin typeface="Wingdings"/>
                </a:rPr>
                <a:t>û</a:t>
              </a:r>
            </a:p>
          </p:txBody>
        </p:sp>
      </p:grpSp>
    </p:spTree>
    <p:extLst>
      <p:ext uri="{BB962C8B-B14F-4D97-AF65-F5344CB8AC3E}">
        <p14:creationId xmlns:p14="http://schemas.microsoft.com/office/powerpoint/2010/main" val="215531971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500" fill="hold"/>
                                        <p:tgtEl>
                                          <p:spTgt spid="18"/>
                                        </p:tgtEl>
                                        <p:attrNameLst>
                                          <p:attrName>ppt_x</p:attrName>
                                        </p:attrNameLst>
                                      </p:cBhvr>
                                      <p:tavLst>
                                        <p:tav tm="0">
                                          <p:val>
                                            <p:strVal val="0-#ppt_w/2"/>
                                          </p:val>
                                        </p:tav>
                                        <p:tav tm="100000">
                                          <p:val>
                                            <p:strVal val="#ppt_x"/>
                                          </p:val>
                                        </p:tav>
                                      </p:tavLst>
                                    </p:anim>
                                    <p:anim calcmode="lin" valueType="num">
                                      <p:cBhvr additive="base">
                                        <p:cTn id="8" dur="500" fill="hold"/>
                                        <p:tgtEl>
                                          <p:spTgt spid="18"/>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0"/>
                                  </p:stCondLst>
                                  <p:childTnLst>
                                    <p:set>
                                      <p:cBhvr>
                                        <p:cTn id="10" dur="1" fill="hold">
                                          <p:stCondLst>
                                            <p:cond delay="0"/>
                                          </p:stCondLst>
                                        </p:cTn>
                                        <p:tgtEl>
                                          <p:spTgt spid="2"/>
                                        </p:tgtEl>
                                        <p:attrNameLst>
                                          <p:attrName>style.visibility</p:attrName>
                                        </p:attrNameLst>
                                      </p:cBhvr>
                                      <p:to>
                                        <p:strVal val="visible"/>
                                      </p:to>
                                    </p:set>
                                    <p:anim calcmode="lin" valueType="num">
                                      <p:cBhvr additive="base">
                                        <p:cTn id="11" dur="500" fill="hold"/>
                                        <p:tgtEl>
                                          <p:spTgt spid="2"/>
                                        </p:tgtEl>
                                        <p:attrNameLst>
                                          <p:attrName>ppt_x</p:attrName>
                                        </p:attrNameLst>
                                      </p:cBhvr>
                                      <p:tavLst>
                                        <p:tav tm="0">
                                          <p:val>
                                            <p:strVal val="0-#ppt_w/2"/>
                                          </p:val>
                                        </p:tav>
                                        <p:tav tm="100000">
                                          <p:val>
                                            <p:strVal val="#ppt_x"/>
                                          </p:val>
                                        </p:tav>
                                      </p:tavLst>
                                    </p:anim>
                                    <p:anim calcmode="lin" valueType="num">
                                      <p:cBhvr additive="base">
                                        <p:cTn id="12" dur="500" fill="hold"/>
                                        <p:tgtEl>
                                          <p:spTgt spid="2"/>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2" presetClass="entr" presetSubtype="2" fill="hold" nodeType="afterEffect">
                                  <p:stCondLst>
                                    <p:cond delay="0"/>
                                  </p:stCondLst>
                                  <p:childTnLst>
                                    <p:set>
                                      <p:cBhvr>
                                        <p:cTn id="15" dur="1" fill="hold">
                                          <p:stCondLst>
                                            <p:cond delay="0"/>
                                          </p:stCondLst>
                                        </p:cTn>
                                        <p:tgtEl>
                                          <p:spTgt spid="5"/>
                                        </p:tgtEl>
                                        <p:attrNameLst>
                                          <p:attrName>style.visibility</p:attrName>
                                        </p:attrNameLst>
                                      </p:cBhvr>
                                      <p:to>
                                        <p:strVal val="visible"/>
                                      </p:to>
                                    </p:set>
                                    <p:anim calcmode="lin" valueType="num">
                                      <p:cBhvr additive="base">
                                        <p:cTn id="16" dur="500" fill="hold"/>
                                        <p:tgtEl>
                                          <p:spTgt spid="5"/>
                                        </p:tgtEl>
                                        <p:attrNameLst>
                                          <p:attrName>ppt_x</p:attrName>
                                        </p:attrNameLst>
                                      </p:cBhvr>
                                      <p:tavLst>
                                        <p:tav tm="0">
                                          <p:val>
                                            <p:strVal val="1+#ppt_w/2"/>
                                          </p:val>
                                        </p:tav>
                                        <p:tav tm="100000">
                                          <p:val>
                                            <p:strVal val="#ppt_x"/>
                                          </p:val>
                                        </p:tav>
                                      </p:tavLst>
                                    </p:anim>
                                    <p:anim calcmode="lin" valueType="num">
                                      <p:cBhvr additive="base">
                                        <p:cTn id="17" dur="500" fill="hold"/>
                                        <p:tgtEl>
                                          <p:spTgt spid="5"/>
                                        </p:tgtEl>
                                        <p:attrNameLst>
                                          <p:attrName>ppt_y</p:attrName>
                                        </p:attrNameLst>
                                      </p:cBhvr>
                                      <p:tavLst>
                                        <p:tav tm="0">
                                          <p:val>
                                            <p:strVal val="#ppt_y"/>
                                          </p:val>
                                        </p:tav>
                                        <p:tav tm="100000">
                                          <p:val>
                                            <p:strVal val="#ppt_y"/>
                                          </p:val>
                                        </p:tav>
                                      </p:tavLst>
                                    </p:anim>
                                  </p:childTnLst>
                                </p:cTn>
                              </p:par>
                              <p:par>
                                <p:cTn id="18" presetID="2" presetClass="entr" presetSubtype="2" fill="hold" grpId="0" nodeType="withEffect">
                                  <p:stCondLst>
                                    <p:cond delay="0"/>
                                  </p:stCondLst>
                                  <p:childTnLst>
                                    <p:set>
                                      <p:cBhvr>
                                        <p:cTn id="19" dur="1" fill="hold">
                                          <p:stCondLst>
                                            <p:cond delay="0"/>
                                          </p:stCondLst>
                                        </p:cTn>
                                        <p:tgtEl>
                                          <p:spTgt spid="20"/>
                                        </p:tgtEl>
                                        <p:attrNameLst>
                                          <p:attrName>style.visibility</p:attrName>
                                        </p:attrNameLst>
                                      </p:cBhvr>
                                      <p:to>
                                        <p:strVal val="visible"/>
                                      </p:to>
                                    </p:set>
                                    <p:anim calcmode="lin" valueType="num">
                                      <p:cBhvr additive="base">
                                        <p:cTn id="20" dur="500" fill="hold"/>
                                        <p:tgtEl>
                                          <p:spTgt spid="20"/>
                                        </p:tgtEl>
                                        <p:attrNameLst>
                                          <p:attrName>ppt_x</p:attrName>
                                        </p:attrNameLst>
                                      </p:cBhvr>
                                      <p:tavLst>
                                        <p:tav tm="0">
                                          <p:val>
                                            <p:strVal val="1+#ppt_w/2"/>
                                          </p:val>
                                        </p:tav>
                                        <p:tav tm="100000">
                                          <p:val>
                                            <p:strVal val="#ppt_x"/>
                                          </p:val>
                                        </p:tav>
                                      </p:tavLst>
                                    </p:anim>
                                    <p:anim calcmode="lin" valueType="num">
                                      <p:cBhvr additive="base">
                                        <p:cTn id="21" dur="500" fill="hold"/>
                                        <p:tgtEl>
                                          <p:spTgt spid="20"/>
                                        </p:tgtEl>
                                        <p:attrNameLst>
                                          <p:attrName>ppt_y</p:attrName>
                                        </p:attrNameLst>
                                      </p:cBhvr>
                                      <p:tavLst>
                                        <p:tav tm="0">
                                          <p:val>
                                            <p:strVal val="#ppt_y"/>
                                          </p:val>
                                        </p:tav>
                                        <p:tav tm="100000">
                                          <p:val>
                                            <p:strVal val="#ppt_y"/>
                                          </p:val>
                                        </p:tav>
                                      </p:tavLst>
                                    </p:anim>
                                  </p:childTnLst>
                                </p:cTn>
                              </p:par>
                            </p:childTnLst>
                          </p:cTn>
                        </p:par>
                        <p:par>
                          <p:cTn id="22" fill="hold">
                            <p:stCondLst>
                              <p:cond delay="1000"/>
                            </p:stCondLst>
                            <p:childTnLst>
                              <p:par>
                                <p:cTn id="23" presetID="10" presetClass="entr" presetSubtype="0" fill="hold" nodeType="afterEffect">
                                  <p:stCondLst>
                                    <p:cond delay="0"/>
                                  </p:stCondLst>
                                  <p:childTnLst>
                                    <p:set>
                                      <p:cBhvr>
                                        <p:cTn id="24" dur="1" fill="hold">
                                          <p:stCondLst>
                                            <p:cond delay="0"/>
                                          </p:stCondLst>
                                        </p:cTn>
                                        <p:tgtEl>
                                          <p:spTgt spid="21"/>
                                        </p:tgtEl>
                                        <p:attrNameLst>
                                          <p:attrName>style.visibility</p:attrName>
                                        </p:attrNameLst>
                                      </p:cBhvr>
                                      <p:to>
                                        <p:strVal val="visible"/>
                                      </p:to>
                                    </p:set>
                                    <p:animEffect transition="in" filter="fade">
                                      <p:cBhvr>
                                        <p:cTn id="25" dur="500"/>
                                        <p:tgtEl>
                                          <p:spTgt spid="21"/>
                                        </p:tgtEl>
                                      </p:cBhvr>
                                    </p:animEffect>
                                  </p:childTnLst>
                                </p:cTn>
                              </p:par>
                              <p:par>
                                <p:cTn id="26" presetID="10" presetClass="entr" presetSubtype="0" fill="hold" nodeType="withEffect">
                                  <p:stCondLst>
                                    <p:cond delay="0"/>
                                  </p:stCondLst>
                                  <p:childTnLst>
                                    <p:set>
                                      <p:cBhvr>
                                        <p:cTn id="27" dur="1" fill="hold">
                                          <p:stCondLst>
                                            <p:cond delay="0"/>
                                          </p:stCondLst>
                                        </p:cTn>
                                        <p:tgtEl>
                                          <p:spTgt spid="26"/>
                                        </p:tgtEl>
                                        <p:attrNameLst>
                                          <p:attrName>style.visibility</p:attrName>
                                        </p:attrNameLst>
                                      </p:cBhvr>
                                      <p:to>
                                        <p:strVal val="visible"/>
                                      </p:to>
                                    </p:set>
                                    <p:animEffect transition="in" filter="fade">
                                      <p:cBhvr>
                                        <p:cTn id="28"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20"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95"/>
          <p:cNvSpPr txBox="1">
            <a:spLocks noChangeArrowheads="1"/>
          </p:cNvSpPr>
          <p:nvPr/>
        </p:nvSpPr>
        <p:spPr>
          <a:xfrm>
            <a:off x="300038" y="58738"/>
            <a:ext cx="8520112" cy="1000125"/>
          </a:xfrm>
          <a:prstGeom prst="rect">
            <a:avLst/>
          </a:prstGeom>
        </p:spPr>
        <p:txBody>
          <a:bodyPr lIns="0" tIns="0" rIns="0" bIns="0" anchor="ctr"/>
          <a:lstStyle/>
          <a:p>
            <a:pPr algn="ctr" eaLnBrk="0" hangingPunct="0">
              <a:lnSpc>
                <a:spcPct val="90000"/>
              </a:lnSpc>
              <a:defRPr/>
            </a:pPr>
            <a:r>
              <a:rPr lang="tr-TR" sz="3000" b="1" kern="0" dirty="0" smtClean="0">
                <a:solidFill>
                  <a:schemeClr val="tx2">
                    <a:lumMod val="50000"/>
                  </a:schemeClr>
                </a:solidFill>
              </a:rPr>
              <a:t>HATA RİSKİ</a:t>
            </a:r>
            <a:endParaRPr lang="en-US" sz="3000" b="1" kern="0" noProof="1">
              <a:solidFill>
                <a:schemeClr val="tx2">
                  <a:lumMod val="50000"/>
                </a:schemeClr>
              </a:solidFill>
            </a:endParaRPr>
          </a:p>
        </p:txBody>
      </p:sp>
      <p:sp>
        <p:nvSpPr>
          <p:cNvPr id="3082" name="Rectangle 4"/>
          <p:cNvSpPr>
            <a:spLocks noChangeArrowheads="1"/>
          </p:cNvSpPr>
          <p:nvPr/>
        </p:nvSpPr>
        <p:spPr bwMode="gray">
          <a:xfrm>
            <a:off x="304800" y="827088"/>
            <a:ext cx="5753100" cy="35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defTabSz="801688" eaLnBrk="0" hangingPunct="0"/>
            <a:endParaRPr lang="en-GB" sz="2000" dirty="0">
              <a:solidFill>
                <a:prstClr val="white"/>
              </a:solidFill>
            </a:endParaRPr>
          </a:p>
        </p:txBody>
      </p:sp>
      <p:sp>
        <p:nvSpPr>
          <p:cNvPr id="18" name="Pfeil nach links 25"/>
          <p:cNvSpPr/>
          <p:nvPr/>
        </p:nvSpPr>
        <p:spPr>
          <a:xfrm flipH="1">
            <a:off x="1214223" y="4090667"/>
            <a:ext cx="3789825" cy="2053073"/>
          </a:xfrm>
          <a:prstGeom prst="leftArrow">
            <a:avLst>
              <a:gd name="adj1" fmla="val 48544"/>
              <a:gd name="adj2" fmla="val 83864"/>
            </a:avLst>
          </a:prstGeom>
          <a:solidFill>
            <a:schemeClr val="bg1">
              <a:lumMod val="65000"/>
            </a:schemeClr>
          </a:solidFill>
          <a:ln w="34925">
            <a:noFill/>
          </a:ln>
          <a:effectLst>
            <a:outerShdw blurRad="317500" dir="2700000" algn="ctr">
              <a:srgbClr val="000000">
                <a:alpha val="43000"/>
              </a:srgbClr>
            </a:outerShdw>
          </a:effectLst>
          <a:scene3d>
            <a:camera prst="perspectiveLeft" fov="4800000">
              <a:rot lat="17880000" lon="0" rev="0"/>
            </a:camera>
            <a:lightRig rig="threePt" dir="t">
              <a:rot lat="0" lon="0" rev="2400000"/>
            </a:lightRig>
          </a:scene3d>
          <a:sp3d extrusionH="38100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tr-TR" sz="2400" noProof="1" smtClean="0">
                <a:solidFill>
                  <a:schemeClr val="tx1"/>
                </a:solidFill>
              </a:rPr>
              <a:t>KAĞIT FATURA </a:t>
            </a:r>
            <a:endParaRPr lang="en-US" sz="2400" noProof="1">
              <a:solidFill>
                <a:schemeClr val="tx1"/>
              </a:solidFill>
            </a:endParaRPr>
          </a:p>
        </p:txBody>
      </p:sp>
      <p:sp>
        <p:nvSpPr>
          <p:cNvPr id="20" name="Pfeil nach links 24"/>
          <p:cNvSpPr/>
          <p:nvPr/>
        </p:nvSpPr>
        <p:spPr>
          <a:xfrm>
            <a:off x="3995934" y="4711840"/>
            <a:ext cx="3789825" cy="2053073"/>
          </a:xfrm>
          <a:prstGeom prst="leftArrow">
            <a:avLst>
              <a:gd name="adj1" fmla="val 48544"/>
              <a:gd name="adj2" fmla="val 83864"/>
            </a:avLst>
          </a:prstGeom>
          <a:solidFill>
            <a:schemeClr val="accent5">
              <a:lumMod val="75000"/>
            </a:schemeClr>
          </a:solidFill>
          <a:ln w="34925">
            <a:noFill/>
          </a:ln>
          <a:effectLst>
            <a:outerShdw blurRad="317500" dir="2700000" algn="ctr">
              <a:srgbClr val="000000">
                <a:alpha val="43000"/>
              </a:srgbClr>
            </a:outerShdw>
          </a:effectLst>
          <a:scene3d>
            <a:camera prst="perspectiveLeft" fov="4800000">
              <a:rot lat="17880000" lon="0" rev="0"/>
            </a:camera>
            <a:lightRig rig="threePt" dir="t">
              <a:rot lat="0" lon="0" rev="2400000"/>
            </a:lightRig>
          </a:scene3d>
          <a:sp3d extrusionH="38100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tr-TR" sz="3200" noProof="1" smtClean="0"/>
              <a:t>E-FATURA</a:t>
            </a:r>
            <a:endParaRPr lang="en-US" sz="3200" noProof="1"/>
          </a:p>
        </p:txBody>
      </p:sp>
      <p:grpSp>
        <p:nvGrpSpPr>
          <p:cNvPr id="2" name="Grup 1"/>
          <p:cNvGrpSpPr/>
          <p:nvPr/>
        </p:nvGrpSpPr>
        <p:grpSpPr>
          <a:xfrm>
            <a:off x="251520" y="1340768"/>
            <a:ext cx="4193281" cy="2940281"/>
            <a:chOff x="300038" y="1124744"/>
            <a:chExt cx="4193281" cy="2940281"/>
          </a:xfrm>
        </p:grpSpPr>
        <p:sp>
          <p:nvSpPr>
            <p:cNvPr id="3075" name="Rectangle 19"/>
            <p:cNvSpPr>
              <a:spLocks noChangeArrowheads="1"/>
            </p:cNvSpPr>
            <p:nvPr/>
          </p:nvSpPr>
          <p:spPr bwMode="gray">
            <a:xfrm>
              <a:off x="300038" y="1124744"/>
              <a:ext cx="4175125" cy="721445"/>
            </a:xfrm>
            <a:prstGeom prst="rect">
              <a:avLst/>
            </a:prstGeom>
            <a:gradFill rotWithShape="1">
              <a:gsLst>
                <a:gs pos="0">
                  <a:srgbClr val="FFFFFF"/>
                </a:gs>
                <a:gs pos="100000">
                  <a:srgbClr val="C1C2C3"/>
                </a:gs>
              </a:gsLst>
              <a:lin ang="5400000" scaled="1"/>
            </a:gradFill>
            <a:ln w="12700" algn="ctr">
              <a:solidFill>
                <a:srgbClr val="C0C0C0"/>
              </a:solidFill>
              <a:miter lim="800000"/>
              <a:headEnd/>
              <a:tailEnd/>
            </a:ln>
          </p:spPr>
          <p:txBody>
            <a:bodyPr lIns="288000" tIns="0" rIns="0" bIns="0" anchor="ctr"/>
            <a:lstStyle/>
            <a:p>
              <a:pPr defTabSz="801688" eaLnBrk="0" hangingPunct="0"/>
              <a:r>
                <a:rPr lang="tr-TR" sz="2000" b="1" dirty="0"/>
                <a:t>Fatura bilgilerinin manuel girişi ve hata oranı yüksektir</a:t>
              </a:r>
            </a:p>
          </p:txBody>
        </p:sp>
        <p:pic>
          <p:nvPicPr>
            <p:cNvPr id="24"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27720" y="1918373"/>
              <a:ext cx="4165599" cy="214665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p:spPr>
        </p:pic>
      </p:grpSp>
      <p:grpSp>
        <p:nvGrpSpPr>
          <p:cNvPr id="5" name="Grup 4"/>
          <p:cNvGrpSpPr/>
          <p:nvPr/>
        </p:nvGrpSpPr>
        <p:grpSpPr>
          <a:xfrm>
            <a:off x="4742557" y="1351273"/>
            <a:ext cx="4175125" cy="2939744"/>
            <a:chOff x="-4142322" y="3201917"/>
            <a:chExt cx="4175125" cy="2939744"/>
          </a:xfrm>
        </p:grpSpPr>
        <p:sp>
          <p:nvSpPr>
            <p:cNvPr id="30" name="Rectangle 19"/>
            <p:cNvSpPr>
              <a:spLocks noChangeArrowheads="1"/>
            </p:cNvSpPr>
            <p:nvPr/>
          </p:nvSpPr>
          <p:spPr bwMode="gray">
            <a:xfrm>
              <a:off x="-4142322" y="3201917"/>
              <a:ext cx="4175125" cy="721445"/>
            </a:xfrm>
            <a:prstGeom prst="rect">
              <a:avLst/>
            </a:prstGeom>
            <a:gradFill rotWithShape="1">
              <a:gsLst>
                <a:gs pos="0">
                  <a:srgbClr val="FFFFFF"/>
                </a:gs>
                <a:gs pos="100000">
                  <a:srgbClr val="C1C2C3"/>
                </a:gs>
              </a:gsLst>
              <a:lin ang="5400000" scaled="1"/>
            </a:gradFill>
            <a:ln w="12700" algn="ctr">
              <a:solidFill>
                <a:srgbClr val="C0C0C0"/>
              </a:solidFill>
              <a:miter lim="800000"/>
              <a:headEnd/>
              <a:tailEnd/>
            </a:ln>
          </p:spPr>
          <p:txBody>
            <a:bodyPr lIns="288000" tIns="0" rIns="0" bIns="0" anchor="ctr"/>
            <a:lstStyle/>
            <a:p>
              <a:endParaRPr lang="tr-TR" sz="2000" b="1" dirty="0" smtClean="0">
                <a:solidFill>
                  <a:prstClr val="black"/>
                </a:solidFill>
              </a:endParaRPr>
            </a:p>
            <a:p>
              <a:r>
                <a:rPr lang="tr-TR" sz="2000" b="1" dirty="0" smtClean="0">
                  <a:solidFill>
                    <a:prstClr val="black"/>
                  </a:solidFill>
                </a:rPr>
                <a:t>Anlık </a:t>
              </a:r>
              <a:r>
                <a:rPr lang="tr-TR" sz="2000" b="1" dirty="0">
                  <a:solidFill>
                    <a:prstClr val="black"/>
                  </a:solidFill>
                </a:rPr>
                <a:t>ve otomatik veri kaydı ile hata ihtimalinin en aza indirgenmesi</a:t>
              </a:r>
            </a:p>
            <a:p>
              <a:endParaRPr lang="tr-TR" sz="2000" dirty="0"/>
            </a:p>
          </p:txBody>
        </p:sp>
        <p:pic>
          <p:nvPicPr>
            <p:cNvPr id="31" name="Picture 3"/>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520791" y="3996083"/>
              <a:ext cx="2880319" cy="214557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p:spPr>
        </p:pic>
      </p:grpSp>
      <p:grpSp>
        <p:nvGrpSpPr>
          <p:cNvPr id="21" name="Group 46"/>
          <p:cNvGrpSpPr>
            <a:grpSpLocks/>
          </p:cNvGrpSpPr>
          <p:nvPr/>
        </p:nvGrpSpPr>
        <p:grpSpPr bwMode="auto">
          <a:xfrm>
            <a:off x="4479636" y="1124986"/>
            <a:ext cx="516908" cy="505269"/>
            <a:chOff x="1891" y="2606"/>
            <a:chExt cx="680" cy="680"/>
          </a:xfrm>
        </p:grpSpPr>
        <p:sp>
          <p:nvSpPr>
            <p:cNvPr id="22" name="Oval 19"/>
            <p:cNvSpPr>
              <a:spLocks noChangeArrowheads="1"/>
            </p:cNvSpPr>
            <p:nvPr/>
          </p:nvSpPr>
          <p:spPr bwMode="auto">
            <a:xfrm>
              <a:off x="1891" y="2606"/>
              <a:ext cx="680" cy="680"/>
            </a:xfrm>
            <a:prstGeom prst="ellipse">
              <a:avLst/>
            </a:prstGeom>
            <a:gradFill rotWithShape="1">
              <a:gsLst>
                <a:gs pos="0">
                  <a:srgbClr val="B2B2B2">
                    <a:gamma/>
                    <a:tint val="24314"/>
                    <a:invGamma/>
                  </a:srgbClr>
                </a:gs>
                <a:gs pos="100000">
                  <a:srgbClr val="B2B2B2"/>
                </a:gs>
              </a:gsLst>
              <a:path path="shape">
                <a:fillToRect l="50000" t="50000" r="50000" b="50000"/>
              </a:path>
            </a:gradFill>
            <a:ln w="28575">
              <a:solidFill>
                <a:schemeClr val="bg1"/>
              </a:solidFill>
              <a:round/>
              <a:headEnd/>
              <a:tailEnd/>
            </a:ln>
            <a:effectLst>
              <a:outerShdw dist="53882" dir="2700000" algn="ctr" rotWithShape="0">
                <a:srgbClr val="808080">
                  <a:alpha val="50000"/>
                </a:srgbClr>
              </a:outerShdw>
            </a:effectLst>
          </p:spPr>
          <p:txBody>
            <a:bodyPr wrap="none" anchor="ctr"/>
            <a:lstStyle/>
            <a:p>
              <a:pPr>
                <a:defRPr/>
              </a:pPr>
              <a:endParaRPr lang="de-DE"/>
            </a:p>
          </p:txBody>
        </p:sp>
        <p:sp>
          <p:nvSpPr>
            <p:cNvPr id="23" name="WordArt 35"/>
            <p:cNvSpPr>
              <a:spLocks noChangeArrowheads="1" noChangeShapeType="1" noTextEdit="1"/>
            </p:cNvSpPr>
            <p:nvPr/>
          </p:nvSpPr>
          <p:spPr bwMode="auto">
            <a:xfrm>
              <a:off x="2026" y="2793"/>
              <a:ext cx="409" cy="361"/>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wrap="none" fromWordArt="1">
              <a:prstTxWarp prst="textPlain">
                <a:avLst>
                  <a:gd name="adj" fmla="val 50000"/>
                </a:avLst>
              </a:prstTxWarp>
            </a:bodyPr>
            <a:lstStyle/>
            <a:p>
              <a:pPr algn="ctr"/>
              <a:r>
                <a:rPr lang="tr-TR" sz="3600" kern="10" dirty="0">
                  <a:gradFill rotWithShape="1">
                    <a:gsLst>
                      <a:gs pos="0">
                        <a:srgbClr val="4C7013"/>
                      </a:gs>
                      <a:gs pos="100000">
                        <a:srgbClr val="233409"/>
                      </a:gs>
                    </a:gsLst>
                    <a:lin ang="2700000" scaled="1"/>
                  </a:gradFill>
                  <a:latin typeface="Wingdings"/>
                </a:rPr>
                <a:t></a:t>
              </a:r>
            </a:p>
          </p:txBody>
        </p:sp>
      </p:grpSp>
      <p:grpSp>
        <p:nvGrpSpPr>
          <p:cNvPr id="26" name="Group 45"/>
          <p:cNvGrpSpPr>
            <a:grpSpLocks/>
          </p:cNvGrpSpPr>
          <p:nvPr/>
        </p:nvGrpSpPr>
        <p:grpSpPr bwMode="auto">
          <a:xfrm>
            <a:off x="20477" y="1120755"/>
            <a:ext cx="516908" cy="505270"/>
            <a:chOff x="-5280" y="-725"/>
            <a:chExt cx="680" cy="680"/>
          </a:xfrm>
        </p:grpSpPr>
        <p:sp>
          <p:nvSpPr>
            <p:cNvPr id="27" name="Oval 41"/>
            <p:cNvSpPr>
              <a:spLocks noChangeArrowheads="1"/>
            </p:cNvSpPr>
            <p:nvPr/>
          </p:nvSpPr>
          <p:spPr bwMode="auto">
            <a:xfrm>
              <a:off x="-5280" y="-725"/>
              <a:ext cx="680" cy="680"/>
            </a:xfrm>
            <a:prstGeom prst="ellipse">
              <a:avLst/>
            </a:prstGeom>
            <a:gradFill rotWithShape="1">
              <a:gsLst>
                <a:gs pos="0">
                  <a:srgbClr val="B2B2B2">
                    <a:gamma/>
                    <a:tint val="24314"/>
                    <a:invGamma/>
                  </a:srgbClr>
                </a:gs>
                <a:gs pos="100000">
                  <a:srgbClr val="B2B2B2"/>
                </a:gs>
              </a:gsLst>
              <a:path path="shape">
                <a:fillToRect l="50000" t="50000" r="50000" b="50000"/>
              </a:path>
            </a:gradFill>
            <a:ln w="28575">
              <a:solidFill>
                <a:schemeClr val="bg1"/>
              </a:solidFill>
              <a:round/>
              <a:headEnd/>
              <a:tailEnd/>
            </a:ln>
            <a:effectLst>
              <a:outerShdw dist="53882" dir="2700000" algn="ctr" rotWithShape="0">
                <a:srgbClr val="808080">
                  <a:alpha val="50000"/>
                </a:srgbClr>
              </a:outerShdw>
            </a:effectLst>
          </p:spPr>
          <p:txBody>
            <a:bodyPr wrap="none" anchor="ctr"/>
            <a:lstStyle/>
            <a:p>
              <a:pPr>
                <a:defRPr/>
              </a:pPr>
              <a:endParaRPr lang="de-DE"/>
            </a:p>
          </p:txBody>
        </p:sp>
        <p:sp>
          <p:nvSpPr>
            <p:cNvPr id="32" name="WordArt 42"/>
            <p:cNvSpPr>
              <a:spLocks noChangeArrowheads="1" noChangeShapeType="1" noTextEdit="1"/>
            </p:cNvSpPr>
            <p:nvPr/>
          </p:nvSpPr>
          <p:spPr bwMode="auto">
            <a:xfrm>
              <a:off x="-5128" y="-553"/>
              <a:ext cx="376" cy="335"/>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wrap="none" fromWordArt="1">
              <a:prstTxWarp prst="textPlain">
                <a:avLst>
                  <a:gd name="adj" fmla="val 50000"/>
                </a:avLst>
              </a:prstTxWarp>
            </a:bodyPr>
            <a:lstStyle/>
            <a:p>
              <a:pPr algn="ctr"/>
              <a:r>
                <a:rPr lang="tr-TR" sz="3600" kern="10" dirty="0">
                  <a:gradFill rotWithShape="1">
                    <a:gsLst>
                      <a:gs pos="0">
                        <a:srgbClr val="C40505"/>
                      </a:gs>
                      <a:gs pos="100000">
                        <a:srgbClr val="5B0202"/>
                      </a:gs>
                    </a:gsLst>
                    <a:lin ang="2700000" scaled="1"/>
                  </a:gradFill>
                  <a:latin typeface="Wingdings"/>
                </a:rPr>
                <a:t>û</a:t>
              </a:r>
            </a:p>
          </p:txBody>
        </p:sp>
      </p:grpSp>
    </p:spTree>
    <p:extLst>
      <p:ext uri="{BB962C8B-B14F-4D97-AF65-F5344CB8AC3E}">
        <p14:creationId xmlns:p14="http://schemas.microsoft.com/office/powerpoint/2010/main" val="1882029992"/>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500" fill="hold"/>
                                        <p:tgtEl>
                                          <p:spTgt spid="18"/>
                                        </p:tgtEl>
                                        <p:attrNameLst>
                                          <p:attrName>ppt_x</p:attrName>
                                        </p:attrNameLst>
                                      </p:cBhvr>
                                      <p:tavLst>
                                        <p:tav tm="0">
                                          <p:val>
                                            <p:strVal val="0-#ppt_w/2"/>
                                          </p:val>
                                        </p:tav>
                                        <p:tav tm="100000">
                                          <p:val>
                                            <p:strVal val="#ppt_x"/>
                                          </p:val>
                                        </p:tav>
                                      </p:tavLst>
                                    </p:anim>
                                    <p:anim calcmode="lin" valueType="num">
                                      <p:cBhvr additive="base">
                                        <p:cTn id="8" dur="500" fill="hold"/>
                                        <p:tgtEl>
                                          <p:spTgt spid="18"/>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0"/>
                                  </p:stCondLst>
                                  <p:childTnLst>
                                    <p:set>
                                      <p:cBhvr>
                                        <p:cTn id="10" dur="1" fill="hold">
                                          <p:stCondLst>
                                            <p:cond delay="0"/>
                                          </p:stCondLst>
                                        </p:cTn>
                                        <p:tgtEl>
                                          <p:spTgt spid="2"/>
                                        </p:tgtEl>
                                        <p:attrNameLst>
                                          <p:attrName>style.visibility</p:attrName>
                                        </p:attrNameLst>
                                      </p:cBhvr>
                                      <p:to>
                                        <p:strVal val="visible"/>
                                      </p:to>
                                    </p:set>
                                    <p:anim calcmode="lin" valueType="num">
                                      <p:cBhvr additive="base">
                                        <p:cTn id="11" dur="500" fill="hold"/>
                                        <p:tgtEl>
                                          <p:spTgt spid="2"/>
                                        </p:tgtEl>
                                        <p:attrNameLst>
                                          <p:attrName>ppt_x</p:attrName>
                                        </p:attrNameLst>
                                      </p:cBhvr>
                                      <p:tavLst>
                                        <p:tav tm="0">
                                          <p:val>
                                            <p:strVal val="0-#ppt_w/2"/>
                                          </p:val>
                                        </p:tav>
                                        <p:tav tm="100000">
                                          <p:val>
                                            <p:strVal val="#ppt_x"/>
                                          </p:val>
                                        </p:tav>
                                      </p:tavLst>
                                    </p:anim>
                                    <p:anim calcmode="lin" valueType="num">
                                      <p:cBhvr additive="base">
                                        <p:cTn id="12" dur="500" fill="hold"/>
                                        <p:tgtEl>
                                          <p:spTgt spid="2"/>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2" presetClass="entr" presetSubtype="2" fill="hold" nodeType="afterEffect">
                                  <p:stCondLst>
                                    <p:cond delay="0"/>
                                  </p:stCondLst>
                                  <p:childTnLst>
                                    <p:set>
                                      <p:cBhvr>
                                        <p:cTn id="15" dur="1" fill="hold">
                                          <p:stCondLst>
                                            <p:cond delay="0"/>
                                          </p:stCondLst>
                                        </p:cTn>
                                        <p:tgtEl>
                                          <p:spTgt spid="5"/>
                                        </p:tgtEl>
                                        <p:attrNameLst>
                                          <p:attrName>style.visibility</p:attrName>
                                        </p:attrNameLst>
                                      </p:cBhvr>
                                      <p:to>
                                        <p:strVal val="visible"/>
                                      </p:to>
                                    </p:set>
                                    <p:anim calcmode="lin" valueType="num">
                                      <p:cBhvr additive="base">
                                        <p:cTn id="16" dur="500" fill="hold"/>
                                        <p:tgtEl>
                                          <p:spTgt spid="5"/>
                                        </p:tgtEl>
                                        <p:attrNameLst>
                                          <p:attrName>ppt_x</p:attrName>
                                        </p:attrNameLst>
                                      </p:cBhvr>
                                      <p:tavLst>
                                        <p:tav tm="0">
                                          <p:val>
                                            <p:strVal val="1+#ppt_w/2"/>
                                          </p:val>
                                        </p:tav>
                                        <p:tav tm="100000">
                                          <p:val>
                                            <p:strVal val="#ppt_x"/>
                                          </p:val>
                                        </p:tav>
                                      </p:tavLst>
                                    </p:anim>
                                    <p:anim calcmode="lin" valueType="num">
                                      <p:cBhvr additive="base">
                                        <p:cTn id="17" dur="500" fill="hold"/>
                                        <p:tgtEl>
                                          <p:spTgt spid="5"/>
                                        </p:tgtEl>
                                        <p:attrNameLst>
                                          <p:attrName>ppt_y</p:attrName>
                                        </p:attrNameLst>
                                      </p:cBhvr>
                                      <p:tavLst>
                                        <p:tav tm="0">
                                          <p:val>
                                            <p:strVal val="#ppt_y"/>
                                          </p:val>
                                        </p:tav>
                                        <p:tav tm="100000">
                                          <p:val>
                                            <p:strVal val="#ppt_y"/>
                                          </p:val>
                                        </p:tav>
                                      </p:tavLst>
                                    </p:anim>
                                  </p:childTnLst>
                                </p:cTn>
                              </p:par>
                              <p:par>
                                <p:cTn id="18" presetID="2" presetClass="entr" presetSubtype="2" fill="hold" grpId="0" nodeType="withEffect">
                                  <p:stCondLst>
                                    <p:cond delay="0"/>
                                  </p:stCondLst>
                                  <p:childTnLst>
                                    <p:set>
                                      <p:cBhvr>
                                        <p:cTn id="19" dur="1" fill="hold">
                                          <p:stCondLst>
                                            <p:cond delay="0"/>
                                          </p:stCondLst>
                                        </p:cTn>
                                        <p:tgtEl>
                                          <p:spTgt spid="20"/>
                                        </p:tgtEl>
                                        <p:attrNameLst>
                                          <p:attrName>style.visibility</p:attrName>
                                        </p:attrNameLst>
                                      </p:cBhvr>
                                      <p:to>
                                        <p:strVal val="visible"/>
                                      </p:to>
                                    </p:set>
                                    <p:anim calcmode="lin" valueType="num">
                                      <p:cBhvr additive="base">
                                        <p:cTn id="20" dur="500" fill="hold"/>
                                        <p:tgtEl>
                                          <p:spTgt spid="20"/>
                                        </p:tgtEl>
                                        <p:attrNameLst>
                                          <p:attrName>ppt_x</p:attrName>
                                        </p:attrNameLst>
                                      </p:cBhvr>
                                      <p:tavLst>
                                        <p:tav tm="0">
                                          <p:val>
                                            <p:strVal val="1+#ppt_w/2"/>
                                          </p:val>
                                        </p:tav>
                                        <p:tav tm="100000">
                                          <p:val>
                                            <p:strVal val="#ppt_x"/>
                                          </p:val>
                                        </p:tav>
                                      </p:tavLst>
                                    </p:anim>
                                    <p:anim calcmode="lin" valueType="num">
                                      <p:cBhvr additive="base">
                                        <p:cTn id="21" dur="500" fill="hold"/>
                                        <p:tgtEl>
                                          <p:spTgt spid="20"/>
                                        </p:tgtEl>
                                        <p:attrNameLst>
                                          <p:attrName>ppt_y</p:attrName>
                                        </p:attrNameLst>
                                      </p:cBhvr>
                                      <p:tavLst>
                                        <p:tav tm="0">
                                          <p:val>
                                            <p:strVal val="#ppt_y"/>
                                          </p:val>
                                        </p:tav>
                                        <p:tav tm="100000">
                                          <p:val>
                                            <p:strVal val="#ppt_y"/>
                                          </p:val>
                                        </p:tav>
                                      </p:tavLst>
                                    </p:anim>
                                  </p:childTnLst>
                                </p:cTn>
                              </p:par>
                            </p:childTnLst>
                          </p:cTn>
                        </p:par>
                        <p:par>
                          <p:cTn id="22" fill="hold">
                            <p:stCondLst>
                              <p:cond delay="1000"/>
                            </p:stCondLst>
                            <p:childTnLst>
                              <p:par>
                                <p:cTn id="23" presetID="10" presetClass="entr" presetSubtype="0" fill="hold" nodeType="afterEffect">
                                  <p:stCondLst>
                                    <p:cond delay="0"/>
                                  </p:stCondLst>
                                  <p:childTnLst>
                                    <p:set>
                                      <p:cBhvr>
                                        <p:cTn id="24" dur="1" fill="hold">
                                          <p:stCondLst>
                                            <p:cond delay="0"/>
                                          </p:stCondLst>
                                        </p:cTn>
                                        <p:tgtEl>
                                          <p:spTgt spid="21"/>
                                        </p:tgtEl>
                                        <p:attrNameLst>
                                          <p:attrName>style.visibility</p:attrName>
                                        </p:attrNameLst>
                                      </p:cBhvr>
                                      <p:to>
                                        <p:strVal val="visible"/>
                                      </p:to>
                                    </p:set>
                                    <p:animEffect transition="in" filter="fade">
                                      <p:cBhvr>
                                        <p:cTn id="25" dur="500"/>
                                        <p:tgtEl>
                                          <p:spTgt spid="21"/>
                                        </p:tgtEl>
                                      </p:cBhvr>
                                    </p:animEffect>
                                  </p:childTnLst>
                                </p:cTn>
                              </p:par>
                              <p:par>
                                <p:cTn id="26" presetID="10" presetClass="entr" presetSubtype="0" fill="hold" nodeType="withEffect">
                                  <p:stCondLst>
                                    <p:cond delay="0"/>
                                  </p:stCondLst>
                                  <p:childTnLst>
                                    <p:set>
                                      <p:cBhvr>
                                        <p:cTn id="27" dur="1" fill="hold">
                                          <p:stCondLst>
                                            <p:cond delay="0"/>
                                          </p:stCondLst>
                                        </p:cTn>
                                        <p:tgtEl>
                                          <p:spTgt spid="26"/>
                                        </p:tgtEl>
                                        <p:attrNameLst>
                                          <p:attrName>style.visibility</p:attrName>
                                        </p:attrNameLst>
                                      </p:cBhvr>
                                      <p:to>
                                        <p:strVal val="visible"/>
                                      </p:to>
                                    </p:set>
                                    <p:animEffect transition="in" filter="fade">
                                      <p:cBhvr>
                                        <p:cTn id="28"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20"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95"/>
          <p:cNvSpPr txBox="1">
            <a:spLocks noChangeArrowheads="1"/>
          </p:cNvSpPr>
          <p:nvPr/>
        </p:nvSpPr>
        <p:spPr>
          <a:xfrm>
            <a:off x="300038" y="58738"/>
            <a:ext cx="8520112" cy="1000125"/>
          </a:xfrm>
          <a:prstGeom prst="rect">
            <a:avLst/>
          </a:prstGeom>
        </p:spPr>
        <p:txBody>
          <a:bodyPr lIns="0" tIns="0" rIns="0" bIns="0" anchor="ctr"/>
          <a:lstStyle/>
          <a:p>
            <a:pPr algn="ctr" eaLnBrk="0" hangingPunct="0">
              <a:lnSpc>
                <a:spcPct val="90000"/>
              </a:lnSpc>
              <a:defRPr/>
            </a:pPr>
            <a:r>
              <a:rPr lang="tr-TR" sz="3000" b="1" kern="0" dirty="0" smtClean="0">
                <a:solidFill>
                  <a:schemeClr val="tx2">
                    <a:lumMod val="50000"/>
                  </a:schemeClr>
                </a:solidFill>
              </a:rPr>
              <a:t>ARŞİVLEME</a:t>
            </a:r>
            <a:endParaRPr lang="en-US" sz="3000" b="1" kern="0" noProof="1">
              <a:solidFill>
                <a:schemeClr val="tx2">
                  <a:lumMod val="50000"/>
                </a:schemeClr>
              </a:solidFill>
            </a:endParaRPr>
          </a:p>
        </p:txBody>
      </p:sp>
      <p:sp>
        <p:nvSpPr>
          <p:cNvPr id="3082" name="Rectangle 4"/>
          <p:cNvSpPr>
            <a:spLocks noChangeArrowheads="1"/>
          </p:cNvSpPr>
          <p:nvPr/>
        </p:nvSpPr>
        <p:spPr bwMode="gray">
          <a:xfrm>
            <a:off x="304800" y="827088"/>
            <a:ext cx="5753100" cy="35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defTabSz="801688" eaLnBrk="0" hangingPunct="0"/>
            <a:endParaRPr lang="en-GB" sz="2000" dirty="0">
              <a:solidFill>
                <a:prstClr val="white"/>
              </a:solidFill>
            </a:endParaRPr>
          </a:p>
        </p:txBody>
      </p:sp>
      <p:sp>
        <p:nvSpPr>
          <p:cNvPr id="18" name="Pfeil nach links 25"/>
          <p:cNvSpPr/>
          <p:nvPr/>
        </p:nvSpPr>
        <p:spPr>
          <a:xfrm flipH="1">
            <a:off x="1214223" y="4090667"/>
            <a:ext cx="3789825" cy="2053073"/>
          </a:xfrm>
          <a:prstGeom prst="leftArrow">
            <a:avLst>
              <a:gd name="adj1" fmla="val 48544"/>
              <a:gd name="adj2" fmla="val 83864"/>
            </a:avLst>
          </a:prstGeom>
          <a:solidFill>
            <a:schemeClr val="bg1">
              <a:lumMod val="65000"/>
            </a:schemeClr>
          </a:solidFill>
          <a:ln w="34925">
            <a:noFill/>
          </a:ln>
          <a:effectLst>
            <a:outerShdw blurRad="317500" dir="2700000" algn="ctr">
              <a:srgbClr val="000000">
                <a:alpha val="43000"/>
              </a:srgbClr>
            </a:outerShdw>
          </a:effectLst>
          <a:scene3d>
            <a:camera prst="perspectiveLeft" fov="4800000">
              <a:rot lat="17880000" lon="0" rev="0"/>
            </a:camera>
            <a:lightRig rig="threePt" dir="t">
              <a:rot lat="0" lon="0" rev="2400000"/>
            </a:lightRig>
          </a:scene3d>
          <a:sp3d extrusionH="38100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tr-TR" sz="2400" noProof="1" smtClean="0">
                <a:solidFill>
                  <a:schemeClr val="tx1"/>
                </a:solidFill>
              </a:rPr>
              <a:t>KAĞIT FATURA </a:t>
            </a:r>
            <a:endParaRPr lang="en-US" sz="2400" noProof="1">
              <a:solidFill>
                <a:schemeClr val="tx1"/>
              </a:solidFill>
            </a:endParaRPr>
          </a:p>
        </p:txBody>
      </p:sp>
      <p:sp>
        <p:nvSpPr>
          <p:cNvPr id="20" name="Pfeil nach links 24"/>
          <p:cNvSpPr/>
          <p:nvPr/>
        </p:nvSpPr>
        <p:spPr>
          <a:xfrm>
            <a:off x="3995934" y="4711840"/>
            <a:ext cx="3789825" cy="2053073"/>
          </a:xfrm>
          <a:prstGeom prst="leftArrow">
            <a:avLst>
              <a:gd name="adj1" fmla="val 48544"/>
              <a:gd name="adj2" fmla="val 83864"/>
            </a:avLst>
          </a:prstGeom>
          <a:solidFill>
            <a:schemeClr val="accent5">
              <a:lumMod val="75000"/>
            </a:schemeClr>
          </a:solidFill>
          <a:ln w="34925">
            <a:noFill/>
          </a:ln>
          <a:effectLst>
            <a:outerShdw blurRad="317500" dir="2700000" algn="ctr">
              <a:srgbClr val="000000">
                <a:alpha val="43000"/>
              </a:srgbClr>
            </a:outerShdw>
          </a:effectLst>
          <a:scene3d>
            <a:camera prst="perspectiveLeft" fov="4800000">
              <a:rot lat="17880000" lon="0" rev="0"/>
            </a:camera>
            <a:lightRig rig="threePt" dir="t">
              <a:rot lat="0" lon="0" rev="2400000"/>
            </a:lightRig>
          </a:scene3d>
          <a:sp3d extrusionH="38100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tr-TR" sz="3200" noProof="1" smtClean="0"/>
              <a:t>E-FATURA</a:t>
            </a:r>
            <a:endParaRPr lang="en-US" sz="3200" noProof="1"/>
          </a:p>
        </p:txBody>
      </p:sp>
      <p:grpSp>
        <p:nvGrpSpPr>
          <p:cNvPr id="2" name="Grup 1"/>
          <p:cNvGrpSpPr/>
          <p:nvPr/>
        </p:nvGrpSpPr>
        <p:grpSpPr>
          <a:xfrm>
            <a:off x="251520" y="1340768"/>
            <a:ext cx="4193281" cy="2940280"/>
            <a:chOff x="300038" y="1124744"/>
            <a:chExt cx="4193281" cy="2940280"/>
          </a:xfrm>
        </p:grpSpPr>
        <p:sp>
          <p:nvSpPr>
            <p:cNvPr id="3075" name="Rectangle 19"/>
            <p:cNvSpPr>
              <a:spLocks noChangeArrowheads="1"/>
            </p:cNvSpPr>
            <p:nvPr/>
          </p:nvSpPr>
          <p:spPr bwMode="gray">
            <a:xfrm>
              <a:off x="300038" y="1124744"/>
              <a:ext cx="4175125" cy="721445"/>
            </a:xfrm>
            <a:prstGeom prst="rect">
              <a:avLst/>
            </a:prstGeom>
            <a:gradFill rotWithShape="1">
              <a:gsLst>
                <a:gs pos="0">
                  <a:srgbClr val="FFFFFF"/>
                </a:gs>
                <a:gs pos="100000">
                  <a:srgbClr val="C1C2C3"/>
                </a:gs>
              </a:gsLst>
              <a:lin ang="5400000" scaled="1"/>
            </a:gradFill>
            <a:ln w="12700" algn="ctr">
              <a:solidFill>
                <a:srgbClr val="C0C0C0"/>
              </a:solidFill>
              <a:miter lim="800000"/>
              <a:headEnd/>
              <a:tailEnd/>
            </a:ln>
          </p:spPr>
          <p:txBody>
            <a:bodyPr lIns="288000" tIns="0" rIns="0" bIns="0" anchor="ctr"/>
            <a:lstStyle/>
            <a:p>
              <a:pPr defTabSz="801688" eaLnBrk="0" hangingPunct="0"/>
              <a:r>
                <a:rPr lang="tr-TR" b="1" dirty="0"/>
                <a:t>Belgelerin arşivlenmesi için depolama ve sorgu </a:t>
              </a:r>
              <a:r>
                <a:rPr lang="tr-TR" b="1" dirty="0" smtClean="0"/>
                <a:t>maliyeti yüksektir</a:t>
              </a:r>
              <a:r>
                <a:rPr lang="tr-TR" b="1" dirty="0"/>
                <a:t>. </a:t>
              </a:r>
            </a:p>
          </p:txBody>
        </p:sp>
        <p:pic>
          <p:nvPicPr>
            <p:cNvPr id="24"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27720" y="1918373"/>
              <a:ext cx="4165599" cy="214665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p:spPr>
        </p:pic>
      </p:grpSp>
      <p:grpSp>
        <p:nvGrpSpPr>
          <p:cNvPr id="5" name="Grup 4"/>
          <p:cNvGrpSpPr/>
          <p:nvPr/>
        </p:nvGrpSpPr>
        <p:grpSpPr>
          <a:xfrm>
            <a:off x="4718690" y="1351273"/>
            <a:ext cx="4198992" cy="2939744"/>
            <a:chOff x="-4166189" y="3201917"/>
            <a:chExt cx="4198992" cy="2939744"/>
          </a:xfrm>
        </p:grpSpPr>
        <p:sp>
          <p:nvSpPr>
            <p:cNvPr id="30" name="Rectangle 19"/>
            <p:cNvSpPr>
              <a:spLocks noChangeArrowheads="1"/>
            </p:cNvSpPr>
            <p:nvPr/>
          </p:nvSpPr>
          <p:spPr bwMode="gray">
            <a:xfrm>
              <a:off x="-4142322" y="3201917"/>
              <a:ext cx="4175125" cy="721445"/>
            </a:xfrm>
            <a:prstGeom prst="rect">
              <a:avLst/>
            </a:prstGeom>
            <a:gradFill rotWithShape="1">
              <a:gsLst>
                <a:gs pos="0">
                  <a:srgbClr val="FFFFFF"/>
                </a:gs>
                <a:gs pos="100000">
                  <a:srgbClr val="C1C2C3"/>
                </a:gs>
              </a:gsLst>
              <a:lin ang="5400000" scaled="1"/>
            </a:gradFill>
            <a:ln w="12700" algn="ctr">
              <a:solidFill>
                <a:srgbClr val="C0C0C0"/>
              </a:solidFill>
              <a:miter lim="800000"/>
              <a:headEnd/>
              <a:tailEnd/>
            </a:ln>
          </p:spPr>
          <p:txBody>
            <a:bodyPr lIns="288000" tIns="0" rIns="0" bIns="0" anchor="ctr"/>
            <a:lstStyle/>
            <a:p>
              <a:pPr defTabSz="801688" eaLnBrk="0" hangingPunct="0"/>
              <a:r>
                <a:rPr lang="tr-TR" b="1" dirty="0">
                  <a:solidFill>
                    <a:prstClr val="black"/>
                  </a:solidFill>
                </a:rPr>
                <a:t>Elektronik arşivleme  ve Fatura bilgilerine sistem sorgusuyla anında erişim</a:t>
              </a:r>
            </a:p>
          </p:txBody>
        </p:sp>
        <p:pic>
          <p:nvPicPr>
            <p:cNvPr id="31" name="Picture 3"/>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4166189" y="3996083"/>
              <a:ext cx="4163515" cy="214557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p:spPr>
        </p:pic>
      </p:grpSp>
      <p:grpSp>
        <p:nvGrpSpPr>
          <p:cNvPr id="21" name="Group 46"/>
          <p:cNvGrpSpPr>
            <a:grpSpLocks/>
          </p:cNvGrpSpPr>
          <p:nvPr/>
        </p:nvGrpSpPr>
        <p:grpSpPr bwMode="auto">
          <a:xfrm>
            <a:off x="4479636" y="1124986"/>
            <a:ext cx="516908" cy="505269"/>
            <a:chOff x="1891" y="2606"/>
            <a:chExt cx="680" cy="680"/>
          </a:xfrm>
        </p:grpSpPr>
        <p:sp>
          <p:nvSpPr>
            <p:cNvPr id="22" name="Oval 19"/>
            <p:cNvSpPr>
              <a:spLocks noChangeArrowheads="1"/>
            </p:cNvSpPr>
            <p:nvPr/>
          </p:nvSpPr>
          <p:spPr bwMode="auto">
            <a:xfrm>
              <a:off x="1891" y="2606"/>
              <a:ext cx="680" cy="680"/>
            </a:xfrm>
            <a:prstGeom prst="ellipse">
              <a:avLst/>
            </a:prstGeom>
            <a:gradFill rotWithShape="1">
              <a:gsLst>
                <a:gs pos="0">
                  <a:srgbClr val="B2B2B2">
                    <a:gamma/>
                    <a:tint val="24314"/>
                    <a:invGamma/>
                  </a:srgbClr>
                </a:gs>
                <a:gs pos="100000">
                  <a:srgbClr val="B2B2B2"/>
                </a:gs>
              </a:gsLst>
              <a:path path="shape">
                <a:fillToRect l="50000" t="50000" r="50000" b="50000"/>
              </a:path>
            </a:gradFill>
            <a:ln w="28575">
              <a:solidFill>
                <a:schemeClr val="bg1"/>
              </a:solidFill>
              <a:round/>
              <a:headEnd/>
              <a:tailEnd/>
            </a:ln>
            <a:effectLst>
              <a:outerShdw dist="53882" dir="2700000" algn="ctr" rotWithShape="0">
                <a:srgbClr val="808080">
                  <a:alpha val="50000"/>
                </a:srgbClr>
              </a:outerShdw>
            </a:effectLst>
          </p:spPr>
          <p:txBody>
            <a:bodyPr wrap="none" anchor="ctr"/>
            <a:lstStyle/>
            <a:p>
              <a:pPr>
                <a:defRPr/>
              </a:pPr>
              <a:endParaRPr lang="de-DE"/>
            </a:p>
          </p:txBody>
        </p:sp>
        <p:sp>
          <p:nvSpPr>
            <p:cNvPr id="23" name="WordArt 35"/>
            <p:cNvSpPr>
              <a:spLocks noChangeArrowheads="1" noChangeShapeType="1" noTextEdit="1"/>
            </p:cNvSpPr>
            <p:nvPr/>
          </p:nvSpPr>
          <p:spPr bwMode="auto">
            <a:xfrm>
              <a:off x="2026" y="2793"/>
              <a:ext cx="409" cy="361"/>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wrap="none" fromWordArt="1">
              <a:prstTxWarp prst="textPlain">
                <a:avLst>
                  <a:gd name="adj" fmla="val 50000"/>
                </a:avLst>
              </a:prstTxWarp>
            </a:bodyPr>
            <a:lstStyle/>
            <a:p>
              <a:pPr algn="ctr"/>
              <a:r>
                <a:rPr lang="tr-TR" sz="3600" kern="10" dirty="0">
                  <a:gradFill rotWithShape="1">
                    <a:gsLst>
                      <a:gs pos="0">
                        <a:srgbClr val="4C7013"/>
                      </a:gs>
                      <a:gs pos="100000">
                        <a:srgbClr val="233409"/>
                      </a:gs>
                    </a:gsLst>
                    <a:lin ang="2700000" scaled="1"/>
                  </a:gradFill>
                  <a:latin typeface="Wingdings"/>
                </a:rPr>
                <a:t></a:t>
              </a:r>
            </a:p>
          </p:txBody>
        </p:sp>
      </p:grpSp>
      <p:grpSp>
        <p:nvGrpSpPr>
          <p:cNvPr id="26" name="Group 45"/>
          <p:cNvGrpSpPr>
            <a:grpSpLocks/>
          </p:cNvGrpSpPr>
          <p:nvPr/>
        </p:nvGrpSpPr>
        <p:grpSpPr bwMode="auto">
          <a:xfrm>
            <a:off x="20476" y="1120755"/>
            <a:ext cx="8121538" cy="3023447"/>
            <a:chOff x="-5280" y="-725"/>
            <a:chExt cx="10684" cy="4069"/>
          </a:xfrm>
        </p:grpSpPr>
        <p:sp>
          <p:nvSpPr>
            <p:cNvPr id="27" name="Oval 41"/>
            <p:cNvSpPr>
              <a:spLocks noChangeArrowheads="1"/>
            </p:cNvSpPr>
            <p:nvPr/>
          </p:nvSpPr>
          <p:spPr bwMode="auto">
            <a:xfrm>
              <a:off x="-5280" y="-725"/>
              <a:ext cx="680" cy="680"/>
            </a:xfrm>
            <a:prstGeom prst="ellipse">
              <a:avLst/>
            </a:prstGeom>
            <a:gradFill rotWithShape="1">
              <a:gsLst>
                <a:gs pos="0">
                  <a:srgbClr val="B2B2B2">
                    <a:gamma/>
                    <a:tint val="24314"/>
                    <a:invGamma/>
                  </a:srgbClr>
                </a:gs>
                <a:gs pos="100000">
                  <a:srgbClr val="B2B2B2"/>
                </a:gs>
              </a:gsLst>
              <a:path path="shape">
                <a:fillToRect l="50000" t="50000" r="50000" b="50000"/>
              </a:path>
            </a:gradFill>
            <a:ln w="28575">
              <a:solidFill>
                <a:schemeClr val="bg1"/>
              </a:solidFill>
              <a:round/>
              <a:headEnd/>
              <a:tailEnd/>
            </a:ln>
            <a:effectLst>
              <a:outerShdw dist="53882" dir="2700000" algn="ctr" rotWithShape="0">
                <a:srgbClr val="808080">
                  <a:alpha val="50000"/>
                </a:srgbClr>
              </a:outerShdw>
            </a:effectLst>
          </p:spPr>
          <p:txBody>
            <a:bodyPr wrap="none" anchor="ctr"/>
            <a:lstStyle/>
            <a:p>
              <a:pPr>
                <a:defRPr/>
              </a:pPr>
              <a:endParaRPr lang="de-DE"/>
            </a:p>
          </p:txBody>
        </p:sp>
        <p:sp>
          <p:nvSpPr>
            <p:cNvPr id="32" name="WordArt 42"/>
            <p:cNvSpPr>
              <a:spLocks noChangeArrowheads="1" noChangeShapeType="1" noTextEdit="1"/>
            </p:cNvSpPr>
            <p:nvPr/>
          </p:nvSpPr>
          <p:spPr bwMode="auto">
            <a:xfrm>
              <a:off x="-5128" y="-553"/>
              <a:ext cx="376" cy="335"/>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wrap="none" fromWordArt="1">
              <a:prstTxWarp prst="textPlain">
                <a:avLst>
                  <a:gd name="adj" fmla="val 50000"/>
                </a:avLst>
              </a:prstTxWarp>
            </a:bodyPr>
            <a:lstStyle/>
            <a:p>
              <a:pPr algn="ctr"/>
              <a:r>
                <a:rPr lang="tr-TR" sz="3600" kern="10" dirty="0">
                  <a:gradFill rotWithShape="1">
                    <a:gsLst>
                      <a:gs pos="0">
                        <a:srgbClr val="C40505"/>
                      </a:gs>
                      <a:gs pos="100000">
                        <a:srgbClr val="5B0202"/>
                      </a:gs>
                    </a:gsLst>
                    <a:lin ang="2700000" scaled="1"/>
                  </a:gradFill>
                  <a:latin typeface="Wingdings"/>
                </a:rPr>
                <a:t>û</a:t>
              </a:r>
            </a:p>
          </p:txBody>
        </p:sp>
        <p:sp>
          <p:nvSpPr>
            <p:cNvPr id="33" name="Oval 43"/>
            <p:cNvSpPr>
              <a:spLocks noChangeArrowheads="1"/>
            </p:cNvSpPr>
            <p:nvPr/>
          </p:nvSpPr>
          <p:spPr bwMode="auto">
            <a:xfrm>
              <a:off x="5028" y="3080"/>
              <a:ext cx="376" cy="264"/>
            </a:xfrm>
            <a:prstGeom prst="ellipse">
              <a:avLst/>
            </a:prstGeom>
            <a:gradFill rotWithShape="1">
              <a:gsLst>
                <a:gs pos="0">
                  <a:schemeClr val="bg1"/>
                </a:gs>
                <a:gs pos="100000">
                  <a:schemeClr val="bg1">
                    <a:gamma/>
                    <a:shade val="89020"/>
                    <a:invGamma/>
                    <a:alpha val="0"/>
                  </a:schemeClr>
                </a:gs>
              </a:gsLst>
              <a:lin ang="5400000" scaled="1"/>
            </a:gradFill>
            <a:ln w="9525">
              <a:noFill/>
              <a:round/>
              <a:headEnd/>
              <a:tailEnd/>
            </a:ln>
            <a:effectLst/>
          </p:spPr>
          <p:txBody>
            <a:bodyPr wrap="none" anchor="ctr"/>
            <a:lstStyle/>
            <a:p>
              <a:pPr>
                <a:defRPr/>
              </a:pPr>
              <a:endParaRPr lang="de-DE"/>
            </a:p>
          </p:txBody>
        </p:sp>
      </p:grpSp>
    </p:spTree>
    <p:extLst>
      <p:ext uri="{BB962C8B-B14F-4D97-AF65-F5344CB8AC3E}">
        <p14:creationId xmlns:p14="http://schemas.microsoft.com/office/powerpoint/2010/main" val="322003521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500" fill="hold"/>
                                        <p:tgtEl>
                                          <p:spTgt spid="18"/>
                                        </p:tgtEl>
                                        <p:attrNameLst>
                                          <p:attrName>ppt_x</p:attrName>
                                        </p:attrNameLst>
                                      </p:cBhvr>
                                      <p:tavLst>
                                        <p:tav tm="0">
                                          <p:val>
                                            <p:strVal val="0-#ppt_w/2"/>
                                          </p:val>
                                        </p:tav>
                                        <p:tav tm="100000">
                                          <p:val>
                                            <p:strVal val="#ppt_x"/>
                                          </p:val>
                                        </p:tav>
                                      </p:tavLst>
                                    </p:anim>
                                    <p:anim calcmode="lin" valueType="num">
                                      <p:cBhvr additive="base">
                                        <p:cTn id="8" dur="500" fill="hold"/>
                                        <p:tgtEl>
                                          <p:spTgt spid="18"/>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0"/>
                                  </p:stCondLst>
                                  <p:childTnLst>
                                    <p:set>
                                      <p:cBhvr>
                                        <p:cTn id="10" dur="1" fill="hold">
                                          <p:stCondLst>
                                            <p:cond delay="0"/>
                                          </p:stCondLst>
                                        </p:cTn>
                                        <p:tgtEl>
                                          <p:spTgt spid="2"/>
                                        </p:tgtEl>
                                        <p:attrNameLst>
                                          <p:attrName>style.visibility</p:attrName>
                                        </p:attrNameLst>
                                      </p:cBhvr>
                                      <p:to>
                                        <p:strVal val="visible"/>
                                      </p:to>
                                    </p:set>
                                    <p:anim calcmode="lin" valueType="num">
                                      <p:cBhvr additive="base">
                                        <p:cTn id="11" dur="500" fill="hold"/>
                                        <p:tgtEl>
                                          <p:spTgt spid="2"/>
                                        </p:tgtEl>
                                        <p:attrNameLst>
                                          <p:attrName>ppt_x</p:attrName>
                                        </p:attrNameLst>
                                      </p:cBhvr>
                                      <p:tavLst>
                                        <p:tav tm="0">
                                          <p:val>
                                            <p:strVal val="0-#ppt_w/2"/>
                                          </p:val>
                                        </p:tav>
                                        <p:tav tm="100000">
                                          <p:val>
                                            <p:strVal val="#ppt_x"/>
                                          </p:val>
                                        </p:tav>
                                      </p:tavLst>
                                    </p:anim>
                                    <p:anim calcmode="lin" valueType="num">
                                      <p:cBhvr additive="base">
                                        <p:cTn id="12" dur="500" fill="hold"/>
                                        <p:tgtEl>
                                          <p:spTgt spid="2"/>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2" presetClass="entr" presetSubtype="2" fill="hold" nodeType="afterEffect">
                                  <p:stCondLst>
                                    <p:cond delay="0"/>
                                  </p:stCondLst>
                                  <p:childTnLst>
                                    <p:set>
                                      <p:cBhvr>
                                        <p:cTn id="15" dur="1" fill="hold">
                                          <p:stCondLst>
                                            <p:cond delay="0"/>
                                          </p:stCondLst>
                                        </p:cTn>
                                        <p:tgtEl>
                                          <p:spTgt spid="5"/>
                                        </p:tgtEl>
                                        <p:attrNameLst>
                                          <p:attrName>style.visibility</p:attrName>
                                        </p:attrNameLst>
                                      </p:cBhvr>
                                      <p:to>
                                        <p:strVal val="visible"/>
                                      </p:to>
                                    </p:set>
                                    <p:anim calcmode="lin" valueType="num">
                                      <p:cBhvr additive="base">
                                        <p:cTn id="16" dur="500" fill="hold"/>
                                        <p:tgtEl>
                                          <p:spTgt spid="5"/>
                                        </p:tgtEl>
                                        <p:attrNameLst>
                                          <p:attrName>ppt_x</p:attrName>
                                        </p:attrNameLst>
                                      </p:cBhvr>
                                      <p:tavLst>
                                        <p:tav tm="0">
                                          <p:val>
                                            <p:strVal val="1+#ppt_w/2"/>
                                          </p:val>
                                        </p:tav>
                                        <p:tav tm="100000">
                                          <p:val>
                                            <p:strVal val="#ppt_x"/>
                                          </p:val>
                                        </p:tav>
                                      </p:tavLst>
                                    </p:anim>
                                    <p:anim calcmode="lin" valueType="num">
                                      <p:cBhvr additive="base">
                                        <p:cTn id="17" dur="500" fill="hold"/>
                                        <p:tgtEl>
                                          <p:spTgt spid="5"/>
                                        </p:tgtEl>
                                        <p:attrNameLst>
                                          <p:attrName>ppt_y</p:attrName>
                                        </p:attrNameLst>
                                      </p:cBhvr>
                                      <p:tavLst>
                                        <p:tav tm="0">
                                          <p:val>
                                            <p:strVal val="#ppt_y"/>
                                          </p:val>
                                        </p:tav>
                                        <p:tav tm="100000">
                                          <p:val>
                                            <p:strVal val="#ppt_y"/>
                                          </p:val>
                                        </p:tav>
                                      </p:tavLst>
                                    </p:anim>
                                  </p:childTnLst>
                                </p:cTn>
                              </p:par>
                              <p:par>
                                <p:cTn id="18" presetID="2" presetClass="entr" presetSubtype="2" fill="hold" grpId="0" nodeType="withEffect">
                                  <p:stCondLst>
                                    <p:cond delay="0"/>
                                  </p:stCondLst>
                                  <p:childTnLst>
                                    <p:set>
                                      <p:cBhvr>
                                        <p:cTn id="19" dur="1" fill="hold">
                                          <p:stCondLst>
                                            <p:cond delay="0"/>
                                          </p:stCondLst>
                                        </p:cTn>
                                        <p:tgtEl>
                                          <p:spTgt spid="20"/>
                                        </p:tgtEl>
                                        <p:attrNameLst>
                                          <p:attrName>style.visibility</p:attrName>
                                        </p:attrNameLst>
                                      </p:cBhvr>
                                      <p:to>
                                        <p:strVal val="visible"/>
                                      </p:to>
                                    </p:set>
                                    <p:anim calcmode="lin" valueType="num">
                                      <p:cBhvr additive="base">
                                        <p:cTn id="20" dur="500" fill="hold"/>
                                        <p:tgtEl>
                                          <p:spTgt spid="20"/>
                                        </p:tgtEl>
                                        <p:attrNameLst>
                                          <p:attrName>ppt_x</p:attrName>
                                        </p:attrNameLst>
                                      </p:cBhvr>
                                      <p:tavLst>
                                        <p:tav tm="0">
                                          <p:val>
                                            <p:strVal val="1+#ppt_w/2"/>
                                          </p:val>
                                        </p:tav>
                                        <p:tav tm="100000">
                                          <p:val>
                                            <p:strVal val="#ppt_x"/>
                                          </p:val>
                                        </p:tav>
                                      </p:tavLst>
                                    </p:anim>
                                    <p:anim calcmode="lin" valueType="num">
                                      <p:cBhvr additive="base">
                                        <p:cTn id="21" dur="500" fill="hold"/>
                                        <p:tgtEl>
                                          <p:spTgt spid="20"/>
                                        </p:tgtEl>
                                        <p:attrNameLst>
                                          <p:attrName>ppt_y</p:attrName>
                                        </p:attrNameLst>
                                      </p:cBhvr>
                                      <p:tavLst>
                                        <p:tav tm="0">
                                          <p:val>
                                            <p:strVal val="#ppt_y"/>
                                          </p:val>
                                        </p:tav>
                                        <p:tav tm="100000">
                                          <p:val>
                                            <p:strVal val="#ppt_y"/>
                                          </p:val>
                                        </p:tav>
                                      </p:tavLst>
                                    </p:anim>
                                  </p:childTnLst>
                                </p:cTn>
                              </p:par>
                            </p:childTnLst>
                          </p:cTn>
                        </p:par>
                        <p:par>
                          <p:cTn id="22" fill="hold">
                            <p:stCondLst>
                              <p:cond delay="1000"/>
                            </p:stCondLst>
                            <p:childTnLst>
                              <p:par>
                                <p:cTn id="23" presetID="10" presetClass="entr" presetSubtype="0" fill="hold" nodeType="afterEffect">
                                  <p:stCondLst>
                                    <p:cond delay="0"/>
                                  </p:stCondLst>
                                  <p:childTnLst>
                                    <p:set>
                                      <p:cBhvr>
                                        <p:cTn id="24" dur="1" fill="hold">
                                          <p:stCondLst>
                                            <p:cond delay="0"/>
                                          </p:stCondLst>
                                        </p:cTn>
                                        <p:tgtEl>
                                          <p:spTgt spid="21"/>
                                        </p:tgtEl>
                                        <p:attrNameLst>
                                          <p:attrName>style.visibility</p:attrName>
                                        </p:attrNameLst>
                                      </p:cBhvr>
                                      <p:to>
                                        <p:strVal val="visible"/>
                                      </p:to>
                                    </p:set>
                                    <p:animEffect transition="in" filter="fade">
                                      <p:cBhvr>
                                        <p:cTn id="25" dur="500"/>
                                        <p:tgtEl>
                                          <p:spTgt spid="21"/>
                                        </p:tgtEl>
                                      </p:cBhvr>
                                    </p:animEffect>
                                  </p:childTnLst>
                                </p:cTn>
                              </p:par>
                              <p:par>
                                <p:cTn id="26" presetID="10" presetClass="entr" presetSubtype="0" fill="hold" nodeType="withEffect">
                                  <p:stCondLst>
                                    <p:cond delay="0"/>
                                  </p:stCondLst>
                                  <p:childTnLst>
                                    <p:set>
                                      <p:cBhvr>
                                        <p:cTn id="27" dur="1" fill="hold">
                                          <p:stCondLst>
                                            <p:cond delay="0"/>
                                          </p:stCondLst>
                                        </p:cTn>
                                        <p:tgtEl>
                                          <p:spTgt spid="26"/>
                                        </p:tgtEl>
                                        <p:attrNameLst>
                                          <p:attrName>style.visibility</p:attrName>
                                        </p:attrNameLst>
                                      </p:cBhvr>
                                      <p:to>
                                        <p:strVal val="visible"/>
                                      </p:to>
                                    </p:set>
                                    <p:animEffect transition="in" filter="fade">
                                      <p:cBhvr>
                                        <p:cTn id="28"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20"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a:xfrm rot="10800000">
            <a:off x="0" y="0"/>
            <a:ext cx="9144000" cy="6858000"/>
          </a:xfrm>
          <a:prstGeom prst="rect">
            <a:avLst/>
          </a:prstGeom>
          <a:gradFill>
            <a:gsLst>
              <a:gs pos="50000">
                <a:schemeClr val="bg1"/>
              </a:gs>
              <a:gs pos="100000">
                <a:schemeClr val="bg1">
                  <a:lumMod val="85000"/>
                </a:schemeClr>
              </a:gs>
              <a:gs pos="74000">
                <a:schemeClr val="bg1">
                  <a:lumMod val="95000"/>
                </a:schemeClr>
              </a:gs>
            </a:gsLs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endParaRPr lang="en-US">
              <a:solidFill>
                <a:srgbClr val="FFFFFF"/>
              </a:solidFill>
              <a:ea typeface="ＭＳ Ｐゴシック" pitchFamily="-109" charset="-128"/>
            </a:endParaRPr>
          </a:p>
        </p:txBody>
      </p:sp>
      <p:sp>
        <p:nvSpPr>
          <p:cNvPr id="24" name="Freeform 23"/>
          <p:cNvSpPr>
            <a:spLocks noChangeArrowheads="1"/>
          </p:cNvSpPr>
          <p:nvPr/>
        </p:nvSpPr>
        <p:spPr bwMode="auto">
          <a:xfrm>
            <a:off x="0" y="1473200"/>
            <a:ext cx="1295400" cy="1104900"/>
          </a:xfrm>
          <a:custGeom>
            <a:avLst/>
            <a:gdLst>
              <a:gd name="T0" fmla="*/ 1295400 w 1219200"/>
              <a:gd name="T1" fmla="*/ 1104900 h 1054100"/>
              <a:gd name="T2" fmla="*/ 0 w 1219200"/>
              <a:gd name="T3" fmla="*/ 0 h 1054100"/>
              <a:gd name="T4" fmla="*/ 0 60000 65536"/>
              <a:gd name="T5" fmla="*/ 0 60000 65536"/>
              <a:gd name="T6" fmla="*/ 0 w 1219200"/>
              <a:gd name="T7" fmla="*/ 0 h 1054100"/>
              <a:gd name="T8" fmla="*/ 1219200 w 1219200"/>
              <a:gd name="T9" fmla="*/ 1054100 h 1054100"/>
            </a:gdLst>
            <a:ahLst/>
            <a:cxnLst>
              <a:cxn ang="T4">
                <a:pos x="T0" y="T1"/>
              </a:cxn>
              <a:cxn ang="T5">
                <a:pos x="T2" y="T3"/>
              </a:cxn>
            </a:cxnLst>
            <a:rect l="T6" t="T7" r="T8" b="T9"/>
            <a:pathLst>
              <a:path w="1219200" h="1054100">
                <a:moveTo>
                  <a:pt x="1219200" y="1054100"/>
                </a:moveTo>
                <a:cubicBezTo>
                  <a:pt x="679450" y="648758"/>
                  <a:pt x="139700" y="243417"/>
                  <a:pt x="0" y="0"/>
                </a:cubicBezTo>
              </a:path>
            </a:pathLst>
          </a:custGeom>
          <a:noFill/>
          <a:ln w="25400">
            <a:solidFill>
              <a:srgbClr val="7F7F7F"/>
            </a:solidFill>
            <a:miter lim="800000"/>
            <a:headEnd/>
            <a:tailEnd/>
          </a:ln>
          <a:effectLst>
            <a:outerShdw blurRad="40000" dist="20000" dir="5400000" rotWithShape="0">
              <a:srgbClr val="808080">
                <a:alpha val="37999"/>
              </a:srgbClr>
            </a:outerShdw>
          </a:effectLst>
          <a:extLst>
            <a:ext uri="{909E8E84-426E-40DD-AFC4-6F175D3DCCD1}">
              <a14:hiddenFill xmlns:a14="http://schemas.microsoft.com/office/drawing/2010/main">
                <a:solidFill>
                  <a:srgbClr val="FFFFFF"/>
                </a:solidFill>
              </a14:hiddenFill>
            </a:ext>
          </a:extLst>
        </p:spPr>
        <p:txBody>
          <a:bodyPr anchor="ctr"/>
          <a:lstStyle/>
          <a:p>
            <a:pPr algn="ctr"/>
            <a:endParaRPr lang="nb-NO">
              <a:solidFill>
                <a:prstClr val="black"/>
              </a:solidFill>
            </a:endParaRPr>
          </a:p>
        </p:txBody>
      </p:sp>
      <p:sp>
        <p:nvSpPr>
          <p:cNvPr id="12" name="Freeform 11"/>
          <p:cNvSpPr/>
          <p:nvPr/>
        </p:nvSpPr>
        <p:spPr>
          <a:xfrm rot="8972096">
            <a:off x="-565150" y="765175"/>
            <a:ext cx="5526088" cy="690563"/>
          </a:xfrm>
          <a:custGeom>
            <a:avLst/>
            <a:gdLst>
              <a:gd name="connsiteX0" fmla="*/ 0 w 3657600"/>
              <a:gd name="connsiteY0" fmla="*/ 0 h 838200"/>
              <a:gd name="connsiteX1" fmla="*/ 3657600 w 3657600"/>
              <a:gd name="connsiteY1" fmla="*/ 0 h 838200"/>
              <a:gd name="connsiteX2" fmla="*/ 3657600 w 3657600"/>
              <a:gd name="connsiteY2" fmla="*/ 838200 h 838200"/>
              <a:gd name="connsiteX3" fmla="*/ 0 w 3657600"/>
              <a:gd name="connsiteY3" fmla="*/ 838200 h 838200"/>
              <a:gd name="connsiteX4" fmla="*/ 0 w 3657600"/>
              <a:gd name="connsiteY4" fmla="*/ 0 h 838200"/>
              <a:gd name="connsiteX0" fmla="*/ 0 w 4555925"/>
              <a:gd name="connsiteY0" fmla="*/ 5252 h 843452"/>
              <a:gd name="connsiteX1" fmla="*/ 3657600 w 4555925"/>
              <a:gd name="connsiteY1" fmla="*/ 5252 h 843452"/>
              <a:gd name="connsiteX2" fmla="*/ 4555925 w 4555925"/>
              <a:gd name="connsiteY2" fmla="*/ 0 h 843452"/>
              <a:gd name="connsiteX3" fmla="*/ 3657600 w 4555925"/>
              <a:gd name="connsiteY3" fmla="*/ 843452 h 843452"/>
              <a:gd name="connsiteX4" fmla="*/ 0 w 4555925"/>
              <a:gd name="connsiteY4" fmla="*/ 843452 h 843452"/>
              <a:gd name="connsiteX5" fmla="*/ 0 w 4555925"/>
              <a:gd name="connsiteY5" fmla="*/ 5252 h 843452"/>
              <a:gd name="connsiteX0" fmla="*/ 0 w 5355596"/>
              <a:gd name="connsiteY0" fmla="*/ 0 h 844682"/>
              <a:gd name="connsiteX1" fmla="*/ 4457271 w 5355596"/>
              <a:gd name="connsiteY1" fmla="*/ 6482 h 844682"/>
              <a:gd name="connsiteX2" fmla="*/ 5355596 w 5355596"/>
              <a:gd name="connsiteY2" fmla="*/ 1230 h 844682"/>
              <a:gd name="connsiteX3" fmla="*/ 4457271 w 5355596"/>
              <a:gd name="connsiteY3" fmla="*/ 844682 h 844682"/>
              <a:gd name="connsiteX4" fmla="*/ 799671 w 5355596"/>
              <a:gd name="connsiteY4" fmla="*/ 844682 h 844682"/>
              <a:gd name="connsiteX5" fmla="*/ 0 w 5355596"/>
              <a:gd name="connsiteY5" fmla="*/ 0 h 844682"/>
              <a:gd name="connsiteX0" fmla="*/ 0 w 5645357"/>
              <a:gd name="connsiteY0" fmla="*/ 0 h 844682"/>
              <a:gd name="connsiteX1" fmla="*/ 4457271 w 5645357"/>
              <a:gd name="connsiteY1" fmla="*/ 6482 h 844682"/>
              <a:gd name="connsiteX2" fmla="*/ 5645357 w 5645357"/>
              <a:gd name="connsiteY2" fmla="*/ 9599 h 844682"/>
              <a:gd name="connsiteX3" fmla="*/ 4457271 w 5645357"/>
              <a:gd name="connsiteY3" fmla="*/ 844682 h 844682"/>
              <a:gd name="connsiteX4" fmla="*/ 799671 w 5645357"/>
              <a:gd name="connsiteY4" fmla="*/ 844682 h 844682"/>
              <a:gd name="connsiteX5" fmla="*/ 0 w 5645357"/>
              <a:gd name="connsiteY5" fmla="*/ 0 h 844682"/>
              <a:gd name="connsiteX0" fmla="*/ 0 w 5645357"/>
              <a:gd name="connsiteY0" fmla="*/ 0 h 880092"/>
              <a:gd name="connsiteX1" fmla="*/ 4457271 w 5645357"/>
              <a:gd name="connsiteY1" fmla="*/ 6482 h 880092"/>
              <a:gd name="connsiteX2" fmla="*/ 5645357 w 5645357"/>
              <a:gd name="connsiteY2" fmla="*/ 9599 h 880092"/>
              <a:gd name="connsiteX3" fmla="*/ 5143685 w 5645357"/>
              <a:gd name="connsiteY3" fmla="*/ 880092 h 880092"/>
              <a:gd name="connsiteX4" fmla="*/ 799671 w 5645357"/>
              <a:gd name="connsiteY4" fmla="*/ 844682 h 880092"/>
              <a:gd name="connsiteX5" fmla="*/ 0 w 5645357"/>
              <a:gd name="connsiteY5" fmla="*/ 0 h 880092"/>
              <a:gd name="connsiteX0" fmla="*/ 0 w 5645357"/>
              <a:gd name="connsiteY0" fmla="*/ 0 h 880092"/>
              <a:gd name="connsiteX1" fmla="*/ 4457271 w 5645357"/>
              <a:gd name="connsiteY1" fmla="*/ 6482 h 880092"/>
              <a:gd name="connsiteX2" fmla="*/ 5645357 w 5645357"/>
              <a:gd name="connsiteY2" fmla="*/ 9599 h 880092"/>
              <a:gd name="connsiteX3" fmla="*/ 5143685 w 5645357"/>
              <a:gd name="connsiteY3" fmla="*/ 880092 h 880092"/>
              <a:gd name="connsiteX4" fmla="*/ 799671 w 5645357"/>
              <a:gd name="connsiteY4" fmla="*/ 844682 h 880092"/>
              <a:gd name="connsiteX5" fmla="*/ 19645 w 5645357"/>
              <a:gd name="connsiteY5" fmla="*/ 841504 h 880092"/>
              <a:gd name="connsiteX6" fmla="*/ 0 w 5645357"/>
              <a:gd name="connsiteY6" fmla="*/ 0 h 880092"/>
              <a:gd name="connsiteX0" fmla="*/ 0 w 7045873"/>
              <a:gd name="connsiteY0" fmla="*/ 0 h 878792"/>
              <a:gd name="connsiteX1" fmla="*/ 5857787 w 7045873"/>
              <a:gd name="connsiteY1" fmla="*/ 5182 h 878792"/>
              <a:gd name="connsiteX2" fmla="*/ 7045873 w 7045873"/>
              <a:gd name="connsiteY2" fmla="*/ 8299 h 878792"/>
              <a:gd name="connsiteX3" fmla="*/ 6544201 w 7045873"/>
              <a:gd name="connsiteY3" fmla="*/ 878792 h 878792"/>
              <a:gd name="connsiteX4" fmla="*/ 2200187 w 7045873"/>
              <a:gd name="connsiteY4" fmla="*/ 843382 h 878792"/>
              <a:gd name="connsiteX5" fmla="*/ 1420161 w 7045873"/>
              <a:gd name="connsiteY5" fmla="*/ 840204 h 878792"/>
              <a:gd name="connsiteX6" fmla="*/ 0 w 7045873"/>
              <a:gd name="connsiteY6" fmla="*/ 0 h 878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45873" h="878792">
                <a:moveTo>
                  <a:pt x="0" y="0"/>
                </a:moveTo>
                <a:lnTo>
                  <a:pt x="5857787" y="5182"/>
                </a:lnTo>
                <a:lnTo>
                  <a:pt x="7045873" y="8299"/>
                </a:lnTo>
                <a:lnTo>
                  <a:pt x="6544201" y="878792"/>
                </a:lnTo>
                <a:lnTo>
                  <a:pt x="2200187" y="843382"/>
                </a:lnTo>
                <a:lnTo>
                  <a:pt x="1420161" y="840204"/>
                </a:lnTo>
                <a:lnTo>
                  <a:pt x="0" y="0"/>
                </a:lnTo>
                <a:close/>
              </a:path>
            </a:pathLst>
          </a:custGeom>
          <a:solidFill>
            <a:schemeClr val="tx2">
              <a:lumMod val="75000"/>
            </a:schemeClr>
          </a:solidFill>
          <a:ln w="3175">
            <a:solidFill>
              <a:schemeClr val="tx2">
                <a:lumMod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endParaRPr lang="nb-NO">
              <a:solidFill>
                <a:srgbClr val="FFFFFF"/>
              </a:solidFill>
              <a:ea typeface="ＭＳ Ｐゴシック" pitchFamily="-109" charset="-128"/>
            </a:endParaRPr>
          </a:p>
        </p:txBody>
      </p:sp>
      <p:sp>
        <p:nvSpPr>
          <p:cNvPr id="13" name="Freeform 12"/>
          <p:cNvSpPr/>
          <p:nvPr/>
        </p:nvSpPr>
        <p:spPr>
          <a:xfrm rot="8972096">
            <a:off x="-616916" y="755850"/>
            <a:ext cx="5702516" cy="695182"/>
          </a:xfrm>
          <a:custGeom>
            <a:avLst/>
            <a:gdLst>
              <a:gd name="connsiteX0" fmla="*/ 0 w 3657600"/>
              <a:gd name="connsiteY0" fmla="*/ 0 h 838200"/>
              <a:gd name="connsiteX1" fmla="*/ 3657600 w 3657600"/>
              <a:gd name="connsiteY1" fmla="*/ 0 h 838200"/>
              <a:gd name="connsiteX2" fmla="*/ 3657600 w 3657600"/>
              <a:gd name="connsiteY2" fmla="*/ 838200 h 838200"/>
              <a:gd name="connsiteX3" fmla="*/ 0 w 3657600"/>
              <a:gd name="connsiteY3" fmla="*/ 838200 h 838200"/>
              <a:gd name="connsiteX4" fmla="*/ 0 w 3657600"/>
              <a:gd name="connsiteY4" fmla="*/ 0 h 838200"/>
              <a:gd name="connsiteX0" fmla="*/ 0 w 4555925"/>
              <a:gd name="connsiteY0" fmla="*/ 5252 h 843452"/>
              <a:gd name="connsiteX1" fmla="*/ 3657600 w 4555925"/>
              <a:gd name="connsiteY1" fmla="*/ 5252 h 843452"/>
              <a:gd name="connsiteX2" fmla="*/ 4555925 w 4555925"/>
              <a:gd name="connsiteY2" fmla="*/ 0 h 843452"/>
              <a:gd name="connsiteX3" fmla="*/ 3657600 w 4555925"/>
              <a:gd name="connsiteY3" fmla="*/ 843452 h 843452"/>
              <a:gd name="connsiteX4" fmla="*/ 0 w 4555925"/>
              <a:gd name="connsiteY4" fmla="*/ 843452 h 843452"/>
              <a:gd name="connsiteX5" fmla="*/ 0 w 4555925"/>
              <a:gd name="connsiteY5" fmla="*/ 5252 h 843452"/>
              <a:gd name="connsiteX0" fmla="*/ 0 w 5355596"/>
              <a:gd name="connsiteY0" fmla="*/ 0 h 844682"/>
              <a:gd name="connsiteX1" fmla="*/ 4457271 w 5355596"/>
              <a:gd name="connsiteY1" fmla="*/ 6482 h 844682"/>
              <a:gd name="connsiteX2" fmla="*/ 5355596 w 5355596"/>
              <a:gd name="connsiteY2" fmla="*/ 1230 h 844682"/>
              <a:gd name="connsiteX3" fmla="*/ 4457271 w 5355596"/>
              <a:gd name="connsiteY3" fmla="*/ 844682 h 844682"/>
              <a:gd name="connsiteX4" fmla="*/ 799671 w 5355596"/>
              <a:gd name="connsiteY4" fmla="*/ 844682 h 844682"/>
              <a:gd name="connsiteX5" fmla="*/ 0 w 5355596"/>
              <a:gd name="connsiteY5" fmla="*/ 0 h 844682"/>
              <a:gd name="connsiteX0" fmla="*/ 0 w 5679655"/>
              <a:gd name="connsiteY0" fmla="*/ 13663 h 858345"/>
              <a:gd name="connsiteX1" fmla="*/ 4457271 w 5679655"/>
              <a:gd name="connsiteY1" fmla="*/ 20145 h 858345"/>
              <a:gd name="connsiteX2" fmla="*/ 5355596 w 5679655"/>
              <a:gd name="connsiteY2" fmla="*/ 14893 h 858345"/>
              <a:gd name="connsiteX3" fmla="*/ 5679655 w 5679655"/>
              <a:gd name="connsiteY3" fmla="*/ 0 h 858345"/>
              <a:gd name="connsiteX4" fmla="*/ 4457271 w 5679655"/>
              <a:gd name="connsiteY4" fmla="*/ 858345 h 858345"/>
              <a:gd name="connsiteX5" fmla="*/ 799671 w 5679655"/>
              <a:gd name="connsiteY5" fmla="*/ 858345 h 858345"/>
              <a:gd name="connsiteX6" fmla="*/ 0 w 5679655"/>
              <a:gd name="connsiteY6" fmla="*/ 13663 h 858345"/>
              <a:gd name="connsiteX0" fmla="*/ 0 w 5679655"/>
              <a:gd name="connsiteY0" fmla="*/ 13663 h 880877"/>
              <a:gd name="connsiteX1" fmla="*/ 4457271 w 5679655"/>
              <a:gd name="connsiteY1" fmla="*/ 20145 h 880877"/>
              <a:gd name="connsiteX2" fmla="*/ 5355596 w 5679655"/>
              <a:gd name="connsiteY2" fmla="*/ 14893 h 880877"/>
              <a:gd name="connsiteX3" fmla="*/ 5679655 w 5679655"/>
              <a:gd name="connsiteY3" fmla="*/ 0 h 880877"/>
              <a:gd name="connsiteX4" fmla="*/ 5121793 w 5679655"/>
              <a:gd name="connsiteY4" fmla="*/ 880877 h 880877"/>
              <a:gd name="connsiteX5" fmla="*/ 799671 w 5679655"/>
              <a:gd name="connsiteY5" fmla="*/ 858345 h 880877"/>
              <a:gd name="connsiteX6" fmla="*/ 0 w 5679655"/>
              <a:gd name="connsiteY6" fmla="*/ 13663 h 880877"/>
              <a:gd name="connsiteX0" fmla="*/ 0 w 7141343"/>
              <a:gd name="connsiteY0" fmla="*/ 0 h 887163"/>
              <a:gd name="connsiteX1" fmla="*/ 5918959 w 7141343"/>
              <a:gd name="connsiteY1" fmla="*/ 26431 h 887163"/>
              <a:gd name="connsiteX2" fmla="*/ 6817284 w 7141343"/>
              <a:gd name="connsiteY2" fmla="*/ 21179 h 887163"/>
              <a:gd name="connsiteX3" fmla="*/ 7141343 w 7141343"/>
              <a:gd name="connsiteY3" fmla="*/ 6286 h 887163"/>
              <a:gd name="connsiteX4" fmla="*/ 6583481 w 7141343"/>
              <a:gd name="connsiteY4" fmla="*/ 887163 h 887163"/>
              <a:gd name="connsiteX5" fmla="*/ 2261359 w 7141343"/>
              <a:gd name="connsiteY5" fmla="*/ 864631 h 887163"/>
              <a:gd name="connsiteX6" fmla="*/ 0 w 7141343"/>
              <a:gd name="connsiteY6" fmla="*/ 0 h 887163"/>
              <a:gd name="connsiteX0" fmla="*/ 0 w 7141343"/>
              <a:gd name="connsiteY0" fmla="*/ 0 h 887163"/>
              <a:gd name="connsiteX1" fmla="*/ 5918959 w 7141343"/>
              <a:gd name="connsiteY1" fmla="*/ 26431 h 887163"/>
              <a:gd name="connsiteX2" fmla="*/ 6817284 w 7141343"/>
              <a:gd name="connsiteY2" fmla="*/ 21179 h 887163"/>
              <a:gd name="connsiteX3" fmla="*/ 7141343 w 7141343"/>
              <a:gd name="connsiteY3" fmla="*/ 6286 h 887163"/>
              <a:gd name="connsiteX4" fmla="*/ 6583481 w 7141343"/>
              <a:gd name="connsiteY4" fmla="*/ 887163 h 887163"/>
              <a:gd name="connsiteX5" fmla="*/ 1457752 w 7141343"/>
              <a:gd name="connsiteY5" fmla="*/ 878160 h 887163"/>
              <a:gd name="connsiteX6" fmla="*/ 0 w 7141343"/>
              <a:gd name="connsiteY6" fmla="*/ 0 h 887163"/>
              <a:gd name="connsiteX0" fmla="*/ 0 w 7141343"/>
              <a:gd name="connsiteY0" fmla="*/ 0 h 886341"/>
              <a:gd name="connsiteX1" fmla="*/ 5918959 w 7141343"/>
              <a:gd name="connsiteY1" fmla="*/ 26431 h 886341"/>
              <a:gd name="connsiteX2" fmla="*/ 6817284 w 7141343"/>
              <a:gd name="connsiteY2" fmla="*/ 21179 h 886341"/>
              <a:gd name="connsiteX3" fmla="*/ 7141343 w 7141343"/>
              <a:gd name="connsiteY3" fmla="*/ 6286 h 886341"/>
              <a:gd name="connsiteX4" fmla="*/ 6676215 w 7141343"/>
              <a:gd name="connsiteY4" fmla="*/ 886341 h 886341"/>
              <a:gd name="connsiteX5" fmla="*/ 1457752 w 7141343"/>
              <a:gd name="connsiteY5" fmla="*/ 878160 h 886341"/>
              <a:gd name="connsiteX6" fmla="*/ 0 w 7141343"/>
              <a:gd name="connsiteY6" fmla="*/ 0 h 886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41343" h="886341">
                <a:moveTo>
                  <a:pt x="0" y="0"/>
                </a:moveTo>
                <a:lnTo>
                  <a:pt x="5918959" y="26431"/>
                </a:lnTo>
                <a:lnTo>
                  <a:pt x="6817284" y="21179"/>
                </a:lnTo>
                <a:lnTo>
                  <a:pt x="7141343" y="6286"/>
                </a:lnTo>
                <a:lnTo>
                  <a:pt x="6676215" y="886341"/>
                </a:lnTo>
                <a:lnTo>
                  <a:pt x="1457752" y="878160"/>
                </a:lnTo>
                <a:lnTo>
                  <a:pt x="0" y="0"/>
                </a:lnTo>
                <a:close/>
              </a:path>
            </a:pathLst>
          </a:custGeom>
          <a:gradFill flip="none" rotWithShape="1">
            <a:gsLst>
              <a:gs pos="0">
                <a:schemeClr val="tx2">
                  <a:lumMod val="50000"/>
                </a:schemeClr>
              </a:gs>
              <a:gs pos="57000">
                <a:srgbClr val="214F86"/>
              </a:gs>
              <a:gs pos="100000">
                <a:schemeClr val="tx2">
                  <a:lumMod val="50000"/>
                </a:schemeClr>
              </a:gs>
            </a:gsLst>
            <a:lin ang="0" scaled="1"/>
            <a:tileRect/>
          </a:gradFill>
          <a:ln>
            <a:noFill/>
          </a:ln>
          <a:effectLst>
            <a:outerShdw blurRad="40000" dist="23000" dir="5400000" rotWithShape="0">
              <a:srgbClr val="000000">
                <a:alpha val="35000"/>
              </a:srgbClr>
            </a:outerShdw>
            <a:softEdge rad="50800"/>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400">
                <a:solidFill>
                  <a:schemeClr val="tx1"/>
                </a:solidFill>
                <a:latin typeface="Arial" charset="0"/>
                <a:ea typeface="ＭＳ Ｐゴシック" pitchFamily="-109" charset="-128"/>
              </a:defRPr>
            </a:lvl1pPr>
            <a:lvl2pPr marL="37931725" indent="-37474525" eaLnBrk="0" hangingPunct="0">
              <a:defRPr sz="2400">
                <a:solidFill>
                  <a:schemeClr val="tx1"/>
                </a:solidFill>
                <a:latin typeface="Arial" charset="0"/>
                <a:ea typeface="ＭＳ Ｐゴシック" pitchFamily="-109" charset="-128"/>
              </a:defRPr>
            </a:lvl2pPr>
            <a:lvl3pPr eaLnBrk="0" hangingPunct="0">
              <a:defRPr sz="2400">
                <a:solidFill>
                  <a:schemeClr val="tx1"/>
                </a:solidFill>
                <a:latin typeface="Arial" charset="0"/>
                <a:ea typeface="ＭＳ Ｐゴシック" pitchFamily="-109" charset="-128"/>
              </a:defRPr>
            </a:lvl3pPr>
            <a:lvl4pPr eaLnBrk="0" hangingPunct="0">
              <a:defRPr sz="2400">
                <a:solidFill>
                  <a:schemeClr val="tx1"/>
                </a:solidFill>
                <a:latin typeface="Arial" charset="0"/>
                <a:ea typeface="ＭＳ Ｐゴシック" pitchFamily="-109" charset="-128"/>
              </a:defRPr>
            </a:lvl4pPr>
            <a:lvl5pPr eaLnBrk="0" hangingPunct="0">
              <a:defRPr sz="2400">
                <a:solidFill>
                  <a:schemeClr val="tx1"/>
                </a:solidFill>
                <a:latin typeface="Arial" charset="0"/>
                <a:ea typeface="ＭＳ Ｐゴシック" pitchFamily="-109" charset="-128"/>
              </a:defRPr>
            </a:lvl5pPr>
            <a:lvl6pPr marL="457200" eaLnBrk="0" fontAlgn="base" hangingPunct="0">
              <a:spcBef>
                <a:spcPct val="0"/>
              </a:spcBef>
              <a:spcAft>
                <a:spcPct val="0"/>
              </a:spcAft>
              <a:defRPr sz="2400">
                <a:solidFill>
                  <a:schemeClr val="tx1"/>
                </a:solidFill>
                <a:latin typeface="Arial" charset="0"/>
                <a:ea typeface="ＭＳ Ｐゴシック" pitchFamily="-109" charset="-128"/>
              </a:defRPr>
            </a:lvl6pPr>
            <a:lvl7pPr marL="914400" eaLnBrk="0" fontAlgn="base" hangingPunct="0">
              <a:spcBef>
                <a:spcPct val="0"/>
              </a:spcBef>
              <a:spcAft>
                <a:spcPct val="0"/>
              </a:spcAft>
              <a:defRPr sz="2400">
                <a:solidFill>
                  <a:schemeClr val="tx1"/>
                </a:solidFill>
                <a:latin typeface="Arial" charset="0"/>
                <a:ea typeface="ＭＳ Ｐゴシック" pitchFamily="-109" charset="-128"/>
              </a:defRPr>
            </a:lvl7pPr>
            <a:lvl8pPr marL="1371600" eaLnBrk="0" fontAlgn="base" hangingPunct="0">
              <a:spcBef>
                <a:spcPct val="0"/>
              </a:spcBef>
              <a:spcAft>
                <a:spcPct val="0"/>
              </a:spcAft>
              <a:defRPr sz="2400">
                <a:solidFill>
                  <a:schemeClr val="tx1"/>
                </a:solidFill>
                <a:latin typeface="Arial" charset="0"/>
                <a:ea typeface="ＭＳ Ｐゴシック" pitchFamily="-109" charset="-128"/>
              </a:defRPr>
            </a:lvl8pPr>
            <a:lvl9pPr marL="1828800" eaLnBrk="0" fontAlgn="base" hangingPunct="0">
              <a:spcBef>
                <a:spcPct val="0"/>
              </a:spcBef>
              <a:spcAft>
                <a:spcPct val="0"/>
              </a:spcAft>
              <a:defRPr sz="2400">
                <a:solidFill>
                  <a:schemeClr val="tx1"/>
                </a:solidFill>
                <a:latin typeface="Arial" charset="0"/>
                <a:ea typeface="ＭＳ Ｐゴシック" pitchFamily="-109" charset="-128"/>
              </a:defRPr>
            </a:lvl9pPr>
          </a:lstStyle>
          <a:p>
            <a:pPr algn="ctr" eaLnBrk="1" hangingPunct="1"/>
            <a:endParaRPr lang="nb-NO" sz="1800">
              <a:solidFill>
                <a:srgbClr val="FFFFFF"/>
              </a:solidFill>
              <a:latin typeface="Calibri" pitchFamily="-109" charset="0"/>
            </a:endParaRPr>
          </a:p>
        </p:txBody>
      </p:sp>
      <p:sp>
        <p:nvSpPr>
          <p:cNvPr id="44" name="Freeform 43"/>
          <p:cNvSpPr/>
          <p:nvPr/>
        </p:nvSpPr>
        <p:spPr bwMode="auto">
          <a:xfrm rot="19772096">
            <a:off x="4164013" y="5418138"/>
            <a:ext cx="5526087" cy="688975"/>
          </a:xfrm>
          <a:custGeom>
            <a:avLst/>
            <a:gdLst>
              <a:gd name="connsiteX0" fmla="*/ 0 w 3657600"/>
              <a:gd name="connsiteY0" fmla="*/ 0 h 838200"/>
              <a:gd name="connsiteX1" fmla="*/ 3657600 w 3657600"/>
              <a:gd name="connsiteY1" fmla="*/ 0 h 838200"/>
              <a:gd name="connsiteX2" fmla="*/ 3657600 w 3657600"/>
              <a:gd name="connsiteY2" fmla="*/ 838200 h 838200"/>
              <a:gd name="connsiteX3" fmla="*/ 0 w 3657600"/>
              <a:gd name="connsiteY3" fmla="*/ 838200 h 838200"/>
              <a:gd name="connsiteX4" fmla="*/ 0 w 3657600"/>
              <a:gd name="connsiteY4" fmla="*/ 0 h 838200"/>
              <a:gd name="connsiteX0" fmla="*/ 0 w 4555925"/>
              <a:gd name="connsiteY0" fmla="*/ 5252 h 843452"/>
              <a:gd name="connsiteX1" fmla="*/ 3657600 w 4555925"/>
              <a:gd name="connsiteY1" fmla="*/ 5252 h 843452"/>
              <a:gd name="connsiteX2" fmla="*/ 4555925 w 4555925"/>
              <a:gd name="connsiteY2" fmla="*/ 0 h 843452"/>
              <a:gd name="connsiteX3" fmla="*/ 3657600 w 4555925"/>
              <a:gd name="connsiteY3" fmla="*/ 843452 h 843452"/>
              <a:gd name="connsiteX4" fmla="*/ 0 w 4555925"/>
              <a:gd name="connsiteY4" fmla="*/ 843452 h 843452"/>
              <a:gd name="connsiteX5" fmla="*/ 0 w 4555925"/>
              <a:gd name="connsiteY5" fmla="*/ 5252 h 843452"/>
              <a:gd name="connsiteX0" fmla="*/ 0 w 5355596"/>
              <a:gd name="connsiteY0" fmla="*/ 0 h 844682"/>
              <a:gd name="connsiteX1" fmla="*/ 4457271 w 5355596"/>
              <a:gd name="connsiteY1" fmla="*/ 6482 h 844682"/>
              <a:gd name="connsiteX2" fmla="*/ 5355596 w 5355596"/>
              <a:gd name="connsiteY2" fmla="*/ 1230 h 844682"/>
              <a:gd name="connsiteX3" fmla="*/ 4457271 w 5355596"/>
              <a:gd name="connsiteY3" fmla="*/ 844682 h 844682"/>
              <a:gd name="connsiteX4" fmla="*/ 799671 w 5355596"/>
              <a:gd name="connsiteY4" fmla="*/ 844682 h 844682"/>
              <a:gd name="connsiteX5" fmla="*/ 0 w 5355596"/>
              <a:gd name="connsiteY5" fmla="*/ 0 h 844682"/>
              <a:gd name="connsiteX0" fmla="*/ 0 w 5645357"/>
              <a:gd name="connsiteY0" fmla="*/ 0 h 844682"/>
              <a:gd name="connsiteX1" fmla="*/ 4457271 w 5645357"/>
              <a:gd name="connsiteY1" fmla="*/ 6482 h 844682"/>
              <a:gd name="connsiteX2" fmla="*/ 5645357 w 5645357"/>
              <a:gd name="connsiteY2" fmla="*/ 9599 h 844682"/>
              <a:gd name="connsiteX3" fmla="*/ 4457271 w 5645357"/>
              <a:gd name="connsiteY3" fmla="*/ 844682 h 844682"/>
              <a:gd name="connsiteX4" fmla="*/ 799671 w 5645357"/>
              <a:gd name="connsiteY4" fmla="*/ 844682 h 844682"/>
              <a:gd name="connsiteX5" fmla="*/ 0 w 5645357"/>
              <a:gd name="connsiteY5" fmla="*/ 0 h 844682"/>
              <a:gd name="connsiteX0" fmla="*/ 0 w 5645357"/>
              <a:gd name="connsiteY0" fmla="*/ 0 h 880092"/>
              <a:gd name="connsiteX1" fmla="*/ 4457271 w 5645357"/>
              <a:gd name="connsiteY1" fmla="*/ 6482 h 880092"/>
              <a:gd name="connsiteX2" fmla="*/ 5645357 w 5645357"/>
              <a:gd name="connsiteY2" fmla="*/ 9599 h 880092"/>
              <a:gd name="connsiteX3" fmla="*/ 5143685 w 5645357"/>
              <a:gd name="connsiteY3" fmla="*/ 880092 h 880092"/>
              <a:gd name="connsiteX4" fmla="*/ 799671 w 5645357"/>
              <a:gd name="connsiteY4" fmla="*/ 844682 h 880092"/>
              <a:gd name="connsiteX5" fmla="*/ 0 w 5645357"/>
              <a:gd name="connsiteY5" fmla="*/ 0 h 880092"/>
              <a:gd name="connsiteX0" fmla="*/ 0 w 5645357"/>
              <a:gd name="connsiteY0" fmla="*/ 0 h 880092"/>
              <a:gd name="connsiteX1" fmla="*/ 4457271 w 5645357"/>
              <a:gd name="connsiteY1" fmla="*/ 6482 h 880092"/>
              <a:gd name="connsiteX2" fmla="*/ 5645357 w 5645357"/>
              <a:gd name="connsiteY2" fmla="*/ 9599 h 880092"/>
              <a:gd name="connsiteX3" fmla="*/ 5143685 w 5645357"/>
              <a:gd name="connsiteY3" fmla="*/ 880092 h 880092"/>
              <a:gd name="connsiteX4" fmla="*/ 799671 w 5645357"/>
              <a:gd name="connsiteY4" fmla="*/ 844682 h 880092"/>
              <a:gd name="connsiteX5" fmla="*/ 19645 w 5645357"/>
              <a:gd name="connsiteY5" fmla="*/ 841504 h 880092"/>
              <a:gd name="connsiteX6" fmla="*/ 0 w 5645357"/>
              <a:gd name="connsiteY6" fmla="*/ 0 h 880092"/>
              <a:gd name="connsiteX0" fmla="*/ 0 w 7045873"/>
              <a:gd name="connsiteY0" fmla="*/ 0 h 878792"/>
              <a:gd name="connsiteX1" fmla="*/ 5857787 w 7045873"/>
              <a:gd name="connsiteY1" fmla="*/ 5182 h 878792"/>
              <a:gd name="connsiteX2" fmla="*/ 7045873 w 7045873"/>
              <a:gd name="connsiteY2" fmla="*/ 8299 h 878792"/>
              <a:gd name="connsiteX3" fmla="*/ 6544201 w 7045873"/>
              <a:gd name="connsiteY3" fmla="*/ 878792 h 878792"/>
              <a:gd name="connsiteX4" fmla="*/ 2200187 w 7045873"/>
              <a:gd name="connsiteY4" fmla="*/ 843382 h 878792"/>
              <a:gd name="connsiteX5" fmla="*/ 1420161 w 7045873"/>
              <a:gd name="connsiteY5" fmla="*/ 840204 h 878792"/>
              <a:gd name="connsiteX6" fmla="*/ 0 w 7045873"/>
              <a:gd name="connsiteY6" fmla="*/ 0 h 878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45873" h="878792">
                <a:moveTo>
                  <a:pt x="0" y="0"/>
                </a:moveTo>
                <a:lnTo>
                  <a:pt x="5857787" y="5182"/>
                </a:lnTo>
                <a:lnTo>
                  <a:pt x="7045873" y="8299"/>
                </a:lnTo>
                <a:lnTo>
                  <a:pt x="6544201" y="878792"/>
                </a:lnTo>
                <a:lnTo>
                  <a:pt x="2200187" y="843382"/>
                </a:lnTo>
                <a:lnTo>
                  <a:pt x="1420161" y="840204"/>
                </a:lnTo>
                <a:lnTo>
                  <a:pt x="0" y="0"/>
                </a:lnTo>
                <a:close/>
              </a:path>
            </a:pathLst>
          </a:custGeom>
          <a:solidFill>
            <a:schemeClr val="tx2">
              <a:lumMod val="50000"/>
            </a:schemeClr>
          </a:solidFill>
          <a:ln>
            <a:solidFill>
              <a:schemeClr val="tx2">
                <a:lumMod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endParaRPr lang="nb-NO">
              <a:solidFill>
                <a:srgbClr val="FFFFFF"/>
              </a:solidFill>
              <a:ea typeface="ＭＳ Ｐゴシック" pitchFamily="-109" charset="-128"/>
            </a:endParaRPr>
          </a:p>
        </p:txBody>
      </p:sp>
      <p:sp>
        <p:nvSpPr>
          <p:cNvPr id="45" name="Freeform 44"/>
          <p:cNvSpPr/>
          <p:nvPr/>
        </p:nvSpPr>
        <p:spPr bwMode="auto">
          <a:xfrm rot="19772096">
            <a:off x="4022724" y="5426503"/>
            <a:ext cx="5748338" cy="694897"/>
          </a:xfrm>
          <a:custGeom>
            <a:avLst/>
            <a:gdLst>
              <a:gd name="connsiteX0" fmla="*/ 0 w 3657600"/>
              <a:gd name="connsiteY0" fmla="*/ 0 h 838200"/>
              <a:gd name="connsiteX1" fmla="*/ 3657600 w 3657600"/>
              <a:gd name="connsiteY1" fmla="*/ 0 h 838200"/>
              <a:gd name="connsiteX2" fmla="*/ 3657600 w 3657600"/>
              <a:gd name="connsiteY2" fmla="*/ 838200 h 838200"/>
              <a:gd name="connsiteX3" fmla="*/ 0 w 3657600"/>
              <a:gd name="connsiteY3" fmla="*/ 838200 h 838200"/>
              <a:gd name="connsiteX4" fmla="*/ 0 w 3657600"/>
              <a:gd name="connsiteY4" fmla="*/ 0 h 838200"/>
              <a:gd name="connsiteX0" fmla="*/ 0 w 4555925"/>
              <a:gd name="connsiteY0" fmla="*/ 5252 h 843452"/>
              <a:gd name="connsiteX1" fmla="*/ 3657600 w 4555925"/>
              <a:gd name="connsiteY1" fmla="*/ 5252 h 843452"/>
              <a:gd name="connsiteX2" fmla="*/ 4555925 w 4555925"/>
              <a:gd name="connsiteY2" fmla="*/ 0 h 843452"/>
              <a:gd name="connsiteX3" fmla="*/ 3657600 w 4555925"/>
              <a:gd name="connsiteY3" fmla="*/ 843452 h 843452"/>
              <a:gd name="connsiteX4" fmla="*/ 0 w 4555925"/>
              <a:gd name="connsiteY4" fmla="*/ 843452 h 843452"/>
              <a:gd name="connsiteX5" fmla="*/ 0 w 4555925"/>
              <a:gd name="connsiteY5" fmla="*/ 5252 h 843452"/>
              <a:gd name="connsiteX0" fmla="*/ 0 w 5355596"/>
              <a:gd name="connsiteY0" fmla="*/ 0 h 844682"/>
              <a:gd name="connsiteX1" fmla="*/ 4457271 w 5355596"/>
              <a:gd name="connsiteY1" fmla="*/ 6482 h 844682"/>
              <a:gd name="connsiteX2" fmla="*/ 5355596 w 5355596"/>
              <a:gd name="connsiteY2" fmla="*/ 1230 h 844682"/>
              <a:gd name="connsiteX3" fmla="*/ 4457271 w 5355596"/>
              <a:gd name="connsiteY3" fmla="*/ 844682 h 844682"/>
              <a:gd name="connsiteX4" fmla="*/ 799671 w 5355596"/>
              <a:gd name="connsiteY4" fmla="*/ 844682 h 844682"/>
              <a:gd name="connsiteX5" fmla="*/ 0 w 5355596"/>
              <a:gd name="connsiteY5" fmla="*/ 0 h 844682"/>
              <a:gd name="connsiteX0" fmla="*/ 0 w 5679655"/>
              <a:gd name="connsiteY0" fmla="*/ 13663 h 858345"/>
              <a:gd name="connsiteX1" fmla="*/ 4457271 w 5679655"/>
              <a:gd name="connsiteY1" fmla="*/ 20145 h 858345"/>
              <a:gd name="connsiteX2" fmla="*/ 5355596 w 5679655"/>
              <a:gd name="connsiteY2" fmla="*/ 14893 h 858345"/>
              <a:gd name="connsiteX3" fmla="*/ 5679655 w 5679655"/>
              <a:gd name="connsiteY3" fmla="*/ 0 h 858345"/>
              <a:gd name="connsiteX4" fmla="*/ 4457271 w 5679655"/>
              <a:gd name="connsiteY4" fmla="*/ 858345 h 858345"/>
              <a:gd name="connsiteX5" fmla="*/ 799671 w 5679655"/>
              <a:gd name="connsiteY5" fmla="*/ 858345 h 858345"/>
              <a:gd name="connsiteX6" fmla="*/ 0 w 5679655"/>
              <a:gd name="connsiteY6" fmla="*/ 13663 h 858345"/>
              <a:gd name="connsiteX0" fmla="*/ 0 w 5679655"/>
              <a:gd name="connsiteY0" fmla="*/ 13663 h 880877"/>
              <a:gd name="connsiteX1" fmla="*/ 4457271 w 5679655"/>
              <a:gd name="connsiteY1" fmla="*/ 20145 h 880877"/>
              <a:gd name="connsiteX2" fmla="*/ 5355596 w 5679655"/>
              <a:gd name="connsiteY2" fmla="*/ 14893 h 880877"/>
              <a:gd name="connsiteX3" fmla="*/ 5679655 w 5679655"/>
              <a:gd name="connsiteY3" fmla="*/ 0 h 880877"/>
              <a:gd name="connsiteX4" fmla="*/ 5121793 w 5679655"/>
              <a:gd name="connsiteY4" fmla="*/ 880877 h 880877"/>
              <a:gd name="connsiteX5" fmla="*/ 799671 w 5679655"/>
              <a:gd name="connsiteY5" fmla="*/ 858345 h 880877"/>
              <a:gd name="connsiteX6" fmla="*/ 0 w 5679655"/>
              <a:gd name="connsiteY6" fmla="*/ 13663 h 880877"/>
              <a:gd name="connsiteX0" fmla="*/ 0 w 7141343"/>
              <a:gd name="connsiteY0" fmla="*/ 0 h 887163"/>
              <a:gd name="connsiteX1" fmla="*/ 5918959 w 7141343"/>
              <a:gd name="connsiteY1" fmla="*/ 26431 h 887163"/>
              <a:gd name="connsiteX2" fmla="*/ 6817284 w 7141343"/>
              <a:gd name="connsiteY2" fmla="*/ 21179 h 887163"/>
              <a:gd name="connsiteX3" fmla="*/ 7141343 w 7141343"/>
              <a:gd name="connsiteY3" fmla="*/ 6286 h 887163"/>
              <a:gd name="connsiteX4" fmla="*/ 6583481 w 7141343"/>
              <a:gd name="connsiteY4" fmla="*/ 887163 h 887163"/>
              <a:gd name="connsiteX5" fmla="*/ 2261359 w 7141343"/>
              <a:gd name="connsiteY5" fmla="*/ 864631 h 887163"/>
              <a:gd name="connsiteX6" fmla="*/ 0 w 7141343"/>
              <a:gd name="connsiteY6" fmla="*/ 0 h 887163"/>
              <a:gd name="connsiteX0" fmla="*/ 0 w 7141343"/>
              <a:gd name="connsiteY0" fmla="*/ 0 h 887163"/>
              <a:gd name="connsiteX1" fmla="*/ 5918959 w 7141343"/>
              <a:gd name="connsiteY1" fmla="*/ 26431 h 887163"/>
              <a:gd name="connsiteX2" fmla="*/ 6817284 w 7141343"/>
              <a:gd name="connsiteY2" fmla="*/ 21179 h 887163"/>
              <a:gd name="connsiteX3" fmla="*/ 7141343 w 7141343"/>
              <a:gd name="connsiteY3" fmla="*/ 6286 h 887163"/>
              <a:gd name="connsiteX4" fmla="*/ 6583481 w 7141343"/>
              <a:gd name="connsiteY4" fmla="*/ 887163 h 887163"/>
              <a:gd name="connsiteX5" fmla="*/ 1457752 w 7141343"/>
              <a:gd name="connsiteY5" fmla="*/ 878160 h 887163"/>
              <a:gd name="connsiteX6" fmla="*/ 0 w 7141343"/>
              <a:gd name="connsiteY6" fmla="*/ 0 h 887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41343" h="887163">
                <a:moveTo>
                  <a:pt x="0" y="0"/>
                </a:moveTo>
                <a:lnTo>
                  <a:pt x="5918959" y="26431"/>
                </a:lnTo>
                <a:lnTo>
                  <a:pt x="6817284" y="21179"/>
                </a:lnTo>
                <a:lnTo>
                  <a:pt x="7141343" y="6286"/>
                </a:lnTo>
                <a:lnTo>
                  <a:pt x="6583481" y="887163"/>
                </a:lnTo>
                <a:lnTo>
                  <a:pt x="1457752" y="878160"/>
                </a:lnTo>
                <a:lnTo>
                  <a:pt x="0" y="0"/>
                </a:lnTo>
                <a:close/>
              </a:path>
            </a:pathLst>
          </a:custGeom>
          <a:gradFill flip="none" rotWithShape="1">
            <a:gsLst>
              <a:gs pos="0">
                <a:schemeClr val="tx2">
                  <a:lumMod val="50000"/>
                </a:schemeClr>
              </a:gs>
              <a:gs pos="57000">
                <a:srgbClr val="214F86"/>
              </a:gs>
              <a:gs pos="100000">
                <a:schemeClr val="tx2">
                  <a:lumMod val="50000"/>
                </a:schemeClr>
              </a:gs>
            </a:gsLst>
            <a:lin ang="0" scaled="1"/>
            <a:tileRect/>
          </a:gradFill>
          <a:ln>
            <a:noFill/>
          </a:ln>
          <a:effectLst>
            <a:outerShdw blurRad="40000" dist="23000" dir="5400000" rotWithShape="0">
              <a:srgbClr val="000000">
                <a:alpha val="35000"/>
              </a:srgbClr>
            </a:outerShdw>
            <a:softEdge rad="50800"/>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400">
                <a:solidFill>
                  <a:schemeClr val="tx1"/>
                </a:solidFill>
                <a:latin typeface="Arial" charset="0"/>
                <a:ea typeface="ＭＳ Ｐゴシック" pitchFamily="-109" charset="-128"/>
              </a:defRPr>
            </a:lvl1pPr>
            <a:lvl2pPr marL="37931725" indent="-37474525" eaLnBrk="0" hangingPunct="0">
              <a:defRPr sz="2400">
                <a:solidFill>
                  <a:schemeClr val="tx1"/>
                </a:solidFill>
                <a:latin typeface="Arial" charset="0"/>
                <a:ea typeface="ＭＳ Ｐゴシック" pitchFamily="-109" charset="-128"/>
              </a:defRPr>
            </a:lvl2pPr>
            <a:lvl3pPr eaLnBrk="0" hangingPunct="0">
              <a:defRPr sz="2400">
                <a:solidFill>
                  <a:schemeClr val="tx1"/>
                </a:solidFill>
                <a:latin typeface="Arial" charset="0"/>
                <a:ea typeface="ＭＳ Ｐゴシック" pitchFamily="-109" charset="-128"/>
              </a:defRPr>
            </a:lvl3pPr>
            <a:lvl4pPr eaLnBrk="0" hangingPunct="0">
              <a:defRPr sz="2400">
                <a:solidFill>
                  <a:schemeClr val="tx1"/>
                </a:solidFill>
                <a:latin typeface="Arial" charset="0"/>
                <a:ea typeface="ＭＳ Ｐゴシック" pitchFamily="-109" charset="-128"/>
              </a:defRPr>
            </a:lvl4pPr>
            <a:lvl5pPr eaLnBrk="0" hangingPunct="0">
              <a:defRPr sz="2400">
                <a:solidFill>
                  <a:schemeClr val="tx1"/>
                </a:solidFill>
                <a:latin typeface="Arial" charset="0"/>
                <a:ea typeface="ＭＳ Ｐゴシック" pitchFamily="-109" charset="-128"/>
              </a:defRPr>
            </a:lvl5pPr>
            <a:lvl6pPr marL="457200" eaLnBrk="0" fontAlgn="base" hangingPunct="0">
              <a:spcBef>
                <a:spcPct val="0"/>
              </a:spcBef>
              <a:spcAft>
                <a:spcPct val="0"/>
              </a:spcAft>
              <a:defRPr sz="2400">
                <a:solidFill>
                  <a:schemeClr val="tx1"/>
                </a:solidFill>
                <a:latin typeface="Arial" charset="0"/>
                <a:ea typeface="ＭＳ Ｐゴシック" pitchFamily="-109" charset="-128"/>
              </a:defRPr>
            </a:lvl6pPr>
            <a:lvl7pPr marL="914400" eaLnBrk="0" fontAlgn="base" hangingPunct="0">
              <a:spcBef>
                <a:spcPct val="0"/>
              </a:spcBef>
              <a:spcAft>
                <a:spcPct val="0"/>
              </a:spcAft>
              <a:defRPr sz="2400">
                <a:solidFill>
                  <a:schemeClr val="tx1"/>
                </a:solidFill>
                <a:latin typeface="Arial" charset="0"/>
                <a:ea typeface="ＭＳ Ｐゴシック" pitchFamily="-109" charset="-128"/>
              </a:defRPr>
            </a:lvl7pPr>
            <a:lvl8pPr marL="1371600" eaLnBrk="0" fontAlgn="base" hangingPunct="0">
              <a:spcBef>
                <a:spcPct val="0"/>
              </a:spcBef>
              <a:spcAft>
                <a:spcPct val="0"/>
              </a:spcAft>
              <a:defRPr sz="2400">
                <a:solidFill>
                  <a:schemeClr val="tx1"/>
                </a:solidFill>
                <a:latin typeface="Arial" charset="0"/>
                <a:ea typeface="ＭＳ Ｐゴシック" pitchFamily="-109" charset="-128"/>
              </a:defRPr>
            </a:lvl8pPr>
            <a:lvl9pPr marL="1828800" eaLnBrk="0" fontAlgn="base" hangingPunct="0">
              <a:spcBef>
                <a:spcPct val="0"/>
              </a:spcBef>
              <a:spcAft>
                <a:spcPct val="0"/>
              </a:spcAft>
              <a:defRPr sz="2400">
                <a:solidFill>
                  <a:schemeClr val="tx1"/>
                </a:solidFill>
                <a:latin typeface="Arial" charset="0"/>
                <a:ea typeface="ＭＳ Ｐゴシック" pitchFamily="-109" charset="-128"/>
              </a:defRPr>
            </a:lvl9pPr>
          </a:lstStyle>
          <a:p>
            <a:pPr algn="ctr" eaLnBrk="1" hangingPunct="1"/>
            <a:endParaRPr lang="nb-NO" sz="1800">
              <a:solidFill>
                <a:srgbClr val="FFFFFF"/>
              </a:solidFill>
              <a:latin typeface="Calibri" pitchFamily="-109" charset="0"/>
            </a:endParaRPr>
          </a:p>
        </p:txBody>
      </p:sp>
      <p:sp>
        <p:nvSpPr>
          <p:cNvPr id="28" name="Wave 27"/>
          <p:cNvSpPr>
            <a:spLocks noChangeArrowheads="1"/>
          </p:cNvSpPr>
          <p:nvPr/>
        </p:nvSpPr>
        <p:spPr bwMode="auto">
          <a:xfrm rot="6120120" flipH="1">
            <a:off x="6605588" y="5851525"/>
            <a:ext cx="1203325" cy="708025"/>
          </a:xfrm>
          <a:prstGeom prst="wave">
            <a:avLst>
              <a:gd name="adj1" fmla="val 13435"/>
              <a:gd name="adj2" fmla="val 523"/>
            </a:avLst>
          </a:prstGeom>
          <a:gradFill rotWithShape="1">
            <a:gsLst>
              <a:gs pos="0">
                <a:srgbClr val="10253F"/>
              </a:gs>
              <a:gs pos="53999">
                <a:srgbClr val="214F86"/>
              </a:gs>
              <a:gs pos="67999">
                <a:srgbClr val="10253F"/>
              </a:gs>
              <a:gs pos="100000">
                <a:srgbClr val="10253F"/>
              </a:gs>
            </a:gsLst>
            <a:lin ang="1020000"/>
          </a:gradFill>
          <a:ln>
            <a:noFill/>
          </a:ln>
          <a:effectLst>
            <a:outerShdw blurRad="40000" dist="23000" dir="5400000" rotWithShape="0">
              <a:srgbClr val="808080">
                <a:alpha val="34999"/>
              </a:srgbClr>
            </a:outerShdw>
          </a:effectLst>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lang="nb-NO">
              <a:solidFill>
                <a:srgbClr val="FFFFFF"/>
              </a:solidFill>
            </a:endParaRPr>
          </a:p>
        </p:txBody>
      </p:sp>
      <p:sp>
        <p:nvSpPr>
          <p:cNvPr id="32" name="Wave 31"/>
          <p:cNvSpPr>
            <a:spLocks noChangeArrowheads="1"/>
          </p:cNvSpPr>
          <p:nvPr/>
        </p:nvSpPr>
        <p:spPr bwMode="auto">
          <a:xfrm rot="2086391">
            <a:off x="7445375" y="5732463"/>
            <a:ext cx="1711325" cy="604837"/>
          </a:xfrm>
          <a:prstGeom prst="wave">
            <a:avLst>
              <a:gd name="adj1" fmla="val 12500"/>
              <a:gd name="adj2" fmla="val 0"/>
            </a:avLst>
          </a:prstGeom>
          <a:gradFill rotWithShape="1">
            <a:gsLst>
              <a:gs pos="0">
                <a:srgbClr val="10253F"/>
              </a:gs>
              <a:gs pos="25000">
                <a:srgbClr val="10253F"/>
              </a:gs>
              <a:gs pos="42000">
                <a:srgbClr val="214F86"/>
              </a:gs>
              <a:gs pos="53999">
                <a:srgbClr val="17375E"/>
              </a:gs>
              <a:gs pos="66000">
                <a:srgbClr val="17375E"/>
              </a:gs>
              <a:gs pos="100000">
                <a:srgbClr val="10253F"/>
              </a:gs>
            </a:gsLst>
            <a:lin ang="900000"/>
          </a:gradFill>
          <a:ln>
            <a:noFill/>
          </a:ln>
          <a:effectLst>
            <a:outerShdw blurRad="40000" dist="23000" dir="5400000" rotWithShape="0">
              <a:srgbClr val="808080">
                <a:alpha val="34999"/>
              </a:srgbClr>
            </a:outerShdw>
          </a:effectLst>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lang="nb-NO">
              <a:solidFill>
                <a:srgbClr val="FFFFFF"/>
              </a:solidFill>
            </a:endParaRPr>
          </a:p>
        </p:txBody>
      </p:sp>
      <p:sp>
        <p:nvSpPr>
          <p:cNvPr id="37" name="Stored Data 36"/>
          <p:cNvSpPr>
            <a:spLocks noChangeArrowheads="1"/>
          </p:cNvSpPr>
          <p:nvPr/>
        </p:nvSpPr>
        <p:spPr bwMode="auto">
          <a:xfrm rot="3588295">
            <a:off x="7527925" y="4505326"/>
            <a:ext cx="638175" cy="1212850"/>
          </a:xfrm>
          <a:prstGeom prst="flowChartOnlineStorage">
            <a:avLst/>
          </a:prstGeom>
          <a:gradFill rotWithShape="1">
            <a:gsLst>
              <a:gs pos="0">
                <a:srgbClr val="214F86"/>
              </a:gs>
              <a:gs pos="999">
                <a:srgbClr val="214F86"/>
              </a:gs>
              <a:gs pos="12000">
                <a:srgbClr val="214F86"/>
              </a:gs>
              <a:gs pos="38000">
                <a:srgbClr val="10253F"/>
              </a:gs>
              <a:gs pos="100000">
                <a:srgbClr val="10253F"/>
              </a:gs>
            </a:gsLst>
            <a:lin ang="480000"/>
          </a:gradFill>
          <a:ln>
            <a:noFill/>
          </a:ln>
          <a:effectLst>
            <a:outerShdw blurRad="40000" dist="22987" dir="13500000" rotWithShape="0">
              <a:schemeClr val="tx1">
                <a:alpha val="84999"/>
              </a:schemeClr>
            </a:outerShdw>
          </a:effectLst>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nb-NO">
              <a:solidFill>
                <a:srgbClr val="FFFFFF"/>
              </a:solidFill>
            </a:endParaRPr>
          </a:p>
        </p:txBody>
      </p:sp>
      <p:sp>
        <p:nvSpPr>
          <p:cNvPr id="38" name="Stored Data 37"/>
          <p:cNvSpPr>
            <a:spLocks noChangeArrowheads="1"/>
          </p:cNvSpPr>
          <p:nvPr/>
        </p:nvSpPr>
        <p:spPr bwMode="auto">
          <a:xfrm rot="-7267055">
            <a:off x="7575550" y="4606925"/>
            <a:ext cx="658813" cy="1211263"/>
          </a:xfrm>
          <a:prstGeom prst="flowChartOnlineStorage">
            <a:avLst/>
          </a:prstGeom>
          <a:gradFill rotWithShape="1">
            <a:gsLst>
              <a:gs pos="0">
                <a:srgbClr val="10253F"/>
              </a:gs>
              <a:gs pos="24001">
                <a:srgbClr val="10253F"/>
              </a:gs>
              <a:gs pos="64000">
                <a:srgbClr val="214F86"/>
              </a:gs>
              <a:gs pos="100000">
                <a:srgbClr val="10253F"/>
              </a:gs>
            </a:gsLst>
            <a:lin ang="5400000"/>
          </a:gradFill>
          <a:ln>
            <a:noFill/>
          </a:ln>
          <a:effectLst>
            <a:outerShdw blurRad="40000" dist="23000" dir="11999931" rotWithShape="0">
              <a:srgbClr val="808080">
                <a:alpha val="9999"/>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nb-NO">
              <a:solidFill>
                <a:srgbClr val="FFFFFF"/>
              </a:solidFill>
            </a:endParaRPr>
          </a:p>
        </p:txBody>
      </p:sp>
      <p:sp>
        <p:nvSpPr>
          <p:cNvPr id="39" name="Stored Data 38"/>
          <p:cNvSpPr>
            <a:spLocks noChangeArrowheads="1"/>
          </p:cNvSpPr>
          <p:nvPr/>
        </p:nvSpPr>
        <p:spPr bwMode="auto">
          <a:xfrm rot="3588295">
            <a:off x="6497637" y="5129213"/>
            <a:ext cx="638175" cy="1212850"/>
          </a:xfrm>
          <a:prstGeom prst="flowChartOnlineStorage">
            <a:avLst/>
          </a:prstGeom>
          <a:gradFill rotWithShape="1">
            <a:gsLst>
              <a:gs pos="0">
                <a:srgbClr val="214F86"/>
              </a:gs>
              <a:gs pos="999">
                <a:srgbClr val="214F86"/>
              </a:gs>
              <a:gs pos="8000">
                <a:srgbClr val="214F86"/>
              </a:gs>
              <a:gs pos="100000">
                <a:srgbClr val="10253F"/>
              </a:gs>
            </a:gsLst>
            <a:lin ang="21360000"/>
          </a:gradFill>
          <a:ln>
            <a:noFill/>
          </a:ln>
          <a:effectLst>
            <a:outerShdw blurRad="40000" dist="22987" dir="13500000" rotWithShape="0">
              <a:schemeClr val="tx1">
                <a:alpha val="87000"/>
              </a:schemeClr>
            </a:outerShdw>
          </a:effectLst>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nb-NO">
              <a:solidFill>
                <a:srgbClr val="FFFFFF"/>
              </a:solidFill>
            </a:endParaRPr>
          </a:p>
        </p:txBody>
      </p:sp>
      <p:sp>
        <p:nvSpPr>
          <p:cNvPr id="40" name="Stored Data 39"/>
          <p:cNvSpPr>
            <a:spLocks noChangeArrowheads="1"/>
          </p:cNvSpPr>
          <p:nvPr/>
        </p:nvSpPr>
        <p:spPr bwMode="auto">
          <a:xfrm rot="-7267055">
            <a:off x="6531769" y="5217319"/>
            <a:ext cx="658812" cy="1212850"/>
          </a:xfrm>
          <a:prstGeom prst="flowChartOnlineStorage">
            <a:avLst/>
          </a:prstGeom>
          <a:gradFill rotWithShape="1">
            <a:gsLst>
              <a:gs pos="0">
                <a:srgbClr val="10253F"/>
              </a:gs>
              <a:gs pos="41000">
                <a:srgbClr val="214F86"/>
              </a:gs>
              <a:gs pos="75999">
                <a:srgbClr val="10253F"/>
              </a:gs>
              <a:gs pos="100000">
                <a:srgbClr val="10253F"/>
              </a:gs>
            </a:gsLst>
            <a:lin ang="5400000"/>
          </a:gradFill>
          <a:ln>
            <a:noFill/>
          </a:ln>
          <a:effectLst>
            <a:outerShdw blurRad="40000" dist="22999" dir="13860009" rotWithShape="0">
              <a:srgbClr val="808080">
                <a:alpha val="9999"/>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nb-NO">
              <a:solidFill>
                <a:srgbClr val="FFFFFF"/>
              </a:solidFill>
            </a:endParaRPr>
          </a:p>
        </p:txBody>
      </p:sp>
      <p:sp>
        <p:nvSpPr>
          <p:cNvPr id="41" name="Rounded Rectangle 40"/>
          <p:cNvSpPr>
            <a:spLocks noChangeArrowheads="1"/>
          </p:cNvSpPr>
          <p:nvPr/>
        </p:nvSpPr>
        <p:spPr bwMode="auto">
          <a:xfrm rot="3612336">
            <a:off x="7021513" y="5324475"/>
            <a:ext cx="728662" cy="312738"/>
          </a:xfrm>
          <a:prstGeom prst="roundRect">
            <a:avLst>
              <a:gd name="adj" fmla="val 16667"/>
            </a:avLst>
          </a:prstGeom>
          <a:gradFill rotWithShape="1">
            <a:gsLst>
              <a:gs pos="0">
                <a:srgbClr val="10253F"/>
              </a:gs>
              <a:gs pos="16000">
                <a:srgbClr val="10253F"/>
              </a:gs>
              <a:gs pos="27000">
                <a:srgbClr val="17375E"/>
              </a:gs>
              <a:gs pos="100000">
                <a:srgbClr val="10253F"/>
              </a:gs>
            </a:gsLst>
            <a:lin ang="60000"/>
          </a:gradFill>
          <a:ln>
            <a:noFill/>
          </a:ln>
          <a:effectLst>
            <a:outerShdw blurRad="50800" dist="12700" dir="2700000" rotWithShape="0">
              <a:srgbClr val="808080">
                <a:alpha val="42999"/>
              </a:srgbClr>
            </a:outerShdw>
          </a:effectLst>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lang="nb-NO">
              <a:solidFill>
                <a:srgbClr val="FFFFFF"/>
              </a:solidFill>
            </a:endParaRPr>
          </a:p>
        </p:txBody>
      </p:sp>
      <p:grpSp>
        <p:nvGrpSpPr>
          <p:cNvPr id="30740" name="Group 20"/>
          <p:cNvGrpSpPr>
            <a:grpSpLocks/>
          </p:cNvGrpSpPr>
          <p:nvPr/>
        </p:nvGrpSpPr>
        <p:grpSpPr bwMode="auto">
          <a:xfrm rot="-2038684">
            <a:off x="1304925" y="2189163"/>
            <a:ext cx="1838325" cy="3040062"/>
            <a:chOff x="3670300" y="1079500"/>
            <a:chExt cx="1168400" cy="1930400"/>
          </a:xfrm>
        </p:grpSpPr>
        <p:sp>
          <p:nvSpPr>
            <p:cNvPr id="17" name="Round Same Side Corner Rectangle 16"/>
            <p:cNvSpPr>
              <a:spLocks noChangeArrowheads="1"/>
            </p:cNvSpPr>
            <p:nvPr/>
          </p:nvSpPr>
          <p:spPr bwMode="auto">
            <a:xfrm>
              <a:off x="3670300" y="1079500"/>
              <a:ext cx="1168400" cy="1930400"/>
            </a:xfrm>
            <a:custGeom>
              <a:avLst/>
              <a:gdLst>
                <a:gd name="T0" fmla="*/ 1168400 w 1168400"/>
                <a:gd name="T1" fmla="*/ 965200 h 1930400"/>
                <a:gd name="T2" fmla="*/ 584200 w 1168400"/>
                <a:gd name="T3" fmla="*/ 1930400 h 1930400"/>
                <a:gd name="T4" fmla="*/ 0 w 1168400"/>
                <a:gd name="T5" fmla="*/ 965200 h 1930400"/>
                <a:gd name="T6" fmla="*/ 584200 w 1168400"/>
                <a:gd name="T7" fmla="*/ 0 h 1930400"/>
                <a:gd name="T8" fmla="*/ 0 60000 65536"/>
                <a:gd name="T9" fmla="*/ 1 60000 65536"/>
                <a:gd name="T10" fmla="*/ 2 60000 65536"/>
                <a:gd name="T11" fmla="*/ 3 60000 65536"/>
                <a:gd name="T12" fmla="*/ 57037 w 1168400"/>
                <a:gd name="T13" fmla="*/ 57037 h 1930400"/>
                <a:gd name="T14" fmla="*/ 1111363 w 1168400"/>
                <a:gd name="T15" fmla="*/ 1930400 h 1930400"/>
              </a:gdLst>
              <a:ahLst/>
              <a:cxnLst>
                <a:cxn ang="T8">
                  <a:pos x="T0" y="T1"/>
                </a:cxn>
                <a:cxn ang="T9">
                  <a:pos x="T2" y="T3"/>
                </a:cxn>
                <a:cxn ang="T10">
                  <a:pos x="T4" y="T5"/>
                </a:cxn>
                <a:cxn ang="T11">
                  <a:pos x="T6" y="T7"/>
                </a:cxn>
              </a:cxnLst>
              <a:rect l="T12" t="T13" r="T14" b="T15"/>
              <a:pathLst>
                <a:path w="1168400" h="1930400">
                  <a:moveTo>
                    <a:pt x="194737" y="0"/>
                  </a:moveTo>
                  <a:lnTo>
                    <a:pt x="973663" y="0"/>
                  </a:lnTo>
                  <a:lnTo>
                    <a:pt x="973662" y="0"/>
                  </a:lnTo>
                  <a:cubicBezTo>
                    <a:pt x="1081213" y="0"/>
                    <a:pt x="1168400" y="87186"/>
                    <a:pt x="1168400" y="194737"/>
                  </a:cubicBezTo>
                  <a:lnTo>
                    <a:pt x="1168400" y="1930400"/>
                  </a:lnTo>
                  <a:lnTo>
                    <a:pt x="0" y="1930400"/>
                  </a:lnTo>
                  <a:lnTo>
                    <a:pt x="0" y="194737"/>
                  </a:lnTo>
                  <a:cubicBezTo>
                    <a:pt x="0" y="87186"/>
                    <a:pt x="87186" y="0"/>
                    <a:pt x="194736" y="0"/>
                  </a:cubicBezTo>
                  <a:close/>
                </a:path>
              </a:pathLst>
            </a:custGeom>
            <a:gradFill rotWithShape="1">
              <a:gsLst>
                <a:gs pos="0">
                  <a:srgbClr val="EEECE1"/>
                </a:gs>
                <a:gs pos="20000">
                  <a:srgbClr val="EEECE1"/>
                </a:gs>
                <a:gs pos="100000">
                  <a:srgbClr val="DDD9C3"/>
                </a:gs>
              </a:gsLst>
              <a:lin ang="5400000"/>
            </a:gradFill>
            <a:ln>
              <a:noFill/>
            </a:ln>
            <a:effectLst>
              <a:outerShdw blurRad="40000" dist="23000" dir="5400000" rotWithShape="0">
                <a:srgbClr val="808080">
                  <a:alpha val="34999"/>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nb-NO">
                <a:solidFill>
                  <a:srgbClr val="FFFFFF"/>
                </a:solidFill>
              </a:endParaRPr>
            </a:p>
          </p:txBody>
        </p:sp>
        <p:sp>
          <p:nvSpPr>
            <p:cNvPr id="20" name="Oval 19"/>
            <p:cNvSpPr>
              <a:spLocks noChangeArrowheads="1"/>
            </p:cNvSpPr>
            <p:nvPr/>
          </p:nvSpPr>
          <p:spPr bwMode="auto">
            <a:xfrm>
              <a:off x="4140421" y="1217483"/>
              <a:ext cx="241146" cy="240922"/>
            </a:xfrm>
            <a:prstGeom prst="ellipse">
              <a:avLst/>
            </a:prstGeom>
            <a:solidFill>
              <a:schemeClr val="bg1"/>
            </a:solidFill>
            <a:ln w="9525">
              <a:solidFill>
                <a:schemeClr val="bg1"/>
              </a:solidFill>
              <a:round/>
              <a:headEnd/>
              <a:tailEnd/>
            </a:ln>
            <a:effectLst>
              <a:outerShdw blurRad="40000" dist="23000" dir="5400000" rotWithShape="0">
                <a:srgbClr val="808080">
                  <a:alpha val="34999"/>
                </a:srgbClr>
              </a:outerShdw>
            </a:effectLst>
          </p:spPr>
          <p:txBody>
            <a:bodyPr anchor="ctr"/>
            <a:lstStyle/>
            <a:p>
              <a:pPr algn="ctr"/>
              <a:endParaRPr lang="nb-NO">
                <a:solidFill>
                  <a:srgbClr val="FFFFFF"/>
                </a:solidFill>
              </a:endParaRPr>
            </a:p>
          </p:txBody>
        </p:sp>
        <p:sp>
          <p:nvSpPr>
            <p:cNvPr id="18" name="Donut 17"/>
            <p:cNvSpPr/>
            <p:nvPr/>
          </p:nvSpPr>
          <p:spPr>
            <a:xfrm>
              <a:off x="4102100" y="1181100"/>
              <a:ext cx="304800" cy="304800"/>
            </a:xfrm>
            <a:prstGeom prst="donut">
              <a:avLst>
                <a:gd name="adj" fmla="val 12755"/>
              </a:avLst>
            </a:prstGeom>
            <a:gradFill flip="none" rotWithShape="1">
              <a:gsLst>
                <a:gs pos="0">
                  <a:schemeClr val="tx1">
                    <a:lumMod val="65000"/>
                    <a:lumOff val="35000"/>
                  </a:schemeClr>
                </a:gs>
                <a:gs pos="93000">
                  <a:schemeClr val="bg1"/>
                </a:gs>
                <a:gs pos="100000">
                  <a:schemeClr val="bg1">
                    <a:lumMod val="95000"/>
                  </a:schemeClr>
                </a:gs>
              </a:gsLst>
              <a:path path="circle">
                <a:fillToRect l="50000" t="50000" r="50000" b="50000"/>
              </a:path>
              <a:tileRect/>
            </a:grad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400">
                  <a:solidFill>
                    <a:schemeClr val="tx1"/>
                  </a:solidFill>
                  <a:latin typeface="Arial" charset="0"/>
                  <a:ea typeface="ＭＳ Ｐゴシック" pitchFamily="-109" charset="-128"/>
                </a:defRPr>
              </a:lvl1pPr>
              <a:lvl2pPr marL="37931725" indent="-37474525" eaLnBrk="0" hangingPunct="0">
                <a:defRPr sz="2400">
                  <a:solidFill>
                    <a:schemeClr val="tx1"/>
                  </a:solidFill>
                  <a:latin typeface="Arial" charset="0"/>
                  <a:ea typeface="ＭＳ Ｐゴシック" pitchFamily="-109" charset="-128"/>
                </a:defRPr>
              </a:lvl2pPr>
              <a:lvl3pPr eaLnBrk="0" hangingPunct="0">
                <a:defRPr sz="2400">
                  <a:solidFill>
                    <a:schemeClr val="tx1"/>
                  </a:solidFill>
                  <a:latin typeface="Arial" charset="0"/>
                  <a:ea typeface="ＭＳ Ｐゴシック" pitchFamily="-109" charset="-128"/>
                </a:defRPr>
              </a:lvl3pPr>
              <a:lvl4pPr eaLnBrk="0" hangingPunct="0">
                <a:defRPr sz="2400">
                  <a:solidFill>
                    <a:schemeClr val="tx1"/>
                  </a:solidFill>
                  <a:latin typeface="Arial" charset="0"/>
                  <a:ea typeface="ＭＳ Ｐゴシック" pitchFamily="-109" charset="-128"/>
                </a:defRPr>
              </a:lvl4pPr>
              <a:lvl5pPr eaLnBrk="0" hangingPunct="0">
                <a:defRPr sz="2400">
                  <a:solidFill>
                    <a:schemeClr val="tx1"/>
                  </a:solidFill>
                  <a:latin typeface="Arial" charset="0"/>
                  <a:ea typeface="ＭＳ Ｐゴシック" pitchFamily="-109" charset="-128"/>
                </a:defRPr>
              </a:lvl5pPr>
              <a:lvl6pPr marL="457200" eaLnBrk="0" fontAlgn="base" hangingPunct="0">
                <a:spcBef>
                  <a:spcPct val="0"/>
                </a:spcBef>
                <a:spcAft>
                  <a:spcPct val="0"/>
                </a:spcAft>
                <a:defRPr sz="2400">
                  <a:solidFill>
                    <a:schemeClr val="tx1"/>
                  </a:solidFill>
                  <a:latin typeface="Arial" charset="0"/>
                  <a:ea typeface="ＭＳ Ｐゴシック" pitchFamily="-109" charset="-128"/>
                </a:defRPr>
              </a:lvl6pPr>
              <a:lvl7pPr marL="914400" eaLnBrk="0" fontAlgn="base" hangingPunct="0">
                <a:spcBef>
                  <a:spcPct val="0"/>
                </a:spcBef>
                <a:spcAft>
                  <a:spcPct val="0"/>
                </a:spcAft>
                <a:defRPr sz="2400">
                  <a:solidFill>
                    <a:schemeClr val="tx1"/>
                  </a:solidFill>
                  <a:latin typeface="Arial" charset="0"/>
                  <a:ea typeface="ＭＳ Ｐゴシック" pitchFamily="-109" charset="-128"/>
                </a:defRPr>
              </a:lvl7pPr>
              <a:lvl8pPr marL="1371600" eaLnBrk="0" fontAlgn="base" hangingPunct="0">
                <a:spcBef>
                  <a:spcPct val="0"/>
                </a:spcBef>
                <a:spcAft>
                  <a:spcPct val="0"/>
                </a:spcAft>
                <a:defRPr sz="2400">
                  <a:solidFill>
                    <a:schemeClr val="tx1"/>
                  </a:solidFill>
                  <a:latin typeface="Arial" charset="0"/>
                  <a:ea typeface="ＭＳ Ｐゴシック" pitchFamily="-109" charset="-128"/>
                </a:defRPr>
              </a:lvl8pPr>
              <a:lvl9pPr marL="1828800" eaLnBrk="0" fontAlgn="base" hangingPunct="0">
                <a:spcBef>
                  <a:spcPct val="0"/>
                </a:spcBef>
                <a:spcAft>
                  <a:spcPct val="0"/>
                </a:spcAft>
                <a:defRPr sz="2400">
                  <a:solidFill>
                    <a:schemeClr val="tx1"/>
                  </a:solidFill>
                  <a:latin typeface="Arial" charset="0"/>
                  <a:ea typeface="ＭＳ Ｐゴシック" pitchFamily="-109" charset="-128"/>
                </a:defRPr>
              </a:lvl9pPr>
            </a:lstStyle>
            <a:p>
              <a:pPr algn="ctr" eaLnBrk="1" hangingPunct="1"/>
              <a:endParaRPr lang="nb-NO" sz="1800">
                <a:solidFill>
                  <a:prstClr val="black"/>
                </a:solidFill>
                <a:latin typeface="Calibri" pitchFamily="-109" charset="0"/>
              </a:endParaRPr>
            </a:p>
          </p:txBody>
        </p:sp>
      </p:grpSp>
      <p:sp>
        <p:nvSpPr>
          <p:cNvPr id="30741" name="TextBox 14"/>
          <p:cNvSpPr txBox="1">
            <a:spLocks noChangeArrowheads="1"/>
          </p:cNvSpPr>
          <p:nvPr/>
        </p:nvSpPr>
        <p:spPr bwMode="auto">
          <a:xfrm>
            <a:off x="1610518" y="3467100"/>
            <a:ext cx="1474787" cy="16619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pitchFamily="-109" charset="-128"/>
              </a:defRPr>
            </a:lvl1pPr>
            <a:lvl2pPr marL="37931725" indent="-37474525" eaLnBrk="0" hangingPunct="0">
              <a:defRPr sz="2400">
                <a:solidFill>
                  <a:schemeClr val="tx1"/>
                </a:solidFill>
                <a:latin typeface="Arial" charset="0"/>
                <a:ea typeface="ＭＳ Ｐゴシック" pitchFamily="-109" charset="-128"/>
              </a:defRPr>
            </a:lvl2pPr>
            <a:lvl3pPr eaLnBrk="0" hangingPunct="0">
              <a:defRPr sz="2400">
                <a:solidFill>
                  <a:schemeClr val="tx1"/>
                </a:solidFill>
                <a:latin typeface="Arial" charset="0"/>
                <a:ea typeface="ＭＳ Ｐゴシック" pitchFamily="-109" charset="-128"/>
              </a:defRPr>
            </a:lvl3pPr>
            <a:lvl4pPr eaLnBrk="0" hangingPunct="0">
              <a:defRPr sz="2400">
                <a:solidFill>
                  <a:schemeClr val="tx1"/>
                </a:solidFill>
                <a:latin typeface="Arial" charset="0"/>
                <a:ea typeface="ＭＳ Ｐゴシック" pitchFamily="-109" charset="-128"/>
              </a:defRPr>
            </a:lvl4pPr>
            <a:lvl5pPr eaLnBrk="0" hangingPunct="0">
              <a:defRPr sz="2400">
                <a:solidFill>
                  <a:schemeClr val="tx1"/>
                </a:solidFill>
                <a:latin typeface="Arial" charset="0"/>
                <a:ea typeface="ＭＳ Ｐゴシック" pitchFamily="-109" charset="-128"/>
              </a:defRPr>
            </a:lvl5pPr>
            <a:lvl6pPr marL="457200" eaLnBrk="0" fontAlgn="base" hangingPunct="0">
              <a:spcBef>
                <a:spcPct val="0"/>
              </a:spcBef>
              <a:spcAft>
                <a:spcPct val="0"/>
              </a:spcAft>
              <a:defRPr sz="2400">
                <a:solidFill>
                  <a:schemeClr val="tx1"/>
                </a:solidFill>
                <a:latin typeface="Arial" charset="0"/>
                <a:ea typeface="ＭＳ Ｐゴシック" pitchFamily="-109" charset="-128"/>
              </a:defRPr>
            </a:lvl6pPr>
            <a:lvl7pPr marL="914400" eaLnBrk="0" fontAlgn="base" hangingPunct="0">
              <a:spcBef>
                <a:spcPct val="0"/>
              </a:spcBef>
              <a:spcAft>
                <a:spcPct val="0"/>
              </a:spcAft>
              <a:defRPr sz="2400">
                <a:solidFill>
                  <a:schemeClr val="tx1"/>
                </a:solidFill>
                <a:latin typeface="Arial" charset="0"/>
                <a:ea typeface="ＭＳ Ｐゴシック" pitchFamily="-109" charset="-128"/>
              </a:defRPr>
            </a:lvl7pPr>
            <a:lvl8pPr marL="1371600" eaLnBrk="0" fontAlgn="base" hangingPunct="0">
              <a:spcBef>
                <a:spcPct val="0"/>
              </a:spcBef>
              <a:spcAft>
                <a:spcPct val="0"/>
              </a:spcAft>
              <a:defRPr sz="2400">
                <a:solidFill>
                  <a:schemeClr val="tx1"/>
                </a:solidFill>
                <a:latin typeface="Arial" charset="0"/>
                <a:ea typeface="ＭＳ Ｐゴシック" pitchFamily="-109" charset="-128"/>
              </a:defRPr>
            </a:lvl8pPr>
            <a:lvl9pPr marL="1828800" eaLnBrk="0" fontAlgn="base" hangingPunct="0">
              <a:spcBef>
                <a:spcPct val="0"/>
              </a:spcBef>
              <a:spcAft>
                <a:spcPct val="0"/>
              </a:spcAft>
              <a:defRPr sz="2400">
                <a:solidFill>
                  <a:schemeClr val="tx1"/>
                </a:solidFill>
                <a:latin typeface="Arial" charset="0"/>
                <a:ea typeface="ＭＳ Ｐゴシック" pitchFamily="-109" charset="-128"/>
              </a:defRPr>
            </a:lvl9pPr>
          </a:lstStyle>
          <a:p>
            <a:pPr eaLnBrk="1" hangingPunct="1"/>
            <a:r>
              <a:rPr lang="en-US" sz="6600" b="1" dirty="0" smtClean="0">
                <a:solidFill>
                  <a:srgbClr val="262626"/>
                </a:solidFill>
                <a:latin typeface="Calibri" pitchFamily="-109" charset="0"/>
                <a:cs typeface="Calibri" pitchFamily="-109" charset="0"/>
              </a:rPr>
              <a:t>%</a:t>
            </a:r>
            <a:r>
              <a:rPr lang="tr-TR" sz="6600" b="1" dirty="0" smtClean="0">
                <a:solidFill>
                  <a:srgbClr val="262626"/>
                </a:solidFill>
                <a:latin typeface="Calibri" pitchFamily="-109" charset="0"/>
                <a:cs typeface="Calibri" pitchFamily="-109" charset="0"/>
              </a:rPr>
              <a:t> 2</a:t>
            </a:r>
            <a:endParaRPr lang="en-US" sz="6600" b="1" dirty="0">
              <a:solidFill>
                <a:srgbClr val="262626"/>
              </a:solidFill>
              <a:latin typeface="Calibri" pitchFamily="-109" charset="0"/>
              <a:cs typeface="Calibri" pitchFamily="-109" charset="0"/>
            </a:endParaRPr>
          </a:p>
          <a:p>
            <a:pPr algn="ctr" eaLnBrk="1" hangingPunct="1"/>
            <a:endParaRPr lang="en-US" sz="3200" b="1" dirty="0">
              <a:solidFill>
                <a:srgbClr val="262626"/>
              </a:solidFill>
              <a:latin typeface="Calibri" pitchFamily="-109" charset="0"/>
              <a:cs typeface="Calibri" pitchFamily="-109" charset="0"/>
            </a:endParaRPr>
          </a:p>
        </p:txBody>
      </p:sp>
      <p:sp>
        <p:nvSpPr>
          <p:cNvPr id="23" name="Freeform 22"/>
          <p:cNvSpPr>
            <a:spLocks noChangeArrowheads="1"/>
          </p:cNvSpPr>
          <p:nvPr/>
        </p:nvSpPr>
        <p:spPr bwMode="auto">
          <a:xfrm>
            <a:off x="0" y="1460500"/>
            <a:ext cx="1608138" cy="1173163"/>
          </a:xfrm>
          <a:custGeom>
            <a:avLst/>
            <a:gdLst>
              <a:gd name="T0" fmla="*/ 1498107 w 1608667"/>
              <a:gd name="T1" fmla="*/ 1168928 h 1172633"/>
              <a:gd name="T2" fmla="*/ 1358453 w 1608667"/>
              <a:gd name="T3" fmla="*/ 978342 h 1172633"/>
              <a:gd name="T4" fmla="*/ 0 w 1608667"/>
              <a:gd name="T5" fmla="*/ 0 h 1172633"/>
              <a:gd name="T6" fmla="*/ 0 60000 65536"/>
              <a:gd name="T7" fmla="*/ 0 60000 65536"/>
              <a:gd name="T8" fmla="*/ 0 60000 65536"/>
              <a:gd name="T9" fmla="*/ 0 w 1608667"/>
              <a:gd name="T10" fmla="*/ 0 h 1172633"/>
              <a:gd name="T11" fmla="*/ 1608667 w 1608667"/>
              <a:gd name="T12" fmla="*/ 1172633 h 1172633"/>
            </a:gdLst>
            <a:ahLst/>
            <a:cxnLst>
              <a:cxn ang="T6">
                <a:pos x="T0" y="T1"/>
              </a:cxn>
              <a:cxn ang="T7">
                <a:pos x="T2" y="T3"/>
              </a:cxn>
              <a:cxn ang="T8">
                <a:pos x="T4" y="T5"/>
              </a:cxn>
            </a:cxnLst>
            <a:rect l="T9" t="T10" r="T11" b="T12"/>
            <a:pathLst>
              <a:path w="1608667" h="1172633">
                <a:moveTo>
                  <a:pt x="1498600" y="1168400"/>
                </a:moveTo>
                <a:cubicBezTo>
                  <a:pt x="1553633" y="1170516"/>
                  <a:pt x="1608667" y="1172633"/>
                  <a:pt x="1358900" y="977900"/>
                </a:cubicBezTo>
                <a:cubicBezTo>
                  <a:pt x="1109133" y="783167"/>
                  <a:pt x="152400" y="230717"/>
                  <a:pt x="0" y="0"/>
                </a:cubicBezTo>
              </a:path>
            </a:pathLst>
          </a:custGeom>
          <a:noFill/>
          <a:ln w="25400">
            <a:solidFill>
              <a:srgbClr val="7F7F7F"/>
            </a:solidFill>
            <a:miter lim="800000"/>
            <a:headEnd/>
            <a:tailEnd/>
          </a:ln>
          <a:effectLst>
            <a:outerShdw blurRad="40000" dist="20000" dir="5400000" rotWithShape="0">
              <a:srgbClr val="808080">
                <a:alpha val="37999"/>
              </a:srgbClr>
            </a:outerShdw>
          </a:effectLst>
          <a:extLst>
            <a:ext uri="{909E8E84-426E-40DD-AFC4-6F175D3DCCD1}">
              <a14:hiddenFill xmlns:a14="http://schemas.microsoft.com/office/drawing/2010/main">
                <a:solidFill>
                  <a:srgbClr val="FFFFFF"/>
                </a:solidFill>
              </a14:hiddenFill>
            </a:ext>
          </a:extLst>
        </p:spPr>
        <p:txBody>
          <a:bodyPr anchor="ctr"/>
          <a:lstStyle/>
          <a:p>
            <a:pPr algn="ctr"/>
            <a:endParaRPr lang="nb-NO">
              <a:solidFill>
                <a:prstClr val="black"/>
              </a:solidFill>
            </a:endParaRPr>
          </a:p>
        </p:txBody>
      </p:sp>
      <p:sp>
        <p:nvSpPr>
          <p:cNvPr id="22" name="TextBox 54"/>
          <p:cNvSpPr txBox="1">
            <a:spLocks noChangeArrowheads="1"/>
          </p:cNvSpPr>
          <p:nvPr/>
        </p:nvSpPr>
        <p:spPr bwMode="auto">
          <a:xfrm>
            <a:off x="3373070" y="1643024"/>
            <a:ext cx="7581900" cy="22159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pitchFamily="-109" charset="-128"/>
              </a:defRPr>
            </a:lvl1pPr>
            <a:lvl2pPr marL="37931725" indent="-37474525" eaLnBrk="0" hangingPunct="0">
              <a:defRPr sz="2400">
                <a:solidFill>
                  <a:schemeClr val="tx1"/>
                </a:solidFill>
                <a:latin typeface="Arial" charset="0"/>
                <a:ea typeface="ＭＳ Ｐゴシック" pitchFamily="-109" charset="-128"/>
              </a:defRPr>
            </a:lvl2pPr>
            <a:lvl3pPr eaLnBrk="0" hangingPunct="0">
              <a:defRPr sz="2400">
                <a:solidFill>
                  <a:schemeClr val="tx1"/>
                </a:solidFill>
                <a:latin typeface="Arial" charset="0"/>
                <a:ea typeface="ＭＳ Ｐゴシック" pitchFamily="-109" charset="-128"/>
              </a:defRPr>
            </a:lvl3pPr>
            <a:lvl4pPr eaLnBrk="0" hangingPunct="0">
              <a:defRPr sz="2400">
                <a:solidFill>
                  <a:schemeClr val="tx1"/>
                </a:solidFill>
                <a:latin typeface="Arial" charset="0"/>
                <a:ea typeface="ＭＳ Ｐゴシック" pitchFamily="-109" charset="-128"/>
              </a:defRPr>
            </a:lvl4pPr>
            <a:lvl5pPr eaLnBrk="0" hangingPunct="0">
              <a:defRPr sz="2400">
                <a:solidFill>
                  <a:schemeClr val="tx1"/>
                </a:solidFill>
                <a:latin typeface="Arial" charset="0"/>
                <a:ea typeface="ＭＳ Ｐゴシック" pitchFamily="-109" charset="-128"/>
              </a:defRPr>
            </a:lvl5pPr>
            <a:lvl6pPr marL="457200" eaLnBrk="0" fontAlgn="base" hangingPunct="0">
              <a:spcBef>
                <a:spcPct val="0"/>
              </a:spcBef>
              <a:spcAft>
                <a:spcPct val="0"/>
              </a:spcAft>
              <a:defRPr sz="2400">
                <a:solidFill>
                  <a:schemeClr val="tx1"/>
                </a:solidFill>
                <a:latin typeface="Arial" charset="0"/>
                <a:ea typeface="ＭＳ Ｐゴシック" pitchFamily="-109" charset="-128"/>
              </a:defRPr>
            </a:lvl6pPr>
            <a:lvl7pPr marL="914400" eaLnBrk="0" fontAlgn="base" hangingPunct="0">
              <a:spcBef>
                <a:spcPct val="0"/>
              </a:spcBef>
              <a:spcAft>
                <a:spcPct val="0"/>
              </a:spcAft>
              <a:defRPr sz="2400">
                <a:solidFill>
                  <a:schemeClr val="tx1"/>
                </a:solidFill>
                <a:latin typeface="Arial" charset="0"/>
                <a:ea typeface="ＭＳ Ｐゴシック" pitchFamily="-109" charset="-128"/>
              </a:defRPr>
            </a:lvl7pPr>
            <a:lvl8pPr marL="1371600" eaLnBrk="0" fontAlgn="base" hangingPunct="0">
              <a:spcBef>
                <a:spcPct val="0"/>
              </a:spcBef>
              <a:spcAft>
                <a:spcPct val="0"/>
              </a:spcAft>
              <a:defRPr sz="2400">
                <a:solidFill>
                  <a:schemeClr val="tx1"/>
                </a:solidFill>
                <a:latin typeface="Arial" charset="0"/>
                <a:ea typeface="ＭＳ Ｐゴシック" pitchFamily="-109" charset="-128"/>
              </a:defRPr>
            </a:lvl8pPr>
            <a:lvl9pPr marL="1828800" eaLnBrk="0" fontAlgn="base" hangingPunct="0">
              <a:spcBef>
                <a:spcPct val="0"/>
              </a:spcBef>
              <a:spcAft>
                <a:spcPct val="0"/>
              </a:spcAft>
              <a:defRPr sz="2400">
                <a:solidFill>
                  <a:schemeClr val="tx1"/>
                </a:solidFill>
                <a:latin typeface="Arial" charset="0"/>
                <a:ea typeface="ＭＳ Ｐゴシック" pitchFamily="-109" charset="-128"/>
              </a:defRPr>
            </a:lvl9pPr>
          </a:lstStyle>
          <a:p>
            <a:pPr eaLnBrk="1" hangingPunct="1"/>
            <a:r>
              <a:rPr lang="nb-NO" sz="5400" b="1" dirty="0" smtClean="0">
                <a:solidFill>
                  <a:srgbClr val="262626"/>
                </a:solidFill>
                <a:latin typeface="Calibri" pitchFamily="-109" charset="0"/>
                <a:cs typeface="Calibri" pitchFamily="-109" charset="0"/>
              </a:rPr>
              <a:t>TOPLAM TASARRUF</a:t>
            </a:r>
          </a:p>
          <a:p>
            <a:pPr eaLnBrk="1" hangingPunct="1"/>
            <a:r>
              <a:rPr lang="en-GB" sz="2800" dirty="0" err="1" smtClean="0">
                <a:solidFill>
                  <a:srgbClr val="262626"/>
                </a:solidFill>
                <a:latin typeface="Calibri" pitchFamily="-109" charset="0"/>
                <a:cs typeface="Arial" charset="0"/>
              </a:rPr>
              <a:t>Araştırmalar</a:t>
            </a:r>
            <a:r>
              <a:rPr lang="en-GB" sz="2800" dirty="0" smtClean="0">
                <a:solidFill>
                  <a:srgbClr val="262626"/>
                </a:solidFill>
                <a:latin typeface="Calibri" pitchFamily="-109" charset="0"/>
                <a:cs typeface="Arial" charset="0"/>
              </a:rPr>
              <a:t>, </a:t>
            </a:r>
            <a:r>
              <a:rPr lang="en-GB" sz="2800" dirty="0" err="1" smtClean="0">
                <a:solidFill>
                  <a:srgbClr val="262626"/>
                </a:solidFill>
                <a:latin typeface="Calibri" pitchFamily="-109" charset="0"/>
                <a:cs typeface="Arial" charset="0"/>
              </a:rPr>
              <a:t>toplam</a:t>
            </a:r>
            <a:r>
              <a:rPr lang="en-GB" sz="2800" dirty="0" smtClean="0">
                <a:solidFill>
                  <a:srgbClr val="262626"/>
                </a:solidFill>
                <a:latin typeface="Calibri" pitchFamily="-109" charset="0"/>
                <a:cs typeface="Arial" charset="0"/>
              </a:rPr>
              <a:t> </a:t>
            </a:r>
            <a:r>
              <a:rPr lang="en-GB" sz="2800" dirty="0" err="1" smtClean="0">
                <a:solidFill>
                  <a:srgbClr val="262626"/>
                </a:solidFill>
                <a:latin typeface="Calibri" pitchFamily="-109" charset="0"/>
                <a:cs typeface="Arial" charset="0"/>
              </a:rPr>
              <a:t>satışların</a:t>
            </a:r>
            <a:r>
              <a:rPr lang="en-GB" sz="2800" dirty="0" smtClean="0">
                <a:solidFill>
                  <a:srgbClr val="262626"/>
                </a:solidFill>
                <a:latin typeface="Calibri" pitchFamily="-109" charset="0"/>
                <a:cs typeface="Arial" charset="0"/>
              </a:rPr>
              <a:t> </a:t>
            </a:r>
            <a:endParaRPr lang="tr-TR" sz="2800" dirty="0" smtClean="0">
              <a:solidFill>
                <a:srgbClr val="262626"/>
              </a:solidFill>
              <a:latin typeface="Calibri" pitchFamily="-109" charset="0"/>
              <a:cs typeface="Arial" charset="0"/>
            </a:endParaRPr>
          </a:p>
          <a:p>
            <a:pPr eaLnBrk="1" hangingPunct="1"/>
            <a:r>
              <a:rPr lang="en-GB" sz="2800" dirty="0" smtClean="0">
                <a:solidFill>
                  <a:srgbClr val="262626"/>
                </a:solidFill>
                <a:latin typeface="Calibri" pitchFamily="-109" charset="0"/>
                <a:cs typeface="Arial" charset="0"/>
              </a:rPr>
              <a:t>%2’si </a:t>
            </a:r>
            <a:r>
              <a:rPr lang="en-GB" sz="2800" dirty="0" err="1" smtClean="0">
                <a:solidFill>
                  <a:srgbClr val="262626"/>
                </a:solidFill>
                <a:latin typeface="Calibri" pitchFamily="-109" charset="0"/>
                <a:cs typeface="Arial" charset="0"/>
              </a:rPr>
              <a:t>kadar</a:t>
            </a:r>
            <a:r>
              <a:rPr lang="en-GB" sz="2800" dirty="0" smtClean="0">
                <a:solidFill>
                  <a:srgbClr val="262626"/>
                </a:solidFill>
                <a:latin typeface="Calibri" pitchFamily="-109" charset="0"/>
                <a:cs typeface="Arial" charset="0"/>
              </a:rPr>
              <a:t> </a:t>
            </a:r>
            <a:r>
              <a:rPr lang="en-GB" sz="2800" dirty="0" err="1" smtClean="0">
                <a:solidFill>
                  <a:srgbClr val="262626"/>
                </a:solidFill>
                <a:latin typeface="Calibri" pitchFamily="-109" charset="0"/>
                <a:cs typeface="Arial" charset="0"/>
              </a:rPr>
              <a:t>bir</a:t>
            </a:r>
            <a:r>
              <a:rPr lang="en-GB" sz="2800" dirty="0" smtClean="0">
                <a:solidFill>
                  <a:srgbClr val="262626"/>
                </a:solidFill>
                <a:latin typeface="Calibri" pitchFamily="-109" charset="0"/>
                <a:cs typeface="Arial" charset="0"/>
              </a:rPr>
              <a:t> </a:t>
            </a:r>
            <a:r>
              <a:rPr lang="en-GB" sz="2800" dirty="0" err="1" smtClean="0">
                <a:solidFill>
                  <a:srgbClr val="262626"/>
                </a:solidFill>
                <a:latin typeface="Calibri" pitchFamily="-109" charset="0"/>
                <a:cs typeface="Arial" charset="0"/>
              </a:rPr>
              <a:t>maliyet</a:t>
            </a:r>
            <a:r>
              <a:rPr lang="en-GB" sz="2800" dirty="0" smtClean="0">
                <a:solidFill>
                  <a:srgbClr val="262626"/>
                </a:solidFill>
                <a:latin typeface="Calibri" pitchFamily="-109" charset="0"/>
                <a:cs typeface="Arial" charset="0"/>
              </a:rPr>
              <a:t> </a:t>
            </a:r>
            <a:r>
              <a:rPr lang="en-GB" sz="2800" dirty="0" err="1" smtClean="0">
                <a:solidFill>
                  <a:srgbClr val="262626"/>
                </a:solidFill>
                <a:latin typeface="Calibri" pitchFamily="-109" charset="0"/>
                <a:cs typeface="Arial" charset="0"/>
              </a:rPr>
              <a:t>avantajı</a:t>
            </a:r>
            <a:r>
              <a:rPr lang="en-GB" sz="2800" dirty="0" smtClean="0">
                <a:solidFill>
                  <a:srgbClr val="262626"/>
                </a:solidFill>
                <a:latin typeface="Calibri" pitchFamily="-109" charset="0"/>
                <a:cs typeface="Arial" charset="0"/>
              </a:rPr>
              <a:t> </a:t>
            </a:r>
            <a:endParaRPr lang="tr-TR" sz="2800" dirty="0" smtClean="0">
              <a:solidFill>
                <a:srgbClr val="262626"/>
              </a:solidFill>
              <a:latin typeface="Calibri" pitchFamily="-109" charset="0"/>
              <a:cs typeface="Arial" charset="0"/>
            </a:endParaRPr>
          </a:p>
          <a:p>
            <a:pPr eaLnBrk="1" hangingPunct="1"/>
            <a:r>
              <a:rPr lang="en-GB" sz="2800" dirty="0" err="1" smtClean="0">
                <a:solidFill>
                  <a:srgbClr val="262626"/>
                </a:solidFill>
                <a:latin typeface="Calibri" pitchFamily="-109" charset="0"/>
                <a:cs typeface="Arial" charset="0"/>
              </a:rPr>
              <a:t>sağlanacağını</a:t>
            </a:r>
            <a:r>
              <a:rPr lang="en-GB" sz="2800" dirty="0" smtClean="0">
                <a:solidFill>
                  <a:srgbClr val="262626"/>
                </a:solidFill>
                <a:latin typeface="Calibri" pitchFamily="-109" charset="0"/>
                <a:cs typeface="Arial" charset="0"/>
              </a:rPr>
              <a:t> </a:t>
            </a:r>
            <a:r>
              <a:rPr lang="en-GB" sz="2800" dirty="0" err="1" smtClean="0">
                <a:solidFill>
                  <a:srgbClr val="262626"/>
                </a:solidFill>
                <a:latin typeface="Calibri" pitchFamily="-109" charset="0"/>
                <a:cs typeface="Arial" charset="0"/>
              </a:rPr>
              <a:t>göstermektedir</a:t>
            </a:r>
            <a:r>
              <a:rPr lang="en-GB" sz="2800" dirty="0" smtClean="0">
                <a:solidFill>
                  <a:srgbClr val="262626"/>
                </a:solidFill>
                <a:latin typeface="Calibri" pitchFamily="-109" charset="0"/>
                <a:cs typeface="Arial" charset="0"/>
              </a:rPr>
              <a:t>.</a:t>
            </a:r>
          </a:p>
        </p:txBody>
      </p:sp>
      <p:grpSp>
        <p:nvGrpSpPr>
          <p:cNvPr id="25" name="Group 17"/>
          <p:cNvGrpSpPr>
            <a:grpSpLocks/>
          </p:cNvGrpSpPr>
          <p:nvPr/>
        </p:nvGrpSpPr>
        <p:grpSpPr bwMode="auto">
          <a:xfrm>
            <a:off x="2884820" y="1505724"/>
            <a:ext cx="644109" cy="919207"/>
            <a:chOff x="4109864" y="2500313"/>
            <a:chExt cx="1078086" cy="1537898"/>
          </a:xfrm>
          <a:effectLst>
            <a:outerShdw blurRad="63500" sx="102000" sy="102000" algn="ctr" rotWithShape="0">
              <a:prstClr val="black">
                <a:alpha val="0"/>
              </a:prstClr>
            </a:outerShdw>
          </a:effectLst>
        </p:grpSpPr>
        <p:grpSp>
          <p:nvGrpSpPr>
            <p:cNvPr id="26" name="Group 4"/>
            <p:cNvGrpSpPr>
              <a:grpSpLocks/>
            </p:cNvGrpSpPr>
            <p:nvPr/>
          </p:nvGrpSpPr>
          <p:grpSpPr bwMode="auto">
            <a:xfrm>
              <a:off x="4109864" y="3335127"/>
              <a:ext cx="703376" cy="703084"/>
              <a:chOff x="5524674" y="1413200"/>
              <a:chExt cx="703376" cy="703084"/>
            </a:xfrm>
          </p:grpSpPr>
          <p:sp>
            <p:nvSpPr>
              <p:cNvPr id="33" name="Oval 32"/>
              <p:cNvSpPr/>
              <p:nvPr/>
            </p:nvSpPr>
            <p:spPr>
              <a:xfrm>
                <a:off x="5524674" y="1413200"/>
                <a:ext cx="703376" cy="703084"/>
              </a:xfrm>
              <a:prstGeom prst="ellipse">
                <a:avLst/>
              </a:prstGeom>
              <a:gradFill>
                <a:gsLst>
                  <a:gs pos="0">
                    <a:srgbClr val="C00000"/>
                  </a:gs>
                  <a:gs pos="100000">
                    <a:srgbClr val="FF0000"/>
                  </a:gs>
                </a:gsLst>
                <a:lin ang="5400000" scaled="0"/>
              </a:gradFill>
              <a:ln w="3175" cap="flat" cmpd="sng" algn="ctr">
                <a:solidFill>
                  <a:srgbClr val="FF0000"/>
                </a:solidFill>
                <a:prstDash val="solid"/>
              </a:ln>
              <a:effectLst>
                <a:outerShdw blurRad="63500" sx="102000" sy="102000" algn="ctr" rotWithShape="0">
                  <a:prstClr val="black">
                    <a:alpha val="34000"/>
                  </a:prstClr>
                </a:outerShdw>
              </a:effectLst>
            </p:spPr>
            <p:txBody>
              <a:bodyPr anchor="ctr"/>
              <a:lstStyle/>
              <a:p>
                <a:pPr algn="ctr">
                  <a:defRPr/>
                </a:pPr>
                <a:endParaRPr lang="nb-NO" kern="0">
                  <a:solidFill>
                    <a:srgbClr val="FFFFFF"/>
                  </a:solidFill>
                  <a:cs typeface="Arial" charset="0"/>
                </a:endParaRPr>
              </a:p>
            </p:txBody>
          </p:sp>
          <p:sp>
            <p:nvSpPr>
              <p:cNvPr id="34" name="Oval 33"/>
              <p:cNvSpPr/>
              <p:nvPr/>
            </p:nvSpPr>
            <p:spPr>
              <a:xfrm>
                <a:off x="5627879" y="1516361"/>
                <a:ext cx="496967" cy="496762"/>
              </a:xfrm>
              <a:prstGeom prst="ellipse">
                <a:avLst/>
              </a:prstGeom>
              <a:gradFill>
                <a:gsLst>
                  <a:gs pos="0">
                    <a:sysClr val="window" lastClr="FFFFFF"/>
                  </a:gs>
                  <a:gs pos="100000">
                    <a:sysClr val="window" lastClr="FFFFFF">
                      <a:lumMod val="85000"/>
                    </a:sysClr>
                  </a:gs>
                </a:gsLst>
                <a:lin ang="5400000" scaled="0"/>
              </a:gradFill>
              <a:ln w="3175" cap="flat" cmpd="sng" algn="ctr">
                <a:solidFill>
                  <a:sysClr val="window" lastClr="FFFFFF"/>
                </a:solidFill>
                <a:prstDash val="solid"/>
              </a:ln>
              <a:effectLst/>
            </p:spPr>
            <p:txBody>
              <a:bodyPr anchor="ctr"/>
              <a:lstStyle/>
              <a:p>
                <a:pPr algn="ctr">
                  <a:defRPr/>
                </a:pPr>
                <a:endParaRPr lang="nb-NO" kern="0">
                  <a:solidFill>
                    <a:srgbClr val="FFFFFF"/>
                  </a:solidFill>
                  <a:cs typeface="Arial" charset="0"/>
                </a:endParaRPr>
              </a:p>
            </p:txBody>
          </p:sp>
          <p:sp>
            <p:nvSpPr>
              <p:cNvPr id="35" name="Oval 34"/>
              <p:cNvSpPr/>
              <p:nvPr/>
            </p:nvSpPr>
            <p:spPr>
              <a:xfrm>
                <a:off x="5766013" y="1651265"/>
                <a:ext cx="228637" cy="226955"/>
              </a:xfrm>
              <a:prstGeom prst="ellipse">
                <a:avLst/>
              </a:prstGeom>
              <a:gradFill>
                <a:gsLst>
                  <a:gs pos="0">
                    <a:srgbClr val="C00000"/>
                  </a:gs>
                  <a:gs pos="100000">
                    <a:srgbClr val="FF0000"/>
                  </a:gs>
                </a:gsLst>
                <a:lin ang="5400000" scaled="0"/>
              </a:gradFill>
              <a:ln w="3175" cap="flat" cmpd="sng" algn="ctr">
                <a:solidFill>
                  <a:srgbClr val="FF0000"/>
                </a:solidFill>
                <a:prstDash val="solid"/>
              </a:ln>
              <a:effectLst/>
            </p:spPr>
            <p:txBody>
              <a:bodyPr anchor="ctr"/>
              <a:lstStyle/>
              <a:p>
                <a:pPr algn="ctr">
                  <a:defRPr/>
                </a:pPr>
                <a:endParaRPr lang="nb-NO" kern="0">
                  <a:solidFill>
                    <a:srgbClr val="FFFFFF"/>
                  </a:solidFill>
                  <a:cs typeface="Arial" charset="0"/>
                </a:endParaRPr>
              </a:p>
            </p:txBody>
          </p:sp>
        </p:grpSp>
        <p:sp>
          <p:nvSpPr>
            <p:cNvPr id="27" name="Freeform 57"/>
            <p:cNvSpPr>
              <a:spLocks/>
            </p:cNvSpPr>
            <p:nvPr/>
          </p:nvSpPr>
          <p:spPr bwMode="auto">
            <a:xfrm rot="15813706" flipH="1" flipV="1">
              <a:off x="4658487" y="3156412"/>
              <a:ext cx="255522" cy="803404"/>
            </a:xfrm>
            <a:custGeom>
              <a:avLst/>
              <a:gdLst/>
              <a:ahLst/>
              <a:cxnLst>
                <a:cxn ang="0">
                  <a:pos x="1431" y="75"/>
                </a:cxn>
                <a:cxn ang="0">
                  <a:pos x="1720" y="15"/>
                </a:cxn>
                <a:cxn ang="0">
                  <a:pos x="2010" y="0"/>
                </a:cxn>
                <a:cxn ang="0">
                  <a:pos x="2296" y="27"/>
                </a:cxn>
                <a:cxn ang="0">
                  <a:pos x="2573" y="93"/>
                </a:cxn>
                <a:cxn ang="0">
                  <a:pos x="2838" y="199"/>
                </a:cxn>
                <a:cxn ang="0">
                  <a:pos x="3086" y="341"/>
                </a:cxn>
                <a:cxn ang="0">
                  <a:pos x="3310" y="517"/>
                </a:cxn>
                <a:cxn ang="0">
                  <a:pos x="3509" y="727"/>
                </a:cxn>
                <a:cxn ang="0">
                  <a:pos x="3677" y="968"/>
                </a:cxn>
                <a:cxn ang="0">
                  <a:pos x="3811" y="1239"/>
                </a:cxn>
                <a:cxn ang="0">
                  <a:pos x="3856" y="1364"/>
                </a:cxn>
                <a:cxn ang="0">
                  <a:pos x="3893" y="1490"/>
                </a:cxn>
                <a:cxn ang="0">
                  <a:pos x="3920" y="1617"/>
                </a:cxn>
                <a:cxn ang="0">
                  <a:pos x="3940" y="1744"/>
                </a:cxn>
                <a:cxn ang="0">
                  <a:pos x="3950" y="1871"/>
                </a:cxn>
                <a:cxn ang="0">
                  <a:pos x="3953" y="1998"/>
                </a:cxn>
                <a:cxn ang="0">
                  <a:pos x="3947" y="2123"/>
                </a:cxn>
                <a:cxn ang="0">
                  <a:pos x="3933" y="2249"/>
                </a:cxn>
                <a:cxn ang="0">
                  <a:pos x="3912" y="2372"/>
                </a:cxn>
                <a:cxn ang="0">
                  <a:pos x="3882" y="2494"/>
                </a:cxn>
                <a:cxn ang="0">
                  <a:pos x="3809" y="2742"/>
                </a:cxn>
                <a:cxn ang="0">
                  <a:pos x="3693" y="3249"/>
                </a:cxn>
                <a:cxn ang="0">
                  <a:pos x="3626" y="3756"/>
                </a:cxn>
                <a:cxn ang="0">
                  <a:pos x="3605" y="4264"/>
                </a:cxn>
                <a:cxn ang="0">
                  <a:pos x="3623" y="4770"/>
                </a:cxn>
                <a:cxn ang="0">
                  <a:pos x="3675" y="5276"/>
                </a:cxn>
                <a:cxn ang="0">
                  <a:pos x="3758" y="5780"/>
                </a:cxn>
                <a:cxn ang="0">
                  <a:pos x="3864" y="6282"/>
                </a:cxn>
                <a:cxn ang="0">
                  <a:pos x="3991" y="6781"/>
                </a:cxn>
                <a:cxn ang="0">
                  <a:pos x="4130" y="7278"/>
                </a:cxn>
                <a:cxn ang="0">
                  <a:pos x="4279" y="7771"/>
                </a:cxn>
                <a:cxn ang="0">
                  <a:pos x="4318" y="7913"/>
                </a:cxn>
                <a:cxn ang="0">
                  <a:pos x="4192" y="7656"/>
                </a:cxn>
                <a:cxn ang="0">
                  <a:pos x="3944" y="7179"/>
                </a:cxn>
                <a:cxn ang="0">
                  <a:pos x="3689" y="6718"/>
                </a:cxn>
                <a:cxn ang="0">
                  <a:pos x="3382" y="6202"/>
                </a:cxn>
                <a:cxn ang="0">
                  <a:pos x="3034" y="5663"/>
                </a:cxn>
                <a:cxn ang="0">
                  <a:pos x="2648" y="5130"/>
                </a:cxn>
                <a:cxn ang="0">
                  <a:pos x="2235" y="4634"/>
                </a:cxn>
                <a:cxn ang="0">
                  <a:pos x="1800" y="4206"/>
                </a:cxn>
                <a:cxn ang="0">
                  <a:pos x="1352" y="3875"/>
                </a:cxn>
                <a:cxn ang="0">
                  <a:pos x="1117" y="3749"/>
                </a:cxn>
                <a:cxn ang="0">
                  <a:pos x="993" y="3677"/>
                </a:cxn>
                <a:cxn ang="0">
                  <a:pos x="873" y="3600"/>
                </a:cxn>
                <a:cxn ang="0">
                  <a:pos x="758" y="3514"/>
                </a:cxn>
                <a:cxn ang="0">
                  <a:pos x="648" y="3422"/>
                </a:cxn>
                <a:cxn ang="0">
                  <a:pos x="544" y="3323"/>
                </a:cxn>
                <a:cxn ang="0">
                  <a:pos x="447" y="3217"/>
                </a:cxn>
                <a:cxn ang="0">
                  <a:pos x="357" y="3103"/>
                </a:cxn>
                <a:cxn ang="0">
                  <a:pos x="276" y="2980"/>
                </a:cxn>
                <a:cxn ang="0">
                  <a:pos x="204" y="2851"/>
                </a:cxn>
                <a:cxn ang="0">
                  <a:pos x="142" y="2713"/>
                </a:cxn>
                <a:cxn ang="0">
                  <a:pos x="51" y="2425"/>
                </a:cxn>
                <a:cxn ang="0">
                  <a:pos x="6" y="2136"/>
                </a:cxn>
                <a:cxn ang="0">
                  <a:pos x="4" y="1846"/>
                </a:cxn>
                <a:cxn ang="0">
                  <a:pos x="45" y="1562"/>
                </a:cxn>
                <a:cxn ang="0">
                  <a:pos x="124" y="1289"/>
                </a:cxn>
                <a:cxn ang="0">
                  <a:pos x="243" y="1029"/>
                </a:cxn>
                <a:cxn ang="0">
                  <a:pos x="397" y="790"/>
                </a:cxn>
                <a:cxn ang="0">
                  <a:pos x="585" y="572"/>
                </a:cxn>
                <a:cxn ang="0">
                  <a:pos x="805" y="384"/>
                </a:cxn>
                <a:cxn ang="0">
                  <a:pos x="1056" y="227"/>
                </a:cxn>
              </a:cxnLst>
              <a:rect l="0" t="0" r="r" b="b"/>
              <a:pathLst>
                <a:path w="4330" h="7934">
                  <a:moveTo>
                    <a:pt x="1240" y="142"/>
                  </a:moveTo>
                  <a:lnTo>
                    <a:pt x="1335" y="106"/>
                  </a:lnTo>
                  <a:lnTo>
                    <a:pt x="1431" y="75"/>
                  </a:lnTo>
                  <a:lnTo>
                    <a:pt x="1526" y="51"/>
                  </a:lnTo>
                  <a:lnTo>
                    <a:pt x="1623" y="31"/>
                  </a:lnTo>
                  <a:lnTo>
                    <a:pt x="1720" y="15"/>
                  </a:lnTo>
                  <a:lnTo>
                    <a:pt x="1817" y="5"/>
                  </a:lnTo>
                  <a:lnTo>
                    <a:pt x="1914" y="0"/>
                  </a:lnTo>
                  <a:lnTo>
                    <a:pt x="2010" y="0"/>
                  </a:lnTo>
                  <a:lnTo>
                    <a:pt x="2106" y="4"/>
                  </a:lnTo>
                  <a:lnTo>
                    <a:pt x="2202" y="13"/>
                  </a:lnTo>
                  <a:lnTo>
                    <a:pt x="2296" y="27"/>
                  </a:lnTo>
                  <a:lnTo>
                    <a:pt x="2390" y="44"/>
                  </a:lnTo>
                  <a:lnTo>
                    <a:pt x="2483" y="66"/>
                  </a:lnTo>
                  <a:lnTo>
                    <a:pt x="2573" y="93"/>
                  </a:lnTo>
                  <a:lnTo>
                    <a:pt x="2663" y="124"/>
                  </a:lnTo>
                  <a:lnTo>
                    <a:pt x="2752" y="159"/>
                  </a:lnTo>
                  <a:lnTo>
                    <a:pt x="2838" y="199"/>
                  </a:lnTo>
                  <a:lnTo>
                    <a:pt x="2922" y="242"/>
                  </a:lnTo>
                  <a:lnTo>
                    <a:pt x="3005" y="290"/>
                  </a:lnTo>
                  <a:lnTo>
                    <a:pt x="3086" y="341"/>
                  </a:lnTo>
                  <a:lnTo>
                    <a:pt x="3163" y="396"/>
                  </a:lnTo>
                  <a:lnTo>
                    <a:pt x="3238" y="455"/>
                  </a:lnTo>
                  <a:lnTo>
                    <a:pt x="3310" y="517"/>
                  </a:lnTo>
                  <a:lnTo>
                    <a:pt x="3379" y="585"/>
                  </a:lnTo>
                  <a:lnTo>
                    <a:pt x="3446" y="654"/>
                  </a:lnTo>
                  <a:lnTo>
                    <a:pt x="3509" y="727"/>
                  </a:lnTo>
                  <a:lnTo>
                    <a:pt x="3569" y="805"/>
                  </a:lnTo>
                  <a:lnTo>
                    <a:pt x="3625" y="885"/>
                  </a:lnTo>
                  <a:lnTo>
                    <a:pt x="3677" y="968"/>
                  </a:lnTo>
                  <a:lnTo>
                    <a:pt x="3726" y="1056"/>
                  </a:lnTo>
                  <a:lnTo>
                    <a:pt x="3770" y="1146"/>
                  </a:lnTo>
                  <a:lnTo>
                    <a:pt x="3811" y="1239"/>
                  </a:lnTo>
                  <a:lnTo>
                    <a:pt x="3826" y="1280"/>
                  </a:lnTo>
                  <a:lnTo>
                    <a:pt x="3842" y="1322"/>
                  </a:lnTo>
                  <a:lnTo>
                    <a:pt x="3856" y="1364"/>
                  </a:lnTo>
                  <a:lnTo>
                    <a:pt x="3869" y="1406"/>
                  </a:lnTo>
                  <a:lnTo>
                    <a:pt x="3881" y="1448"/>
                  </a:lnTo>
                  <a:lnTo>
                    <a:pt x="3893" y="1490"/>
                  </a:lnTo>
                  <a:lnTo>
                    <a:pt x="3903" y="1533"/>
                  </a:lnTo>
                  <a:lnTo>
                    <a:pt x="3912" y="1574"/>
                  </a:lnTo>
                  <a:lnTo>
                    <a:pt x="3920" y="1617"/>
                  </a:lnTo>
                  <a:lnTo>
                    <a:pt x="3927" y="1659"/>
                  </a:lnTo>
                  <a:lnTo>
                    <a:pt x="3935" y="1702"/>
                  </a:lnTo>
                  <a:lnTo>
                    <a:pt x="3940" y="1744"/>
                  </a:lnTo>
                  <a:lnTo>
                    <a:pt x="3944" y="1787"/>
                  </a:lnTo>
                  <a:lnTo>
                    <a:pt x="3948" y="1828"/>
                  </a:lnTo>
                  <a:lnTo>
                    <a:pt x="3950" y="1871"/>
                  </a:lnTo>
                  <a:lnTo>
                    <a:pt x="3952" y="1913"/>
                  </a:lnTo>
                  <a:lnTo>
                    <a:pt x="3953" y="1956"/>
                  </a:lnTo>
                  <a:lnTo>
                    <a:pt x="3953" y="1998"/>
                  </a:lnTo>
                  <a:lnTo>
                    <a:pt x="3952" y="2040"/>
                  </a:lnTo>
                  <a:lnTo>
                    <a:pt x="3950" y="2081"/>
                  </a:lnTo>
                  <a:lnTo>
                    <a:pt x="3947" y="2123"/>
                  </a:lnTo>
                  <a:lnTo>
                    <a:pt x="3944" y="2165"/>
                  </a:lnTo>
                  <a:lnTo>
                    <a:pt x="3939" y="2207"/>
                  </a:lnTo>
                  <a:lnTo>
                    <a:pt x="3933" y="2249"/>
                  </a:lnTo>
                  <a:lnTo>
                    <a:pt x="3927" y="2290"/>
                  </a:lnTo>
                  <a:lnTo>
                    <a:pt x="3920" y="2331"/>
                  </a:lnTo>
                  <a:lnTo>
                    <a:pt x="3912" y="2372"/>
                  </a:lnTo>
                  <a:lnTo>
                    <a:pt x="3903" y="2413"/>
                  </a:lnTo>
                  <a:lnTo>
                    <a:pt x="3894" y="2453"/>
                  </a:lnTo>
                  <a:lnTo>
                    <a:pt x="3882" y="2494"/>
                  </a:lnTo>
                  <a:lnTo>
                    <a:pt x="3871" y="2533"/>
                  </a:lnTo>
                  <a:lnTo>
                    <a:pt x="3859" y="2573"/>
                  </a:lnTo>
                  <a:lnTo>
                    <a:pt x="3809" y="2742"/>
                  </a:lnTo>
                  <a:lnTo>
                    <a:pt x="3764" y="2911"/>
                  </a:lnTo>
                  <a:lnTo>
                    <a:pt x="3725" y="3080"/>
                  </a:lnTo>
                  <a:lnTo>
                    <a:pt x="3693" y="3249"/>
                  </a:lnTo>
                  <a:lnTo>
                    <a:pt x="3665" y="3418"/>
                  </a:lnTo>
                  <a:lnTo>
                    <a:pt x="3644" y="3587"/>
                  </a:lnTo>
                  <a:lnTo>
                    <a:pt x="3626" y="3756"/>
                  </a:lnTo>
                  <a:lnTo>
                    <a:pt x="3614" y="3925"/>
                  </a:lnTo>
                  <a:lnTo>
                    <a:pt x="3607" y="4095"/>
                  </a:lnTo>
                  <a:lnTo>
                    <a:pt x="3605" y="4264"/>
                  </a:lnTo>
                  <a:lnTo>
                    <a:pt x="3607" y="4432"/>
                  </a:lnTo>
                  <a:lnTo>
                    <a:pt x="3613" y="4602"/>
                  </a:lnTo>
                  <a:lnTo>
                    <a:pt x="3623" y="4770"/>
                  </a:lnTo>
                  <a:lnTo>
                    <a:pt x="3637" y="4939"/>
                  </a:lnTo>
                  <a:lnTo>
                    <a:pt x="3655" y="5108"/>
                  </a:lnTo>
                  <a:lnTo>
                    <a:pt x="3675" y="5276"/>
                  </a:lnTo>
                  <a:lnTo>
                    <a:pt x="3700" y="5444"/>
                  </a:lnTo>
                  <a:lnTo>
                    <a:pt x="3727" y="5613"/>
                  </a:lnTo>
                  <a:lnTo>
                    <a:pt x="3758" y="5780"/>
                  </a:lnTo>
                  <a:lnTo>
                    <a:pt x="3791" y="5947"/>
                  </a:lnTo>
                  <a:lnTo>
                    <a:pt x="3826" y="6115"/>
                  </a:lnTo>
                  <a:lnTo>
                    <a:pt x="3864" y="6282"/>
                  </a:lnTo>
                  <a:lnTo>
                    <a:pt x="3905" y="6448"/>
                  </a:lnTo>
                  <a:lnTo>
                    <a:pt x="3947" y="6616"/>
                  </a:lnTo>
                  <a:lnTo>
                    <a:pt x="3991" y="6781"/>
                  </a:lnTo>
                  <a:lnTo>
                    <a:pt x="4036" y="6947"/>
                  </a:lnTo>
                  <a:lnTo>
                    <a:pt x="4082" y="7113"/>
                  </a:lnTo>
                  <a:lnTo>
                    <a:pt x="4130" y="7278"/>
                  </a:lnTo>
                  <a:lnTo>
                    <a:pt x="4179" y="7442"/>
                  </a:lnTo>
                  <a:lnTo>
                    <a:pt x="4229" y="7606"/>
                  </a:lnTo>
                  <a:lnTo>
                    <a:pt x="4279" y="7771"/>
                  </a:lnTo>
                  <a:lnTo>
                    <a:pt x="4330" y="7934"/>
                  </a:lnTo>
                  <a:lnTo>
                    <a:pt x="4329" y="7933"/>
                  </a:lnTo>
                  <a:lnTo>
                    <a:pt x="4318" y="7913"/>
                  </a:lnTo>
                  <a:lnTo>
                    <a:pt x="4299" y="7873"/>
                  </a:lnTo>
                  <a:lnTo>
                    <a:pt x="4271" y="7817"/>
                  </a:lnTo>
                  <a:lnTo>
                    <a:pt x="4192" y="7656"/>
                  </a:lnTo>
                  <a:lnTo>
                    <a:pt x="4081" y="7441"/>
                  </a:lnTo>
                  <a:lnTo>
                    <a:pt x="4016" y="7316"/>
                  </a:lnTo>
                  <a:lnTo>
                    <a:pt x="3944" y="7179"/>
                  </a:lnTo>
                  <a:lnTo>
                    <a:pt x="3864" y="7033"/>
                  </a:lnTo>
                  <a:lnTo>
                    <a:pt x="3779" y="6879"/>
                  </a:lnTo>
                  <a:lnTo>
                    <a:pt x="3689" y="6718"/>
                  </a:lnTo>
                  <a:lnTo>
                    <a:pt x="3592" y="6550"/>
                  </a:lnTo>
                  <a:lnTo>
                    <a:pt x="3490" y="6378"/>
                  </a:lnTo>
                  <a:lnTo>
                    <a:pt x="3382" y="6202"/>
                  </a:lnTo>
                  <a:lnTo>
                    <a:pt x="3270" y="6024"/>
                  </a:lnTo>
                  <a:lnTo>
                    <a:pt x="3154" y="5843"/>
                  </a:lnTo>
                  <a:lnTo>
                    <a:pt x="3034" y="5663"/>
                  </a:lnTo>
                  <a:lnTo>
                    <a:pt x="2908" y="5483"/>
                  </a:lnTo>
                  <a:lnTo>
                    <a:pt x="2780" y="5305"/>
                  </a:lnTo>
                  <a:lnTo>
                    <a:pt x="2648" y="5130"/>
                  </a:lnTo>
                  <a:lnTo>
                    <a:pt x="2513" y="4960"/>
                  </a:lnTo>
                  <a:lnTo>
                    <a:pt x="2375" y="4793"/>
                  </a:lnTo>
                  <a:lnTo>
                    <a:pt x="2235" y="4634"/>
                  </a:lnTo>
                  <a:lnTo>
                    <a:pt x="2092" y="4482"/>
                  </a:lnTo>
                  <a:lnTo>
                    <a:pt x="1947" y="4339"/>
                  </a:lnTo>
                  <a:lnTo>
                    <a:pt x="1800" y="4206"/>
                  </a:lnTo>
                  <a:lnTo>
                    <a:pt x="1652" y="4083"/>
                  </a:lnTo>
                  <a:lnTo>
                    <a:pt x="1503" y="3973"/>
                  </a:lnTo>
                  <a:lnTo>
                    <a:pt x="1352" y="3875"/>
                  </a:lnTo>
                  <a:lnTo>
                    <a:pt x="1201" y="3792"/>
                  </a:lnTo>
                  <a:lnTo>
                    <a:pt x="1159" y="3771"/>
                  </a:lnTo>
                  <a:lnTo>
                    <a:pt x="1117" y="3749"/>
                  </a:lnTo>
                  <a:lnTo>
                    <a:pt x="1075" y="3725"/>
                  </a:lnTo>
                  <a:lnTo>
                    <a:pt x="1034" y="3702"/>
                  </a:lnTo>
                  <a:lnTo>
                    <a:pt x="993" y="3677"/>
                  </a:lnTo>
                  <a:lnTo>
                    <a:pt x="953" y="3652"/>
                  </a:lnTo>
                  <a:lnTo>
                    <a:pt x="912" y="3626"/>
                  </a:lnTo>
                  <a:lnTo>
                    <a:pt x="873" y="3600"/>
                  </a:lnTo>
                  <a:lnTo>
                    <a:pt x="834" y="3572"/>
                  </a:lnTo>
                  <a:lnTo>
                    <a:pt x="796" y="3544"/>
                  </a:lnTo>
                  <a:lnTo>
                    <a:pt x="758" y="3514"/>
                  </a:lnTo>
                  <a:lnTo>
                    <a:pt x="720" y="3484"/>
                  </a:lnTo>
                  <a:lnTo>
                    <a:pt x="684" y="3454"/>
                  </a:lnTo>
                  <a:lnTo>
                    <a:pt x="648" y="3422"/>
                  </a:lnTo>
                  <a:lnTo>
                    <a:pt x="612" y="3390"/>
                  </a:lnTo>
                  <a:lnTo>
                    <a:pt x="577" y="3357"/>
                  </a:lnTo>
                  <a:lnTo>
                    <a:pt x="544" y="3323"/>
                  </a:lnTo>
                  <a:lnTo>
                    <a:pt x="511" y="3288"/>
                  </a:lnTo>
                  <a:lnTo>
                    <a:pt x="479" y="3253"/>
                  </a:lnTo>
                  <a:lnTo>
                    <a:pt x="447" y="3217"/>
                  </a:lnTo>
                  <a:lnTo>
                    <a:pt x="416" y="3179"/>
                  </a:lnTo>
                  <a:lnTo>
                    <a:pt x="387" y="3142"/>
                  </a:lnTo>
                  <a:lnTo>
                    <a:pt x="357" y="3103"/>
                  </a:lnTo>
                  <a:lnTo>
                    <a:pt x="330" y="3063"/>
                  </a:lnTo>
                  <a:lnTo>
                    <a:pt x="302" y="3022"/>
                  </a:lnTo>
                  <a:lnTo>
                    <a:pt x="276" y="2980"/>
                  </a:lnTo>
                  <a:lnTo>
                    <a:pt x="251" y="2938"/>
                  </a:lnTo>
                  <a:lnTo>
                    <a:pt x="227" y="2895"/>
                  </a:lnTo>
                  <a:lnTo>
                    <a:pt x="204" y="2851"/>
                  </a:lnTo>
                  <a:lnTo>
                    <a:pt x="183" y="2806"/>
                  </a:lnTo>
                  <a:lnTo>
                    <a:pt x="162" y="2760"/>
                  </a:lnTo>
                  <a:lnTo>
                    <a:pt x="142" y="2713"/>
                  </a:lnTo>
                  <a:lnTo>
                    <a:pt x="107" y="2618"/>
                  </a:lnTo>
                  <a:lnTo>
                    <a:pt x="76" y="2522"/>
                  </a:lnTo>
                  <a:lnTo>
                    <a:pt x="51" y="2425"/>
                  </a:lnTo>
                  <a:lnTo>
                    <a:pt x="32" y="2329"/>
                  </a:lnTo>
                  <a:lnTo>
                    <a:pt x="16" y="2232"/>
                  </a:lnTo>
                  <a:lnTo>
                    <a:pt x="6" y="2136"/>
                  </a:lnTo>
                  <a:lnTo>
                    <a:pt x="1" y="2039"/>
                  </a:lnTo>
                  <a:lnTo>
                    <a:pt x="0" y="1942"/>
                  </a:lnTo>
                  <a:lnTo>
                    <a:pt x="4" y="1846"/>
                  </a:lnTo>
                  <a:lnTo>
                    <a:pt x="13" y="1751"/>
                  </a:lnTo>
                  <a:lnTo>
                    <a:pt x="26" y="1656"/>
                  </a:lnTo>
                  <a:lnTo>
                    <a:pt x="45" y="1562"/>
                  </a:lnTo>
                  <a:lnTo>
                    <a:pt x="67" y="1470"/>
                  </a:lnTo>
                  <a:lnTo>
                    <a:pt x="94" y="1378"/>
                  </a:lnTo>
                  <a:lnTo>
                    <a:pt x="124" y="1289"/>
                  </a:lnTo>
                  <a:lnTo>
                    <a:pt x="160" y="1201"/>
                  </a:lnTo>
                  <a:lnTo>
                    <a:pt x="199" y="1114"/>
                  </a:lnTo>
                  <a:lnTo>
                    <a:pt x="243" y="1029"/>
                  </a:lnTo>
                  <a:lnTo>
                    <a:pt x="290" y="947"/>
                  </a:lnTo>
                  <a:lnTo>
                    <a:pt x="341" y="867"/>
                  </a:lnTo>
                  <a:lnTo>
                    <a:pt x="397" y="790"/>
                  </a:lnTo>
                  <a:lnTo>
                    <a:pt x="455" y="714"/>
                  </a:lnTo>
                  <a:lnTo>
                    <a:pt x="518" y="642"/>
                  </a:lnTo>
                  <a:lnTo>
                    <a:pt x="585" y="572"/>
                  </a:lnTo>
                  <a:lnTo>
                    <a:pt x="655" y="506"/>
                  </a:lnTo>
                  <a:lnTo>
                    <a:pt x="728" y="443"/>
                  </a:lnTo>
                  <a:lnTo>
                    <a:pt x="805" y="384"/>
                  </a:lnTo>
                  <a:lnTo>
                    <a:pt x="886" y="328"/>
                  </a:lnTo>
                  <a:lnTo>
                    <a:pt x="969" y="274"/>
                  </a:lnTo>
                  <a:lnTo>
                    <a:pt x="1056" y="227"/>
                  </a:lnTo>
                  <a:lnTo>
                    <a:pt x="1146" y="182"/>
                  </a:lnTo>
                  <a:lnTo>
                    <a:pt x="1240" y="142"/>
                  </a:lnTo>
                  <a:close/>
                </a:path>
              </a:pathLst>
            </a:custGeom>
            <a:solidFill>
              <a:sysClr val="windowText" lastClr="000000">
                <a:lumMod val="95000"/>
                <a:lumOff val="5000"/>
                <a:alpha val="25000"/>
              </a:sysClr>
            </a:solidFill>
            <a:ln w="9525">
              <a:noFill/>
              <a:round/>
              <a:headEnd/>
              <a:tailEnd/>
            </a:ln>
            <a:effectLst/>
          </p:spPr>
          <p:txBody>
            <a:bodyPr/>
            <a:lstStyle/>
            <a:p>
              <a:pPr>
                <a:defRPr/>
              </a:pPr>
              <a:endParaRPr lang="id-ID" kern="0">
                <a:solidFill>
                  <a:sysClr val="windowText" lastClr="000000"/>
                </a:solidFill>
                <a:cs typeface="Arial" charset="0"/>
              </a:endParaRPr>
            </a:p>
          </p:txBody>
        </p:sp>
        <p:grpSp>
          <p:nvGrpSpPr>
            <p:cNvPr id="29" name="Group 133"/>
            <p:cNvGrpSpPr>
              <a:grpSpLocks/>
            </p:cNvGrpSpPr>
            <p:nvPr/>
          </p:nvGrpSpPr>
          <p:grpSpPr bwMode="auto">
            <a:xfrm flipH="1">
              <a:off x="4435355" y="2500313"/>
              <a:ext cx="650979" cy="1241111"/>
              <a:chOff x="7001096" y="2143116"/>
              <a:chExt cx="1000276" cy="1833550"/>
            </a:xfrm>
          </p:grpSpPr>
          <p:sp>
            <p:nvSpPr>
              <p:cNvPr id="30" name="Freeform 57"/>
              <p:cNvSpPr>
                <a:spLocks/>
              </p:cNvSpPr>
              <p:nvPr/>
            </p:nvSpPr>
            <p:spPr bwMode="auto">
              <a:xfrm>
                <a:off x="7001096" y="2143116"/>
                <a:ext cx="1000276" cy="1833550"/>
              </a:xfrm>
              <a:custGeom>
                <a:avLst/>
                <a:gdLst/>
                <a:ahLst/>
                <a:cxnLst>
                  <a:cxn ang="0">
                    <a:pos x="1431" y="75"/>
                  </a:cxn>
                  <a:cxn ang="0">
                    <a:pos x="1720" y="15"/>
                  </a:cxn>
                  <a:cxn ang="0">
                    <a:pos x="2010" y="0"/>
                  </a:cxn>
                  <a:cxn ang="0">
                    <a:pos x="2296" y="27"/>
                  </a:cxn>
                  <a:cxn ang="0">
                    <a:pos x="2573" y="93"/>
                  </a:cxn>
                  <a:cxn ang="0">
                    <a:pos x="2838" y="199"/>
                  </a:cxn>
                  <a:cxn ang="0">
                    <a:pos x="3086" y="341"/>
                  </a:cxn>
                  <a:cxn ang="0">
                    <a:pos x="3310" y="517"/>
                  </a:cxn>
                  <a:cxn ang="0">
                    <a:pos x="3509" y="727"/>
                  </a:cxn>
                  <a:cxn ang="0">
                    <a:pos x="3677" y="968"/>
                  </a:cxn>
                  <a:cxn ang="0">
                    <a:pos x="3811" y="1239"/>
                  </a:cxn>
                  <a:cxn ang="0">
                    <a:pos x="3856" y="1364"/>
                  </a:cxn>
                  <a:cxn ang="0">
                    <a:pos x="3893" y="1490"/>
                  </a:cxn>
                  <a:cxn ang="0">
                    <a:pos x="3920" y="1617"/>
                  </a:cxn>
                  <a:cxn ang="0">
                    <a:pos x="3940" y="1744"/>
                  </a:cxn>
                  <a:cxn ang="0">
                    <a:pos x="3950" y="1871"/>
                  </a:cxn>
                  <a:cxn ang="0">
                    <a:pos x="3953" y="1998"/>
                  </a:cxn>
                  <a:cxn ang="0">
                    <a:pos x="3947" y="2123"/>
                  </a:cxn>
                  <a:cxn ang="0">
                    <a:pos x="3933" y="2249"/>
                  </a:cxn>
                  <a:cxn ang="0">
                    <a:pos x="3912" y="2372"/>
                  </a:cxn>
                  <a:cxn ang="0">
                    <a:pos x="3882" y="2494"/>
                  </a:cxn>
                  <a:cxn ang="0">
                    <a:pos x="3809" y="2742"/>
                  </a:cxn>
                  <a:cxn ang="0">
                    <a:pos x="3693" y="3249"/>
                  </a:cxn>
                  <a:cxn ang="0">
                    <a:pos x="3626" y="3756"/>
                  </a:cxn>
                  <a:cxn ang="0">
                    <a:pos x="3605" y="4264"/>
                  </a:cxn>
                  <a:cxn ang="0">
                    <a:pos x="3623" y="4770"/>
                  </a:cxn>
                  <a:cxn ang="0">
                    <a:pos x="3675" y="5276"/>
                  </a:cxn>
                  <a:cxn ang="0">
                    <a:pos x="3758" y="5780"/>
                  </a:cxn>
                  <a:cxn ang="0">
                    <a:pos x="3864" y="6282"/>
                  </a:cxn>
                  <a:cxn ang="0">
                    <a:pos x="3991" y="6781"/>
                  </a:cxn>
                  <a:cxn ang="0">
                    <a:pos x="4130" y="7278"/>
                  </a:cxn>
                  <a:cxn ang="0">
                    <a:pos x="4279" y="7771"/>
                  </a:cxn>
                  <a:cxn ang="0">
                    <a:pos x="4318" y="7913"/>
                  </a:cxn>
                  <a:cxn ang="0">
                    <a:pos x="4192" y="7656"/>
                  </a:cxn>
                  <a:cxn ang="0">
                    <a:pos x="3944" y="7179"/>
                  </a:cxn>
                  <a:cxn ang="0">
                    <a:pos x="3689" y="6718"/>
                  </a:cxn>
                  <a:cxn ang="0">
                    <a:pos x="3382" y="6202"/>
                  </a:cxn>
                  <a:cxn ang="0">
                    <a:pos x="3034" y="5663"/>
                  </a:cxn>
                  <a:cxn ang="0">
                    <a:pos x="2648" y="5130"/>
                  </a:cxn>
                  <a:cxn ang="0">
                    <a:pos x="2235" y="4634"/>
                  </a:cxn>
                  <a:cxn ang="0">
                    <a:pos x="1800" y="4206"/>
                  </a:cxn>
                  <a:cxn ang="0">
                    <a:pos x="1352" y="3875"/>
                  </a:cxn>
                  <a:cxn ang="0">
                    <a:pos x="1117" y="3749"/>
                  </a:cxn>
                  <a:cxn ang="0">
                    <a:pos x="993" y="3677"/>
                  </a:cxn>
                  <a:cxn ang="0">
                    <a:pos x="873" y="3600"/>
                  </a:cxn>
                  <a:cxn ang="0">
                    <a:pos x="758" y="3514"/>
                  </a:cxn>
                  <a:cxn ang="0">
                    <a:pos x="648" y="3422"/>
                  </a:cxn>
                  <a:cxn ang="0">
                    <a:pos x="544" y="3323"/>
                  </a:cxn>
                  <a:cxn ang="0">
                    <a:pos x="447" y="3217"/>
                  </a:cxn>
                  <a:cxn ang="0">
                    <a:pos x="357" y="3103"/>
                  </a:cxn>
                  <a:cxn ang="0">
                    <a:pos x="276" y="2980"/>
                  </a:cxn>
                  <a:cxn ang="0">
                    <a:pos x="204" y="2851"/>
                  </a:cxn>
                  <a:cxn ang="0">
                    <a:pos x="142" y="2713"/>
                  </a:cxn>
                  <a:cxn ang="0">
                    <a:pos x="51" y="2425"/>
                  </a:cxn>
                  <a:cxn ang="0">
                    <a:pos x="6" y="2136"/>
                  </a:cxn>
                  <a:cxn ang="0">
                    <a:pos x="4" y="1846"/>
                  </a:cxn>
                  <a:cxn ang="0">
                    <a:pos x="45" y="1562"/>
                  </a:cxn>
                  <a:cxn ang="0">
                    <a:pos x="124" y="1289"/>
                  </a:cxn>
                  <a:cxn ang="0">
                    <a:pos x="243" y="1029"/>
                  </a:cxn>
                  <a:cxn ang="0">
                    <a:pos x="397" y="790"/>
                  </a:cxn>
                  <a:cxn ang="0">
                    <a:pos x="585" y="572"/>
                  </a:cxn>
                  <a:cxn ang="0">
                    <a:pos x="805" y="384"/>
                  </a:cxn>
                  <a:cxn ang="0">
                    <a:pos x="1056" y="227"/>
                  </a:cxn>
                </a:cxnLst>
                <a:rect l="0" t="0" r="r" b="b"/>
                <a:pathLst>
                  <a:path w="4330" h="7934">
                    <a:moveTo>
                      <a:pt x="1240" y="142"/>
                    </a:moveTo>
                    <a:lnTo>
                      <a:pt x="1335" y="106"/>
                    </a:lnTo>
                    <a:lnTo>
                      <a:pt x="1431" y="75"/>
                    </a:lnTo>
                    <a:lnTo>
                      <a:pt x="1526" y="51"/>
                    </a:lnTo>
                    <a:lnTo>
                      <a:pt x="1623" y="31"/>
                    </a:lnTo>
                    <a:lnTo>
                      <a:pt x="1720" y="15"/>
                    </a:lnTo>
                    <a:lnTo>
                      <a:pt x="1817" y="5"/>
                    </a:lnTo>
                    <a:lnTo>
                      <a:pt x="1914" y="0"/>
                    </a:lnTo>
                    <a:lnTo>
                      <a:pt x="2010" y="0"/>
                    </a:lnTo>
                    <a:lnTo>
                      <a:pt x="2106" y="4"/>
                    </a:lnTo>
                    <a:lnTo>
                      <a:pt x="2202" y="13"/>
                    </a:lnTo>
                    <a:lnTo>
                      <a:pt x="2296" y="27"/>
                    </a:lnTo>
                    <a:lnTo>
                      <a:pt x="2390" y="44"/>
                    </a:lnTo>
                    <a:lnTo>
                      <a:pt x="2483" y="66"/>
                    </a:lnTo>
                    <a:lnTo>
                      <a:pt x="2573" y="93"/>
                    </a:lnTo>
                    <a:lnTo>
                      <a:pt x="2663" y="124"/>
                    </a:lnTo>
                    <a:lnTo>
                      <a:pt x="2752" y="159"/>
                    </a:lnTo>
                    <a:lnTo>
                      <a:pt x="2838" y="199"/>
                    </a:lnTo>
                    <a:lnTo>
                      <a:pt x="2922" y="242"/>
                    </a:lnTo>
                    <a:lnTo>
                      <a:pt x="3005" y="290"/>
                    </a:lnTo>
                    <a:lnTo>
                      <a:pt x="3086" y="341"/>
                    </a:lnTo>
                    <a:lnTo>
                      <a:pt x="3163" y="396"/>
                    </a:lnTo>
                    <a:lnTo>
                      <a:pt x="3238" y="455"/>
                    </a:lnTo>
                    <a:lnTo>
                      <a:pt x="3310" y="517"/>
                    </a:lnTo>
                    <a:lnTo>
                      <a:pt x="3379" y="585"/>
                    </a:lnTo>
                    <a:lnTo>
                      <a:pt x="3446" y="654"/>
                    </a:lnTo>
                    <a:lnTo>
                      <a:pt x="3509" y="727"/>
                    </a:lnTo>
                    <a:lnTo>
                      <a:pt x="3569" y="805"/>
                    </a:lnTo>
                    <a:lnTo>
                      <a:pt x="3625" y="885"/>
                    </a:lnTo>
                    <a:lnTo>
                      <a:pt x="3677" y="968"/>
                    </a:lnTo>
                    <a:lnTo>
                      <a:pt x="3726" y="1056"/>
                    </a:lnTo>
                    <a:lnTo>
                      <a:pt x="3770" y="1146"/>
                    </a:lnTo>
                    <a:lnTo>
                      <a:pt x="3811" y="1239"/>
                    </a:lnTo>
                    <a:lnTo>
                      <a:pt x="3826" y="1280"/>
                    </a:lnTo>
                    <a:lnTo>
                      <a:pt x="3842" y="1322"/>
                    </a:lnTo>
                    <a:lnTo>
                      <a:pt x="3856" y="1364"/>
                    </a:lnTo>
                    <a:lnTo>
                      <a:pt x="3869" y="1406"/>
                    </a:lnTo>
                    <a:lnTo>
                      <a:pt x="3881" y="1448"/>
                    </a:lnTo>
                    <a:lnTo>
                      <a:pt x="3893" y="1490"/>
                    </a:lnTo>
                    <a:lnTo>
                      <a:pt x="3903" y="1533"/>
                    </a:lnTo>
                    <a:lnTo>
                      <a:pt x="3912" y="1574"/>
                    </a:lnTo>
                    <a:lnTo>
                      <a:pt x="3920" y="1617"/>
                    </a:lnTo>
                    <a:lnTo>
                      <a:pt x="3927" y="1659"/>
                    </a:lnTo>
                    <a:lnTo>
                      <a:pt x="3935" y="1702"/>
                    </a:lnTo>
                    <a:lnTo>
                      <a:pt x="3940" y="1744"/>
                    </a:lnTo>
                    <a:lnTo>
                      <a:pt x="3944" y="1787"/>
                    </a:lnTo>
                    <a:lnTo>
                      <a:pt x="3948" y="1828"/>
                    </a:lnTo>
                    <a:lnTo>
                      <a:pt x="3950" y="1871"/>
                    </a:lnTo>
                    <a:lnTo>
                      <a:pt x="3952" y="1913"/>
                    </a:lnTo>
                    <a:lnTo>
                      <a:pt x="3953" y="1956"/>
                    </a:lnTo>
                    <a:lnTo>
                      <a:pt x="3953" y="1998"/>
                    </a:lnTo>
                    <a:lnTo>
                      <a:pt x="3952" y="2040"/>
                    </a:lnTo>
                    <a:lnTo>
                      <a:pt x="3950" y="2081"/>
                    </a:lnTo>
                    <a:lnTo>
                      <a:pt x="3947" y="2123"/>
                    </a:lnTo>
                    <a:lnTo>
                      <a:pt x="3944" y="2165"/>
                    </a:lnTo>
                    <a:lnTo>
                      <a:pt x="3939" y="2207"/>
                    </a:lnTo>
                    <a:lnTo>
                      <a:pt x="3933" y="2249"/>
                    </a:lnTo>
                    <a:lnTo>
                      <a:pt x="3927" y="2290"/>
                    </a:lnTo>
                    <a:lnTo>
                      <a:pt x="3920" y="2331"/>
                    </a:lnTo>
                    <a:lnTo>
                      <a:pt x="3912" y="2372"/>
                    </a:lnTo>
                    <a:lnTo>
                      <a:pt x="3903" y="2413"/>
                    </a:lnTo>
                    <a:lnTo>
                      <a:pt x="3894" y="2453"/>
                    </a:lnTo>
                    <a:lnTo>
                      <a:pt x="3882" y="2494"/>
                    </a:lnTo>
                    <a:lnTo>
                      <a:pt x="3871" y="2533"/>
                    </a:lnTo>
                    <a:lnTo>
                      <a:pt x="3859" y="2573"/>
                    </a:lnTo>
                    <a:lnTo>
                      <a:pt x="3809" y="2742"/>
                    </a:lnTo>
                    <a:lnTo>
                      <a:pt x="3764" y="2911"/>
                    </a:lnTo>
                    <a:lnTo>
                      <a:pt x="3725" y="3080"/>
                    </a:lnTo>
                    <a:lnTo>
                      <a:pt x="3693" y="3249"/>
                    </a:lnTo>
                    <a:lnTo>
                      <a:pt x="3665" y="3418"/>
                    </a:lnTo>
                    <a:lnTo>
                      <a:pt x="3644" y="3587"/>
                    </a:lnTo>
                    <a:lnTo>
                      <a:pt x="3626" y="3756"/>
                    </a:lnTo>
                    <a:lnTo>
                      <a:pt x="3614" y="3925"/>
                    </a:lnTo>
                    <a:lnTo>
                      <a:pt x="3607" y="4095"/>
                    </a:lnTo>
                    <a:lnTo>
                      <a:pt x="3605" y="4264"/>
                    </a:lnTo>
                    <a:lnTo>
                      <a:pt x="3607" y="4432"/>
                    </a:lnTo>
                    <a:lnTo>
                      <a:pt x="3613" y="4602"/>
                    </a:lnTo>
                    <a:lnTo>
                      <a:pt x="3623" y="4770"/>
                    </a:lnTo>
                    <a:lnTo>
                      <a:pt x="3637" y="4939"/>
                    </a:lnTo>
                    <a:lnTo>
                      <a:pt x="3655" y="5108"/>
                    </a:lnTo>
                    <a:lnTo>
                      <a:pt x="3675" y="5276"/>
                    </a:lnTo>
                    <a:lnTo>
                      <a:pt x="3700" y="5444"/>
                    </a:lnTo>
                    <a:lnTo>
                      <a:pt x="3727" y="5613"/>
                    </a:lnTo>
                    <a:lnTo>
                      <a:pt x="3758" y="5780"/>
                    </a:lnTo>
                    <a:lnTo>
                      <a:pt x="3791" y="5947"/>
                    </a:lnTo>
                    <a:lnTo>
                      <a:pt x="3826" y="6115"/>
                    </a:lnTo>
                    <a:lnTo>
                      <a:pt x="3864" y="6282"/>
                    </a:lnTo>
                    <a:lnTo>
                      <a:pt x="3905" y="6448"/>
                    </a:lnTo>
                    <a:lnTo>
                      <a:pt x="3947" y="6616"/>
                    </a:lnTo>
                    <a:lnTo>
                      <a:pt x="3991" y="6781"/>
                    </a:lnTo>
                    <a:lnTo>
                      <a:pt x="4036" y="6947"/>
                    </a:lnTo>
                    <a:lnTo>
                      <a:pt x="4082" y="7113"/>
                    </a:lnTo>
                    <a:lnTo>
                      <a:pt x="4130" y="7278"/>
                    </a:lnTo>
                    <a:lnTo>
                      <a:pt x="4179" y="7442"/>
                    </a:lnTo>
                    <a:lnTo>
                      <a:pt x="4229" y="7606"/>
                    </a:lnTo>
                    <a:lnTo>
                      <a:pt x="4279" y="7771"/>
                    </a:lnTo>
                    <a:lnTo>
                      <a:pt x="4330" y="7934"/>
                    </a:lnTo>
                    <a:lnTo>
                      <a:pt x="4329" y="7933"/>
                    </a:lnTo>
                    <a:lnTo>
                      <a:pt x="4318" y="7913"/>
                    </a:lnTo>
                    <a:lnTo>
                      <a:pt x="4299" y="7873"/>
                    </a:lnTo>
                    <a:lnTo>
                      <a:pt x="4271" y="7817"/>
                    </a:lnTo>
                    <a:lnTo>
                      <a:pt x="4192" y="7656"/>
                    </a:lnTo>
                    <a:lnTo>
                      <a:pt x="4081" y="7441"/>
                    </a:lnTo>
                    <a:lnTo>
                      <a:pt x="4016" y="7316"/>
                    </a:lnTo>
                    <a:lnTo>
                      <a:pt x="3944" y="7179"/>
                    </a:lnTo>
                    <a:lnTo>
                      <a:pt x="3864" y="7033"/>
                    </a:lnTo>
                    <a:lnTo>
                      <a:pt x="3779" y="6879"/>
                    </a:lnTo>
                    <a:lnTo>
                      <a:pt x="3689" y="6718"/>
                    </a:lnTo>
                    <a:lnTo>
                      <a:pt x="3592" y="6550"/>
                    </a:lnTo>
                    <a:lnTo>
                      <a:pt x="3490" y="6378"/>
                    </a:lnTo>
                    <a:lnTo>
                      <a:pt x="3382" y="6202"/>
                    </a:lnTo>
                    <a:lnTo>
                      <a:pt x="3270" y="6024"/>
                    </a:lnTo>
                    <a:lnTo>
                      <a:pt x="3154" y="5843"/>
                    </a:lnTo>
                    <a:lnTo>
                      <a:pt x="3034" y="5663"/>
                    </a:lnTo>
                    <a:lnTo>
                      <a:pt x="2908" y="5483"/>
                    </a:lnTo>
                    <a:lnTo>
                      <a:pt x="2780" y="5305"/>
                    </a:lnTo>
                    <a:lnTo>
                      <a:pt x="2648" y="5130"/>
                    </a:lnTo>
                    <a:lnTo>
                      <a:pt x="2513" y="4960"/>
                    </a:lnTo>
                    <a:lnTo>
                      <a:pt x="2375" y="4793"/>
                    </a:lnTo>
                    <a:lnTo>
                      <a:pt x="2235" y="4634"/>
                    </a:lnTo>
                    <a:lnTo>
                      <a:pt x="2092" y="4482"/>
                    </a:lnTo>
                    <a:lnTo>
                      <a:pt x="1947" y="4339"/>
                    </a:lnTo>
                    <a:lnTo>
                      <a:pt x="1800" y="4206"/>
                    </a:lnTo>
                    <a:lnTo>
                      <a:pt x="1652" y="4083"/>
                    </a:lnTo>
                    <a:lnTo>
                      <a:pt x="1503" y="3973"/>
                    </a:lnTo>
                    <a:lnTo>
                      <a:pt x="1352" y="3875"/>
                    </a:lnTo>
                    <a:lnTo>
                      <a:pt x="1201" y="3792"/>
                    </a:lnTo>
                    <a:lnTo>
                      <a:pt x="1159" y="3771"/>
                    </a:lnTo>
                    <a:lnTo>
                      <a:pt x="1117" y="3749"/>
                    </a:lnTo>
                    <a:lnTo>
                      <a:pt x="1075" y="3725"/>
                    </a:lnTo>
                    <a:lnTo>
                      <a:pt x="1034" y="3702"/>
                    </a:lnTo>
                    <a:lnTo>
                      <a:pt x="993" y="3677"/>
                    </a:lnTo>
                    <a:lnTo>
                      <a:pt x="953" y="3652"/>
                    </a:lnTo>
                    <a:lnTo>
                      <a:pt x="912" y="3626"/>
                    </a:lnTo>
                    <a:lnTo>
                      <a:pt x="873" y="3600"/>
                    </a:lnTo>
                    <a:lnTo>
                      <a:pt x="834" y="3572"/>
                    </a:lnTo>
                    <a:lnTo>
                      <a:pt x="796" y="3544"/>
                    </a:lnTo>
                    <a:lnTo>
                      <a:pt x="758" y="3514"/>
                    </a:lnTo>
                    <a:lnTo>
                      <a:pt x="720" y="3484"/>
                    </a:lnTo>
                    <a:lnTo>
                      <a:pt x="684" y="3454"/>
                    </a:lnTo>
                    <a:lnTo>
                      <a:pt x="648" y="3422"/>
                    </a:lnTo>
                    <a:lnTo>
                      <a:pt x="612" y="3390"/>
                    </a:lnTo>
                    <a:lnTo>
                      <a:pt x="577" y="3357"/>
                    </a:lnTo>
                    <a:lnTo>
                      <a:pt x="544" y="3323"/>
                    </a:lnTo>
                    <a:lnTo>
                      <a:pt x="511" y="3288"/>
                    </a:lnTo>
                    <a:lnTo>
                      <a:pt x="479" y="3253"/>
                    </a:lnTo>
                    <a:lnTo>
                      <a:pt x="447" y="3217"/>
                    </a:lnTo>
                    <a:lnTo>
                      <a:pt x="416" y="3179"/>
                    </a:lnTo>
                    <a:lnTo>
                      <a:pt x="387" y="3142"/>
                    </a:lnTo>
                    <a:lnTo>
                      <a:pt x="357" y="3103"/>
                    </a:lnTo>
                    <a:lnTo>
                      <a:pt x="330" y="3063"/>
                    </a:lnTo>
                    <a:lnTo>
                      <a:pt x="302" y="3022"/>
                    </a:lnTo>
                    <a:lnTo>
                      <a:pt x="276" y="2980"/>
                    </a:lnTo>
                    <a:lnTo>
                      <a:pt x="251" y="2938"/>
                    </a:lnTo>
                    <a:lnTo>
                      <a:pt x="227" y="2895"/>
                    </a:lnTo>
                    <a:lnTo>
                      <a:pt x="204" y="2851"/>
                    </a:lnTo>
                    <a:lnTo>
                      <a:pt x="183" y="2806"/>
                    </a:lnTo>
                    <a:lnTo>
                      <a:pt x="162" y="2760"/>
                    </a:lnTo>
                    <a:lnTo>
                      <a:pt x="142" y="2713"/>
                    </a:lnTo>
                    <a:lnTo>
                      <a:pt x="107" y="2618"/>
                    </a:lnTo>
                    <a:lnTo>
                      <a:pt x="76" y="2522"/>
                    </a:lnTo>
                    <a:lnTo>
                      <a:pt x="51" y="2425"/>
                    </a:lnTo>
                    <a:lnTo>
                      <a:pt x="32" y="2329"/>
                    </a:lnTo>
                    <a:lnTo>
                      <a:pt x="16" y="2232"/>
                    </a:lnTo>
                    <a:lnTo>
                      <a:pt x="6" y="2136"/>
                    </a:lnTo>
                    <a:lnTo>
                      <a:pt x="1" y="2039"/>
                    </a:lnTo>
                    <a:lnTo>
                      <a:pt x="0" y="1942"/>
                    </a:lnTo>
                    <a:lnTo>
                      <a:pt x="4" y="1846"/>
                    </a:lnTo>
                    <a:lnTo>
                      <a:pt x="13" y="1751"/>
                    </a:lnTo>
                    <a:lnTo>
                      <a:pt x="26" y="1656"/>
                    </a:lnTo>
                    <a:lnTo>
                      <a:pt x="45" y="1562"/>
                    </a:lnTo>
                    <a:lnTo>
                      <a:pt x="67" y="1470"/>
                    </a:lnTo>
                    <a:lnTo>
                      <a:pt x="94" y="1378"/>
                    </a:lnTo>
                    <a:lnTo>
                      <a:pt x="124" y="1289"/>
                    </a:lnTo>
                    <a:lnTo>
                      <a:pt x="160" y="1201"/>
                    </a:lnTo>
                    <a:lnTo>
                      <a:pt x="199" y="1114"/>
                    </a:lnTo>
                    <a:lnTo>
                      <a:pt x="243" y="1029"/>
                    </a:lnTo>
                    <a:lnTo>
                      <a:pt x="290" y="947"/>
                    </a:lnTo>
                    <a:lnTo>
                      <a:pt x="341" y="867"/>
                    </a:lnTo>
                    <a:lnTo>
                      <a:pt x="397" y="790"/>
                    </a:lnTo>
                    <a:lnTo>
                      <a:pt x="455" y="714"/>
                    </a:lnTo>
                    <a:lnTo>
                      <a:pt x="518" y="642"/>
                    </a:lnTo>
                    <a:lnTo>
                      <a:pt x="585" y="572"/>
                    </a:lnTo>
                    <a:lnTo>
                      <a:pt x="655" y="506"/>
                    </a:lnTo>
                    <a:lnTo>
                      <a:pt x="728" y="443"/>
                    </a:lnTo>
                    <a:lnTo>
                      <a:pt x="805" y="384"/>
                    </a:lnTo>
                    <a:lnTo>
                      <a:pt x="886" y="328"/>
                    </a:lnTo>
                    <a:lnTo>
                      <a:pt x="969" y="274"/>
                    </a:lnTo>
                    <a:lnTo>
                      <a:pt x="1056" y="227"/>
                    </a:lnTo>
                    <a:lnTo>
                      <a:pt x="1146" y="182"/>
                    </a:lnTo>
                    <a:lnTo>
                      <a:pt x="1240" y="142"/>
                    </a:lnTo>
                    <a:close/>
                  </a:path>
                </a:pathLst>
              </a:custGeom>
              <a:gradFill>
                <a:gsLst>
                  <a:gs pos="0">
                    <a:srgbClr val="1F497D">
                      <a:lumMod val="50000"/>
                    </a:srgbClr>
                  </a:gs>
                  <a:gs pos="67000">
                    <a:srgbClr val="002060"/>
                  </a:gs>
                </a:gsLst>
                <a:lin ang="5400000" scaled="0"/>
              </a:gradFill>
              <a:ln w="9525">
                <a:noFill/>
                <a:round/>
                <a:headEnd/>
                <a:tailEnd/>
              </a:ln>
              <a:effectLst/>
            </p:spPr>
            <p:txBody>
              <a:bodyPr/>
              <a:lstStyle/>
              <a:p>
                <a:pPr>
                  <a:defRPr/>
                </a:pPr>
                <a:endParaRPr lang="id-ID" kern="0">
                  <a:solidFill>
                    <a:sysClr val="windowText" lastClr="000000"/>
                  </a:solidFill>
                  <a:cs typeface="Arial" charset="0"/>
                </a:endParaRPr>
              </a:p>
            </p:txBody>
          </p:sp>
          <p:sp>
            <p:nvSpPr>
              <p:cNvPr id="31" name="Oval 30"/>
              <p:cNvSpPr/>
              <p:nvPr/>
            </p:nvSpPr>
            <p:spPr>
              <a:xfrm flipV="1">
                <a:off x="7128300" y="2206820"/>
                <a:ext cx="687491" cy="623788"/>
              </a:xfrm>
              <a:prstGeom prst="ellipse">
                <a:avLst/>
              </a:prstGeom>
              <a:gradFill>
                <a:gsLst>
                  <a:gs pos="15000">
                    <a:srgbClr val="4F81BD">
                      <a:tint val="66000"/>
                      <a:satMod val="160000"/>
                      <a:alpha val="13000"/>
                    </a:srgbClr>
                  </a:gs>
                  <a:gs pos="100000">
                    <a:srgbClr val="4F81BD">
                      <a:tint val="44500"/>
                      <a:satMod val="160000"/>
                      <a:alpha val="59000"/>
                    </a:srgbClr>
                  </a:gs>
                  <a:gs pos="100000">
                    <a:srgbClr val="4F81BD">
                      <a:tint val="23500"/>
                      <a:satMod val="160000"/>
                      <a:alpha val="41000"/>
                    </a:srgbClr>
                  </a:gs>
                  <a:gs pos="100000">
                    <a:srgbClr val="4F81BD">
                      <a:tint val="23500"/>
                      <a:satMod val="160000"/>
                      <a:alpha val="0"/>
                    </a:srgbClr>
                  </a:gs>
                </a:gsLst>
                <a:lin ang="5400000" scaled="1"/>
              </a:gradFill>
              <a:ln w="25400" cap="flat" cmpd="sng" algn="ctr">
                <a:noFill/>
                <a:prstDash val="solid"/>
              </a:ln>
              <a:effectLst/>
            </p:spPr>
            <p:txBody>
              <a:bodyPr anchor="ctr"/>
              <a:lstStyle>
                <a:lvl1pPr eaLnBrk="0" hangingPunct="0">
                  <a:defRPr sz="2400">
                    <a:solidFill>
                      <a:schemeClr val="tx1"/>
                    </a:solidFill>
                    <a:latin typeface="Calibri" pitchFamily="-109" charset="0"/>
                    <a:cs typeface="Arial" charset="0"/>
                  </a:defRPr>
                </a:lvl1pPr>
                <a:lvl2pPr marL="37931725" indent="-37474525" eaLnBrk="0" hangingPunct="0">
                  <a:defRPr sz="2400">
                    <a:solidFill>
                      <a:schemeClr val="tx1"/>
                    </a:solidFill>
                    <a:latin typeface="Calibri" pitchFamily="-109" charset="0"/>
                    <a:cs typeface="Arial" charset="0"/>
                  </a:defRPr>
                </a:lvl2pPr>
                <a:lvl3pPr eaLnBrk="0" hangingPunct="0">
                  <a:defRPr sz="2400">
                    <a:solidFill>
                      <a:schemeClr val="tx1"/>
                    </a:solidFill>
                    <a:latin typeface="Calibri" pitchFamily="-109" charset="0"/>
                    <a:cs typeface="Arial" charset="0"/>
                  </a:defRPr>
                </a:lvl3pPr>
                <a:lvl4pPr eaLnBrk="0" hangingPunct="0">
                  <a:defRPr sz="2400">
                    <a:solidFill>
                      <a:schemeClr val="tx1"/>
                    </a:solidFill>
                    <a:latin typeface="Calibri" pitchFamily="-109" charset="0"/>
                    <a:cs typeface="Arial" charset="0"/>
                  </a:defRPr>
                </a:lvl4pPr>
                <a:lvl5pPr eaLnBrk="0" hangingPunct="0">
                  <a:defRPr sz="2400">
                    <a:solidFill>
                      <a:schemeClr val="tx1"/>
                    </a:solidFill>
                    <a:latin typeface="Calibri" pitchFamily="-109" charset="0"/>
                    <a:cs typeface="Arial" charset="0"/>
                  </a:defRPr>
                </a:lvl5pPr>
                <a:lvl6pPr marL="457200" eaLnBrk="0" fontAlgn="base" hangingPunct="0">
                  <a:spcBef>
                    <a:spcPct val="0"/>
                  </a:spcBef>
                  <a:spcAft>
                    <a:spcPct val="0"/>
                  </a:spcAft>
                  <a:defRPr sz="2400">
                    <a:solidFill>
                      <a:schemeClr val="tx1"/>
                    </a:solidFill>
                    <a:latin typeface="Calibri" pitchFamily="-109" charset="0"/>
                    <a:cs typeface="Arial" charset="0"/>
                  </a:defRPr>
                </a:lvl6pPr>
                <a:lvl7pPr marL="914400" eaLnBrk="0" fontAlgn="base" hangingPunct="0">
                  <a:spcBef>
                    <a:spcPct val="0"/>
                  </a:spcBef>
                  <a:spcAft>
                    <a:spcPct val="0"/>
                  </a:spcAft>
                  <a:defRPr sz="2400">
                    <a:solidFill>
                      <a:schemeClr val="tx1"/>
                    </a:solidFill>
                    <a:latin typeface="Calibri" pitchFamily="-109" charset="0"/>
                    <a:cs typeface="Arial" charset="0"/>
                  </a:defRPr>
                </a:lvl7pPr>
                <a:lvl8pPr marL="1371600" eaLnBrk="0" fontAlgn="base" hangingPunct="0">
                  <a:spcBef>
                    <a:spcPct val="0"/>
                  </a:spcBef>
                  <a:spcAft>
                    <a:spcPct val="0"/>
                  </a:spcAft>
                  <a:defRPr sz="2400">
                    <a:solidFill>
                      <a:schemeClr val="tx1"/>
                    </a:solidFill>
                    <a:latin typeface="Calibri" pitchFamily="-109" charset="0"/>
                    <a:cs typeface="Arial" charset="0"/>
                  </a:defRPr>
                </a:lvl8pPr>
                <a:lvl9pPr marL="1828800" eaLnBrk="0" fontAlgn="base" hangingPunct="0">
                  <a:spcBef>
                    <a:spcPct val="0"/>
                  </a:spcBef>
                  <a:spcAft>
                    <a:spcPct val="0"/>
                  </a:spcAft>
                  <a:defRPr sz="2400">
                    <a:solidFill>
                      <a:schemeClr val="tx1"/>
                    </a:solidFill>
                    <a:latin typeface="Calibri" pitchFamily="-109" charset="0"/>
                    <a:cs typeface="Arial" charset="0"/>
                  </a:defRPr>
                </a:lvl9pPr>
              </a:lstStyle>
              <a:p>
                <a:pPr algn="ctr" eaLnBrk="1" hangingPunct="1">
                  <a:defRPr/>
                </a:pPr>
                <a:endParaRPr lang="nb-NO" sz="1800" kern="0" smtClean="0">
                  <a:solidFill>
                    <a:srgbClr val="FFFFFF"/>
                  </a:solidFill>
                </a:endParaRPr>
              </a:p>
            </p:txBody>
          </p:sp>
        </p:grpSp>
      </p:grpSp>
    </p:spTree>
    <p:extLst>
      <p:ext uri="{BB962C8B-B14F-4D97-AF65-F5344CB8AC3E}">
        <p14:creationId xmlns:p14="http://schemas.microsoft.com/office/powerpoint/2010/main" val="58366857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Arc 38"/>
          <p:cNvSpPr/>
          <p:nvPr/>
        </p:nvSpPr>
        <p:spPr>
          <a:xfrm>
            <a:off x="-9156700" y="3009900"/>
            <a:ext cx="18300700" cy="7715250"/>
          </a:xfrm>
          <a:prstGeom prst="arc">
            <a:avLst>
              <a:gd name="adj1" fmla="val 16197650"/>
              <a:gd name="adj2" fmla="val 7945"/>
            </a:avLst>
          </a:prstGeom>
          <a:solidFill>
            <a:schemeClr val="tx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0" name="Arc 39"/>
          <p:cNvSpPr/>
          <p:nvPr/>
        </p:nvSpPr>
        <p:spPr>
          <a:xfrm>
            <a:off x="-5448300" y="3187700"/>
            <a:ext cx="10896600" cy="7340600"/>
          </a:xfrm>
          <a:prstGeom prst="arc">
            <a:avLst>
              <a:gd name="adj1" fmla="val 16201078"/>
              <a:gd name="adj2" fmla="val 7125"/>
            </a:avLst>
          </a:prstGeom>
          <a:solidFill>
            <a:schemeClr val="bg1"/>
          </a:solidFill>
          <a:ln w="85725" cap="flat" cmpd="sng" algn="ctr">
            <a:no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nb-NO">
              <a:ea typeface="ＭＳ Ｐゴシック" pitchFamily="-109" charset="-128"/>
            </a:endParaRPr>
          </a:p>
        </p:txBody>
      </p:sp>
      <p:pic>
        <p:nvPicPr>
          <p:cNvPr id="9" name="Resim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5536" y="1052736"/>
            <a:ext cx="2998152" cy="2304256"/>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p:spPr>
      </p:pic>
      <p:sp>
        <p:nvSpPr>
          <p:cNvPr id="6" name="TextBox 14"/>
          <p:cNvSpPr txBox="1"/>
          <p:nvPr/>
        </p:nvSpPr>
        <p:spPr>
          <a:xfrm>
            <a:off x="4738985" y="1196752"/>
            <a:ext cx="3816424" cy="584775"/>
          </a:xfrm>
          <a:prstGeom prst="rect">
            <a:avLst/>
          </a:prstGeom>
          <a:noFill/>
        </p:spPr>
        <p:txBody>
          <a:bodyPr wrap="square" rtlCol="0">
            <a:spAutoFit/>
          </a:bodyPr>
          <a:lstStyle/>
          <a:p>
            <a:pPr lvl="0">
              <a:spcBef>
                <a:spcPct val="0"/>
              </a:spcBef>
              <a:defRPr/>
            </a:pPr>
            <a:r>
              <a:rPr lang="tr-TR" sz="3200" b="1" dirty="0"/>
              <a:t>DÜNYADA E-FATURA </a:t>
            </a:r>
          </a:p>
        </p:txBody>
      </p:sp>
      <p:pic>
        <p:nvPicPr>
          <p:cNvPr id="2" name="Resim 1"/>
          <p:cNvPicPr preferRelativeResize="0">
            <a:picLocks/>
          </p:cNvPicPr>
          <p:nvPr/>
        </p:nvPicPr>
        <p:blipFill>
          <a:blip r:embed="rId3">
            <a:extLst>
              <a:ext uri="{28A0092B-C50C-407E-A947-70E740481C1C}">
                <a14:useLocalDpi xmlns:a14="http://schemas.microsoft.com/office/drawing/2010/main" val="0"/>
              </a:ext>
            </a:extLst>
          </a:blip>
          <a:stretch>
            <a:fillRect/>
          </a:stretch>
        </p:blipFill>
        <p:spPr>
          <a:xfrm>
            <a:off x="1879779" y="1272580"/>
            <a:ext cx="3168352" cy="2664000"/>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p:spPr>
      </p:pic>
    </p:spTree>
    <p:extLst>
      <p:ext uri="{BB962C8B-B14F-4D97-AF65-F5344CB8AC3E}">
        <p14:creationId xmlns:p14="http://schemas.microsoft.com/office/powerpoint/2010/main" val="65456968"/>
      </p:ext>
    </p:extLst>
  </p:cSld>
  <p:clrMapOvr>
    <a:masterClrMapping/>
  </p:clrMapOvr>
  <p:transition advClick="0" advTm="4000">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extLst>
              <p:ext uri="{D42A27DB-BD31-4B8C-83A1-F6EECF244321}">
                <p14:modId xmlns:p14="http://schemas.microsoft.com/office/powerpoint/2010/main" val="13223270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6"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1588" y="1588"/>
                        <a:ext cx="1587" cy="1587"/>
                      </a:xfrm>
                      <a:prstGeom prst="rect">
                        <a:avLst/>
                      </a:prstGeom>
                    </p:spPr>
                  </p:pic>
                </p:oleObj>
              </mc:Fallback>
            </mc:AlternateContent>
          </a:graphicData>
        </a:graphic>
      </p:graphicFrame>
      <p:sp>
        <p:nvSpPr>
          <p:cNvPr id="9" name="Ellipse 98"/>
          <p:cNvSpPr/>
          <p:nvPr/>
        </p:nvSpPr>
        <p:spPr bwMode="auto">
          <a:xfrm>
            <a:off x="3567067" y="5455680"/>
            <a:ext cx="1821194" cy="373302"/>
          </a:xfrm>
          <a:prstGeom prst="ellipse">
            <a:avLst/>
          </a:prstGeom>
          <a:gradFill flip="none" rotWithShape="1">
            <a:gsLst>
              <a:gs pos="100000">
                <a:srgbClr val="FFFFFF">
                  <a:alpha val="0"/>
                </a:srgbClr>
              </a:gs>
              <a:gs pos="0">
                <a:srgbClr val="E6E6E6">
                  <a:lumMod val="10000"/>
                  <a:alpha val="20000"/>
                </a:srgbClr>
              </a:gs>
            </a:gsLst>
            <a:path path="shape">
              <a:fillToRect l="50000" t="50000" r="50000" b="50000"/>
            </a:path>
            <a:tileRect/>
          </a:gradFill>
          <a:ln w="9525" cap="flat" cmpd="sng" algn="ctr">
            <a:noFill/>
            <a:prstDash val="solid"/>
          </a:ln>
          <a:effectLst/>
        </p:spPr>
        <p:txBody>
          <a:bodyPr anchor="ctr"/>
          <a:lstStyle>
            <a:lvl1pPr>
              <a:defRPr>
                <a:solidFill>
                  <a:schemeClr val="tx1"/>
                </a:solidFill>
                <a:latin typeface="Calibri" charset="0"/>
                <a:ea typeface="ＭＳ Ｐゴシック" charset="-128"/>
              </a:defRPr>
            </a:lvl1pPr>
            <a:lvl2pPr marL="37931725" indent="-37474525">
              <a:defRPr>
                <a:solidFill>
                  <a:schemeClr val="tx1"/>
                </a:solidFill>
                <a:latin typeface="Calibri" charset="0"/>
                <a:ea typeface="ＭＳ Ｐゴシック" charset="-128"/>
              </a:defRPr>
            </a:lvl2pPr>
            <a:lvl3pPr>
              <a:defRPr>
                <a:solidFill>
                  <a:schemeClr val="tx1"/>
                </a:solidFill>
                <a:latin typeface="Calibri" charset="0"/>
                <a:ea typeface="ＭＳ Ｐゴシック" charset="-128"/>
              </a:defRPr>
            </a:lvl3pPr>
            <a:lvl4pPr>
              <a:defRPr>
                <a:solidFill>
                  <a:schemeClr val="tx1"/>
                </a:solidFill>
                <a:latin typeface="Calibri" charset="0"/>
                <a:ea typeface="ＭＳ Ｐゴシック" charset="-128"/>
              </a:defRPr>
            </a:lvl4pPr>
            <a:lvl5pPr>
              <a:defRPr>
                <a:solidFill>
                  <a:schemeClr val="tx1"/>
                </a:solidFill>
                <a:latin typeface="Calibri" charset="0"/>
                <a:ea typeface="ＭＳ Ｐゴシック" charset="-128"/>
              </a:defRPr>
            </a:lvl5pPr>
            <a:lvl6pPr marL="457200" fontAlgn="base">
              <a:spcBef>
                <a:spcPct val="0"/>
              </a:spcBef>
              <a:spcAft>
                <a:spcPct val="0"/>
              </a:spcAft>
              <a:defRPr>
                <a:solidFill>
                  <a:schemeClr val="tx1"/>
                </a:solidFill>
                <a:latin typeface="Calibri" charset="0"/>
                <a:ea typeface="ＭＳ Ｐゴシック" charset="-128"/>
              </a:defRPr>
            </a:lvl6pPr>
            <a:lvl7pPr marL="914400" fontAlgn="base">
              <a:spcBef>
                <a:spcPct val="0"/>
              </a:spcBef>
              <a:spcAft>
                <a:spcPct val="0"/>
              </a:spcAft>
              <a:defRPr>
                <a:solidFill>
                  <a:schemeClr val="tx1"/>
                </a:solidFill>
                <a:latin typeface="Calibri" charset="0"/>
                <a:ea typeface="ＭＳ Ｐゴシック" charset="-128"/>
              </a:defRPr>
            </a:lvl7pPr>
            <a:lvl8pPr marL="1371600" fontAlgn="base">
              <a:spcBef>
                <a:spcPct val="0"/>
              </a:spcBef>
              <a:spcAft>
                <a:spcPct val="0"/>
              </a:spcAft>
              <a:defRPr>
                <a:solidFill>
                  <a:schemeClr val="tx1"/>
                </a:solidFill>
                <a:latin typeface="Calibri" charset="0"/>
                <a:ea typeface="ＭＳ Ｐゴシック" charset="-128"/>
              </a:defRPr>
            </a:lvl8pPr>
            <a:lvl9pPr marL="1828800" fontAlgn="base">
              <a:spcBef>
                <a:spcPct val="0"/>
              </a:spcBef>
              <a:spcAft>
                <a:spcPct val="0"/>
              </a:spcAft>
              <a:defRPr>
                <a:solidFill>
                  <a:schemeClr val="tx1"/>
                </a:solidFill>
                <a:latin typeface="Calibri" charset="0"/>
                <a:ea typeface="ＭＳ Ｐゴシック" charset="-128"/>
              </a:defRPr>
            </a:lvl9pPr>
          </a:lstStyle>
          <a:p>
            <a:pPr algn="ctr">
              <a:defRPr/>
            </a:pPr>
            <a:endParaRPr lang="en-US" smtClean="0">
              <a:solidFill>
                <a:srgbClr val="FFFFFF"/>
              </a:solidFill>
            </a:endParaRPr>
          </a:p>
        </p:txBody>
      </p:sp>
      <p:grpSp>
        <p:nvGrpSpPr>
          <p:cNvPr id="2" name="Grup 1"/>
          <p:cNvGrpSpPr/>
          <p:nvPr/>
        </p:nvGrpSpPr>
        <p:grpSpPr>
          <a:xfrm>
            <a:off x="488297" y="1687881"/>
            <a:ext cx="3507639" cy="1165055"/>
            <a:chOff x="633306" y="2559220"/>
            <a:chExt cx="3507639" cy="1165055"/>
          </a:xfrm>
        </p:grpSpPr>
        <p:grpSp>
          <p:nvGrpSpPr>
            <p:cNvPr id="60" name="Group 59"/>
            <p:cNvGrpSpPr/>
            <p:nvPr/>
          </p:nvGrpSpPr>
          <p:grpSpPr>
            <a:xfrm>
              <a:off x="633306" y="3011153"/>
              <a:ext cx="3507639" cy="222148"/>
              <a:chOff x="741832" y="3340071"/>
              <a:chExt cx="3507639" cy="222148"/>
            </a:xfrm>
          </p:grpSpPr>
          <p:grpSp>
            <p:nvGrpSpPr>
              <p:cNvPr id="56" name="Group 8"/>
              <p:cNvGrpSpPr/>
              <p:nvPr>
                <p:custDataLst>
                  <p:tags r:id="rId17"/>
                </p:custDataLst>
              </p:nvPr>
            </p:nvGrpSpPr>
            <p:grpSpPr>
              <a:xfrm>
                <a:off x="4026648" y="3340071"/>
                <a:ext cx="222823" cy="222148"/>
                <a:chOff x="7535636" y="2666546"/>
                <a:chExt cx="523875" cy="522288"/>
              </a:xfrm>
              <a:effectLst>
                <a:outerShdw blurRad="25400" dist="12700" dir="5400000" algn="t" rotWithShape="0">
                  <a:prstClr val="black">
                    <a:alpha val="25000"/>
                  </a:prstClr>
                </a:outerShdw>
              </a:effectLst>
            </p:grpSpPr>
            <p:sp>
              <p:nvSpPr>
                <p:cNvPr id="57" name="Oval 56"/>
                <p:cNvSpPr/>
                <p:nvPr/>
              </p:nvSpPr>
              <p:spPr bwMode="auto">
                <a:xfrm>
                  <a:off x="7535636" y="2666546"/>
                  <a:ext cx="523875" cy="522288"/>
                </a:xfrm>
                <a:prstGeom prst="ellipse">
                  <a:avLst/>
                </a:prstGeom>
                <a:gradFill>
                  <a:gsLst>
                    <a:gs pos="0">
                      <a:schemeClr val="bg1"/>
                    </a:gs>
                    <a:gs pos="100000">
                      <a:schemeClr val="bg1">
                        <a:lumMod val="85000"/>
                      </a:schemeClr>
                    </a:gs>
                  </a:gsLst>
                  <a:lin ang="5400000" scaled="0"/>
                </a:gradFill>
                <a:ln w="317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b-NO" sz="1200">
                    <a:solidFill>
                      <a:srgbClr val="FFFFFF"/>
                    </a:solidFill>
                    <a:ea typeface="ＭＳ Ｐゴシック" charset="-128"/>
                    <a:cs typeface="Arial" charset="0"/>
                  </a:endParaRPr>
                </a:p>
              </p:txBody>
            </p:sp>
            <p:sp>
              <p:nvSpPr>
                <p:cNvPr id="58" name="Oval 57"/>
                <p:cNvSpPr/>
                <p:nvPr/>
              </p:nvSpPr>
              <p:spPr bwMode="auto">
                <a:xfrm>
                  <a:off x="7681686" y="2807834"/>
                  <a:ext cx="239713" cy="239712"/>
                </a:xfrm>
                <a:prstGeom prst="ellipse">
                  <a:avLst/>
                </a:prstGeom>
                <a:solidFill>
                  <a:srgbClr val="F0B71F"/>
                </a:solidFill>
                <a:ln w="9525">
                  <a:noFill/>
                  <a:round/>
                  <a:headEnd/>
                  <a:tailEnd/>
                </a:ln>
                <a:effectLst/>
              </p:spPr>
              <p:txBody>
                <a:bodyPr/>
                <a:lstStyle/>
                <a:p>
                  <a:pPr>
                    <a:defRPr/>
                  </a:pPr>
                  <a:endParaRPr lang="nb-NO" sz="1200">
                    <a:latin typeface="Calibri" charset="0"/>
                    <a:ea typeface="ＭＳ Ｐゴシック" charset="-128"/>
                  </a:endParaRPr>
                </a:p>
              </p:txBody>
            </p:sp>
          </p:grpSp>
          <p:cxnSp>
            <p:nvCxnSpPr>
              <p:cNvPr id="38" name="Straight Connector 37"/>
              <p:cNvCxnSpPr/>
              <p:nvPr>
                <p:custDataLst>
                  <p:tags r:id="rId18"/>
                </p:custDataLst>
              </p:nvPr>
            </p:nvCxnSpPr>
            <p:spPr>
              <a:xfrm>
                <a:off x="741832" y="3448050"/>
                <a:ext cx="3392201" cy="0"/>
              </a:xfrm>
              <a:prstGeom prst="line">
                <a:avLst/>
              </a:prstGeom>
              <a:ln w="3175">
                <a:solidFill>
                  <a:srgbClr val="F0B71F"/>
                </a:solidFill>
                <a:headEnd type="oval" w="sm" len="sm"/>
                <a:tailEnd type="oval" w="sm" len="sm"/>
              </a:ln>
              <a:effectLst/>
            </p:spPr>
            <p:style>
              <a:lnRef idx="2">
                <a:schemeClr val="accent1"/>
              </a:lnRef>
              <a:fillRef idx="0">
                <a:schemeClr val="accent1"/>
              </a:fillRef>
              <a:effectRef idx="1">
                <a:schemeClr val="accent1"/>
              </a:effectRef>
              <a:fontRef idx="minor">
                <a:schemeClr val="tx1"/>
              </a:fontRef>
            </p:style>
          </p:cxnSp>
        </p:grpSp>
        <p:grpSp>
          <p:nvGrpSpPr>
            <p:cNvPr id="66" name="Group 65"/>
            <p:cNvGrpSpPr/>
            <p:nvPr/>
          </p:nvGrpSpPr>
          <p:grpSpPr>
            <a:xfrm>
              <a:off x="658246" y="2559220"/>
              <a:ext cx="385361" cy="497938"/>
              <a:chOff x="-2270125" y="4279901"/>
              <a:chExt cx="282575" cy="365125"/>
            </a:xfrm>
            <a:gradFill flip="none" rotWithShape="1">
              <a:gsLst>
                <a:gs pos="0">
                  <a:srgbClr val="F0B71F">
                    <a:lumMod val="87000"/>
                  </a:srgbClr>
                </a:gs>
                <a:gs pos="64000">
                  <a:srgbClr val="F0B71F"/>
                </a:gs>
              </a:gsLst>
              <a:lin ang="16200000" scaled="1"/>
              <a:tileRect/>
            </a:gradFill>
            <a:effectLst/>
          </p:grpSpPr>
          <p:sp>
            <p:nvSpPr>
              <p:cNvPr id="67" name="Freeform 6"/>
              <p:cNvSpPr>
                <a:spLocks/>
              </p:cNvSpPr>
              <p:nvPr/>
            </p:nvSpPr>
            <p:spPr bwMode="auto">
              <a:xfrm>
                <a:off x="-2270125" y="4519613"/>
                <a:ext cx="123825" cy="19050"/>
              </a:xfrm>
              <a:custGeom>
                <a:avLst/>
                <a:gdLst>
                  <a:gd name="T0" fmla="*/ 24 w 702"/>
                  <a:gd name="T1" fmla="*/ 0 h 103"/>
                  <a:gd name="T2" fmla="*/ 676 w 702"/>
                  <a:gd name="T3" fmla="*/ 0 h 103"/>
                  <a:gd name="T4" fmla="*/ 682 w 702"/>
                  <a:gd name="T5" fmla="*/ 1 h 103"/>
                  <a:gd name="T6" fmla="*/ 686 w 702"/>
                  <a:gd name="T7" fmla="*/ 3 h 103"/>
                  <a:gd name="T8" fmla="*/ 691 w 702"/>
                  <a:gd name="T9" fmla="*/ 5 h 103"/>
                  <a:gd name="T10" fmla="*/ 694 w 702"/>
                  <a:gd name="T11" fmla="*/ 8 h 103"/>
                  <a:gd name="T12" fmla="*/ 697 w 702"/>
                  <a:gd name="T13" fmla="*/ 11 h 103"/>
                  <a:gd name="T14" fmla="*/ 699 w 702"/>
                  <a:gd name="T15" fmla="*/ 16 h 103"/>
                  <a:gd name="T16" fmla="*/ 700 w 702"/>
                  <a:gd name="T17" fmla="*/ 20 h 103"/>
                  <a:gd name="T18" fmla="*/ 702 w 702"/>
                  <a:gd name="T19" fmla="*/ 24 h 103"/>
                  <a:gd name="T20" fmla="*/ 702 w 702"/>
                  <a:gd name="T21" fmla="*/ 79 h 103"/>
                  <a:gd name="T22" fmla="*/ 700 w 702"/>
                  <a:gd name="T23" fmla="*/ 83 h 103"/>
                  <a:gd name="T24" fmla="*/ 699 w 702"/>
                  <a:gd name="T25" fmla="*/ 88 h 103"/>
                  <a:gd name="T26" fmla="*/ 697 w 702"/>
                  <a:gd name="T27" fmla="*/ 92 h 103"/>
                  <a:gd name="T28" fmla="*/ 694 w 702"/>
                  <a:gd name="T29" fmla="*/ 95 h 103"/>
                  <a:gd name="T30" fmla="*/ 691 w 702"/>
                  <a:gd name="T31" fmla="*/ 99 h 103"/>
                  <a:gd name="T32" fmla="*/ 686 w 702"/>
                  <a:gd name="T33" fmla="*/ 101 h 103"/>
                  <a:gd name="T34" fmla="*/ 682 w 702"/>
                  <a:gd name="T35" fmla="*/ 102 h 103"/>
                  <a:gd name="T36" fmla="*/ 676 w 702"/>
                  <a:gd name="T37" fmla="*/ 103 h 103"/>
                  <a:gd name="T38" fmla="*/ 24 w 702"/>
                  <a:gd name="T39" fmla="*/ 103 h 103"/>
                  <a:gd name="T40" fmla="*/ 20 w 702"/>
                  <a:gd name="T41" fmla="*/ 102 h 103"/>
                  <a:gd name="T42" fmla="*/ 16 w 702"/>
                  <a:gd name="T43" fmla="*/ 101 h 103"/>
                  <a:gd name="T44" fmla="*/ 11 w 702"/>
                  <a:gd name="T45" fmla="*/ 99 h 103"/>
                  <a:gd name="T46" fmla="*/ 8 w 702"/>
                  <a:gd name="T47" fmla="*/ 95 h 103"/>
                  <a:gd name="T48" fmla="*/ 5 w 702"/>
                  <a:gd name="T49" fmla="*/ 92 h 103"/>
                  <a:gd name="T50" fmla="*/ 2 w 702"/>
                  <a:gd name="T51" fmla="*/ 88 h 103"/>
                  <a:gd name="T52" fmla="*/ 1 w 702"/>
                  <a:gd name="T53" fmla="*/ 83 h 103"/>
                  <a:gd name="T54" fmla="*/ 0 w 702"/>
                  <a:gd name="T55" fmla="*/ 79 h 103"/>
                  <a:gd name="T56" fmla="*/ 0 w 702"/>
                  <a:gd name="T57" fmla="*/ 24 h 103"/>
                  <a:gd name="T58" fmla="*/ 1 w 702"/>
                  <a:gd name="T59" fmla="*/ 20 h 103"/>
                  <a:gd name="T60" fmla="*/ 2 w 702"/>
                  <a:gd name="T61" fmla="*/ 16 h 103"/>
                  <a:gd name="T62" fmla="*/ 5 w 702"/>
                  <a:gd name="T63" fmla="*/ 11 h 103"/>
                  <a:gd name="T64" fmla="*/ 8 w 702"/>
                  <a:gd name="T65" fmla="*/ 8 h 103"/>
                  <a:gd name="T66" fmla="*/ 11 w 702"/>
                  <a:gd name="T67" fmla="*/ 5 h 103"/>
                  <a:gd name="T68" fmla="*/ 16 w 702"/>
                  <a:gd name="T69" fmla="*/ 3 h 103"/>
                  <a:gd name="T70" fmla="*/ 20 w 702"/>
                  <a:gd name="T71" fmla="*/ 1 h 103"/>
                  <a:gd name="T72" fmla="*/ 24 w 702"/>
                  <a:gd name="T7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2" h="103">
                    <a:moveTo>
                      <a:pt x="24" y="0"/>
                    </a:moveTo>
                    <a:lnTo>
                      <a:pt x="676" y="0"/>
                    </a:lnTo>
                    <a:lnTo>
                      <a:pt x="682" y="1"/>
                    </a:lnTo>
                    <a:lnTo>
                      <a:pt x="686" y="3"/>
                    </a:lnTo>
                    <a:lnTo>
                      <a:pt x="691" y="5"/>
                    </a:lnTo>
                    <a:lnTo>
                      <a:pt x="694" y="8"/>
                    </a:lnTo>
                    <a:lnTo>
                      <a:pt x="697" y="11"/>
                    </a:lnTo>
                    <a:lnTo>
                      <a:pt x="699" y="16"/>
                    </a:lnTo>
                    <a:lnTo>
                      <a:pt x="700" y="20"/>
                    </a:lnTo>
                    <a:lnTo>
                      <a:pt x="702" y="24"/>
                    </a:lnTo>
                    <a:lnTo>
                      <a:pt x="702" y="79"/>
                    </a:lnTo>
                    <a:lnTo>
                      <a:pt x="700" y="83"/>
                    </a:lnTo>
                    <a:lnTo>
                      <a:pt x="699" y="88"/>
                    </a:lnTo>
                    <a:lnTo>
                      <a:pt x="697" y="92"/>
                    </a:lnTo>
                    <a:lnTo>
                      <a:pt x="694" y="95"/>
                    </a:lnTo>
                    <a:lnTo>
                      <a:pt x="691" y="99"/>
                    </a:lnTo>
                    <a:lnTo>
                      <a:pt x="686" y="101"/>
                    </a:lnTo>
                    <a:lnTo>
                      <a:pt x="682" y="102"/>
                    </a:lnTo>
                    <a:lnTo>
                      <a:pt x="676" y="103"/>
                    </a:lnTo>
                    <a:lnTo>
                      <a:pt x="24" y="103"/>
                    </a:lnTo>
                    <a:lnTo>
                      <a:pt x="20" y="102"/>
                    </a:lnTo>
                    <a:lnTo>
                      <a:pt x="16" y="101"/>
                    </a:lnTo>
                    <a:lnTo>
                      <a:pt x="11" y="99"/>
                    </a:lnTo>
                    <a:lnTo>
                      <a:pt x="8" y="95"/>
                    </a:lnTo>
                    <a:lnTo>
                      <a:pt x="5" y="92"/>
                    </a:lnTo>
                    <a:lnTo>
                      <a:pt x="2" y="88"/>
                    </a:lnTo>
                    <a:lnTo>
                      <a:pt x="1" y="83"/>
                    </a:lnTo>
                    <a:lnTo>
                      <a:pt x="0" y="79"/>
                    </a:lnTo>
                    <a:lnTo>
                      <a:pt x="0" y="24"/>
                    </a:lnTo>
                    <a:lnTo>
                      <a:pt x="1" y="20"/>
                    </a:lnTo>
                    <a:lnTo>
                      <a:pt x="2" y="16"/>
                    </a:lnTo>
                    <a:lnTo>
                      <a:pt x="5" y="11"/>
                    </a:lnTo>
                    <a:lnTo>
                      <a:pt x="8" y="8"/>
                    </a:lnTo>
                    <a:lnTo>
                      <a:pt x="11" y="5"/>
                    </a:lnTo>
                    <a:lnTo>
                      <a:pt x="16" y="3"/>
                    </a:lnTo>
                    <a:lnTo>
                      <a:pt x="20" y="1"/>
                    </a:lnTo>
                    <a:lnTo>
                      <a:pt x="24" y="0"/>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sz="1200"/>
              </a:p>
            </p:txBody>
          </p:sp>
          <p:sp>
            <p:nvSpPr>
              <p:cNvPr id="68" name="Freeform 7"/>
              <p:cNvSpPr>
                <a:spLocks noEditPoints="1"/>
              </p:cNvSpPr>
              <p:nvPr/>
            </p:nvSpPr>
            <p:spPr bwMode="auto">
              <a:xfrm>
                <a:off x="-2236787" y="4279901"/>
                <a:ext cx="231775" cy="338138"/>
              </a:xfrm>
              <a:custGeom>
                <a:avLst/>
                <a:gdLst>
                  <a:gd name="T0" fmla="*/ 240 w 1314"/>
                  <a:gd name="T1" fmla="*/ 1794 h 1922"/>
                  <a:gd name="T2" fmla="*/ 1304 w 1314"/>
                  <a:gd name="T3" fmla="*/ 1896 h 1922"/>
                  <a:gd name="T4" fmla="*/ 1247 w 1314"/>
                  <a:gd name="T5" fmla="*/ 1775 h 1922"/>
                  <a:gd name="T6" fmla="*/ 1174 w 1314"/>
                  <a:gd name="T7" fmla="*/ 1669 h 1922"/>
                  <a:gd name="T8" fmla="*/ 1084 w 1314"/>
                  <a:gd name="T9" fmla="*/ 1579 h 1922"/>
                  <a:gd name="T10" fmla="*/ 1115 w 1314"/>
                  <a:gd name="T11" fmla="*/ 1347 h 1922"/>
                  <a:gd name="T12" fmla="*/ 1095 w 1314"/>
                  <a:gd name="T13" fmla="*/ 1126 h 1922"/>
                  <a:gd name="T14" fmla="*/ 1023 w 1314"/>
                  <a:gd name="T15" fmla="*/ 918 h 1922"/>
                  <a:gd name="T16" fmla="*/ 698 w 1314"/>
                  <a:gd name="T17" fmla="*/ 599 h 1922"/>
                  <a:gd name="T18" fmla="*/ 681 w 1314"/>
                  <a:gd name="T19" fmla="*/ 579 h 1922"/>
                  <a:gd name="T20" fmla="*/ 614 w 1314"/>
                  <a:gd name="T21" fmla="*/ 547 h 1922"/>
                  <a:gd name="T22" fmla="*/ 517 w 1314"/>
                  <a:gd name="T23" fmla="*/ 551 h 1922"/>
                  <a:gd name="T24" fmla="*/ 476 w 1314"/>
                  <a:gd name="T25" fmla="*/ 571 h 1922"/>
                  <a:gd name="T26" fmla="*/ 450 w 1314"/>
                  <a:gd name="T27" fmla="*/ 600 h 1922"/>
                  <a:gd name="T28" fmla="*/ 431 w 1314"/>
                  <a:gd name="T29" fmla="*/ 623 h 1922"/>
                  <a:gd name="T30" fmla="*/ 417 w 1314"/>
                  <a:gd name="T31" fmla="*/ 606 h 1922"/>
                  <a:gd name="T32" fmla="*/ 445 w 1314"/>
                  <a:gd name="T33" fmla="*/ 562 h 1922"/>
                  <a:gd name="T34" fmla="*/ 488 w 1314"/>
                  <a:gd name="T35" fmla="*/ 534 h 1922"/>
                  <a:gd name="T36" fmla="*/ 541 w 1314"/>
                  <a:gd name="T37" fmla="*/ 518 h 1922"/>
                  <a:gd name="T38" fmla="*/ 597 w 1314"/>
                  <a:gd name="T39" fmla="*/ 516 h 1922"/>
                  <a:gd name="T40" fmla="*/ 655 w 1314"/>
                  <a:gd name="T41" fmla="*/ 530 h 1922"/>
                  <a:gd name="T42" fmla="*/ 731 w 1314"/>
                  <a:gd name="T43" fmla="*/ 496 h 1922"/>
                  <a:gd name="T44" fmla="*/ 798 w 1314"/>
                  <a:gd name="T45" fmla="*/ 483 h 1922"/>
                  <a:gd name="T46" fmla="*/ 818 w 1314"/>
                  <a:gd name="T47" fmla="*/ 458 h 1922"/>
                  <a:gd name="T48" fmla="*/ 812 w 1314"/>
                  <a:gd name="T49" fmla="*/ 426 h 1922"/>
                  <a:gd name="T50" fmla="*/ 765 w 1314"/>
                  <a:gd name="T51" fmla="*/ 408 h 1922"/>
                  <a:gd name="T52" fmla="*/ 788 w 1314"/>
                  <a:gd name="T53" fmla="*/ 296 h 1922"/>
                  <a:gd name="T54" fmla="*/ 845 w 1314"/>
                  <a:gd name="T55" fmla="*/ 184 h 1922"/>
                  <a:gd name="T56" fmla="*/ 917 w 1314"/>
                  <a:gd name="T57" fmla="*/ 182 h 1922"/>
                  <a:gd name="T58" fmla="*/ 914 w 1314"/>
                  <a:gd name="T59" fmla="*/ 154 h 1922"/>
                  <a:gd name="T60" fmla="*/ 748 w 1314"/>
                  <a:gd name="T61" fmla="*/ 58 h 1922"/>
                  <a:gd name="T62" fmla="*/ 573 w 1314"/>
                  <a:gd name="T63" fmla="*/ 0 h 1922"/>
                  <a:gd name="T64" fmla="*/ 549 w 1314"/>
                  <a:gd name="T65" fmla="*/ 15 h 1922"/>
                  <a:gd name="T66" fmla="*/ 593 w 1314"/>
                  <a:gd name="T67" fmla="*/ 73 h 1922"/>
                  <a:gd name="T68" fmla="*/ 543 w 1314"/>
                  <a:gd name="T69" fmla="*/ 185 h 1922"/>
                  <a:gd name="T70" fmla="*/ 472 w 1314"/>
                  <a:gd name="T71" fmla="*/ 274 h 1922"/>
                  <a:gd name="T72" fmla="*/ 429 w 1314"/>
                  <a:gd name="T73" fmla="*/ 249 h 1922"/>
                  <a:gd name="T74" fmla="*/ 400 w 1314"/>
                  <a:gd name="T75" fmla="*/ 264 h 1922"/>
                  <a:gd name="T76" fmla="*/ 394 w 1314"/>
                  <a:gd name="T77" fmla="*/ 296 h 1922"/>
                  <a:gd name="T78" fmla="*/ 425 w 1314"/>
                  <a:gd name="T79" fmla="*/ 356 h 1922"/>
                  <a:gd name="T80" fmla="*/ 277 w 1314"/>
                  <a:gd name="T81" fmla="*/ 684 h 1922"/>
                  <a:gd name="T82" fmla="*/ 111 w 1314"/>
                  <a:gd name="T83" fmla="*/ 996 h 1922"/>
                  <a:gd name="T84" fmla="*/ 65 w 1314"/>
                  <a:gd name="T85" fmla="*/ 994 h 1922"/>
                  <a:gd name="T86" fmla="*/ 49 w 1314"/>
                  <a:gd name="T87" fmla="*/ 1011 h 1922"/>
                  <a:gd name="T88" fmla="*/ 44 w 1314"/>
                  <a:gd name="T89" fmla="*/ 1040 h 1922"/>
                  <a:gd name="T90" fmla="*/ 127 w 1314"/>
                  <a:gd name="T91" fmla="*/ 1178 h 1922"/>
                  <a:gd name="T92" fmla="*/ 216 w 1314"/>
                  <a:gd name="T93" fmla="*/ 1266 h 1922"/>
                  <a:gd name="T94" fmla="*/ 376 w 1314"/>
                  <a:gd name="T95" fmla="*/ 1243 h 1922"/>
                  <a:gd name="T96" fmla="*/ 455 w 1314"/>
                  <a:gd name="T97" fmla="*/ 1221 h 1922"/>
                  <a:gd name="T98" fmla="*/ 464 w 1314"/>
                  <a:gd name="T99" fmla="*/ 1197 h 1922"/>
                  <a:gd name="T100" fmla="*/ 452 w 1314"/>
                  <a:gd name="T101" fmla="*/ 1168 h 1922"/>
                  <a:gd name="T102" fmla="*/ 577 w 1314"/>
                  <a:gd name="T103" fmla="*/ 674 h 1922"/>
                  <a:gd name="T104" fmla="*/ 621 w 1314"/>
                  <a:gd name="T105" fmla="*/ 697 h 1922"/>
                  <a:gd name="T106" fmla="*/ 626 w 1314"/>
                  <a:gd name="T107" fmla="*/ 749 h 1922"/>
                  <a:gd name="T108" fmla="*/ 587 w 1314"/>
                  <a:gd name="T109" fmla="*/ 780 h 1922"/>
                  <a:gd name="T110" fmla="*/ 538 w 1314"/>
                  <a:gd name="T111" fmla="*/ 766 h 1922"/>
                  <a:gd name="T112" fmla="*/ 524 w 1314"/>
                  <a:gd name="T113" fmla="*/ 717 h 1922"/>
                  <a:gd name="T114" fmla="*/ 556 w 1314"/>
                  <a:gd name="T115" fmla="*/ 679 h 19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14" h="1922">
                    <a:moveTo>
                      <a:pt x="514" y="944"/>
                    </a:moveTo>
                    <a:lnTo>
                      <a:pt x="669" y="944"/>
                    </a:lnTo>
                    <a:lnTo>
                      <a:pt x="690" y="1522"/>
                    </a:lnTo>
                    <a:lnTo>
                      <a:pt x="0" y="1502"/>
                    </a:lnTo>
                    <a:lnTo>
                      <a:pt x="240" y="1794"/>
                    </a:lnTo>
                    <a:lnTo>
                      <a:pt x="173" y="1871"/>
                    </a:lnTo>
                    <a:lnTo>
                      <a:pt x="460" y="1876"/>
                    </a:lnTo>
                    <a:lnTo>
                      <a:pt x="454" y="1917"/>
                    </a:lnTo>
                    <a:lnTo>
                      <a:pt x="1314" y="1922"/>
                    </a:lnTo>
                    <a:lnTo>
                      <a:pt x="1304" y="1896"/>
                    </a:lnTo>
                    <a:lnTo>
                      <a:pt x="1294" y="1871"/>
                    </a:lnTo>
                    <a:lnTo>
                      <a:pt x="1283" y="1846"/>
                    </a:lnTo>
                    <a:lnTo>
                      <a:pt x="1271" y="1822"/>
                    </a:lnTo>
                    <a:lnTo>
                      <a:pt x="1259" y="1798"/>
                    </a:lnTo>
                    <a:lnTo>
                      <a:pt x="1247" y="1775"/>
                    </a:lnTo>
                    <a:lnTo>
                      <a:pt x="1233" y="1752"/>
                    </a:lnTo>
                    <a:lnTo>
                      <a:pt x="1220" y="1730"/>
                    </a:lnTo>
                    <a:lnTo>
                      <a:pt x="1205" y="1709"/>
                    </a:lnTo>
                    <a:lnTo>
                      <a:pt x="1190" y="1688"/>
                    </a:lnTo>
                    <a:lnTo>
                      <a:pt x="1174" y="1669"/>
                    </a:lnTo>
                    <a:lnTo>
                      <a:pt x="1157" y="1649"/>
                    </a:lnTo>
                    <a:lnTo>
                      <a:pt x="1140" y="1631"/>
                    </a:lnTo>
                    <a:lnTo>
                      <a:pt x="1122" y="1613"/>
                    </a:lnTo>
                    <a:lnTo>
                      <a:pt x="1103" y="1596"/>
                    </a:lnTo>
                    <a:lnTo>
                      <a:pt x="1084" y="1579"/>
                    </a:lnTo>
                    <a:lnTo>
                      <a:pt x="1095" y="1531"/>
                    </a:lnTo>
                    <a:lnTo>
                      <a:pt x="1103" y="1484"/>
                    </a:lnTo>
                    <a:lnTo>
                      <a:pt x="1110" y="1438"/>
                    </a:lnTo>
                    <a:lnTo>
                      <a:pt x="1113" y="1392"/>
                    </a:lnTo>
                    <a:lnTo>
                      <a:pt x="1115" y="1347"/>
                    </a:lnTo>
                    <a:lnTo>
                      <a:pt x="1115" y="1302"/>
                    </a:lnTo>
                    <a:lnTo>
                      <a:pt x="1114" y="1257"/>
                    </a:lnTo>
                    <a:lnTo>
                      <a:pt x="1110" y="1213"/>
                    </a:lnTo>
                    <a:lnTo>
                      <a:pt x="1103" y="1169"/>
                    </a:lnTo>
                    <a:lnTo>
                      <a:pt x="1095" y="1126"/>
                    </a:lnTo>
                    <a:lnTo>
                      <a:pt x="1085" y="1084"/>
                    </a:lnTo>
                    <a:lnTo>
                      <a:pt x="1073" y="1041"/>
                    </a:lnTo>
                    <a:lnTo>
                      <a:pt x="1058" y="1000"/>
                    </a:lnTo>
                    <a:lnTo>
                      <a:pt x="1041" y="958"/>
                    </a:lnTo>
                    <a:lnTo>
                      <a:pt x="1023" y="918"/>
                    </a:lnTo>
                    <a:lnTo>
                      <a:pt x="1002" y="877"/>
                    </a:lnTo>
                    <a:lnTo>
                      <a:pt x="705" y="603"/>
                    </a:lnTo>
                    <a:lnTo>
                      <a:pt x="702" y="602"/>
                    </a:lnTo>
                    <a:lnTo>
                      <a:pt x="700" y="601"/>
                    </a:lnTo>
                    <a:lnTo>
                      <a:pt x="698" y="599"/>
                    </a:lnTo>
                    <a:lnTo>
                      <a:pt x="695" y="597"/>
                    </a:lnTo>
                    <a:lnTo>
                      <a:pt x="692" y="593"/>
                    </a:lnTo>
                    <a:lnTo>
                      <a:pt x="689" y="587"/>
                    </a:lnTo>
                    <a:lnTo>
                      <a:pt x="680" y="581"/>
                    </a:lnTo>
                    <a:lnTo>
                      <a:pt x="681" y="579"/>
                    </a:lnTo>
                    <a:lnTo>
                      <a:pt x="670" y="571"/>
                    </a:lnTo>
                    <a:lnTo>
                      <a:pt x="658" y="563"/>
                    </a:lnTo>
                    <a:lnTo>
                      <a:pt x="645" y="557"/>
                    </a:lnTo>
                    <a:lnTo>
                      <a:pt x="632" y="551"/>
                    </a:lnTo>
                    <a:lnTo>
                      <a:pt x="614" y="547"/>
                    </a:lnTo>
                    <a:lnTo>
                      <a:pt x="594" y="543"/>
                    </a:lnTo>
                    <a:lnTo>
                      <a:pt x="574" y="542"/>
                    </a:lnTo>
                    <a:lnTo>
                      <a:pt x="555" y="543"/>
                    </a:lnTo>
                    <a:lnTo>
                      <a:pt x="535" y="547"/>
                    </a:lnTo>
                    <a:lnTo>
                      <a:pt x="517" y="551"/>
                    </a:lnTo>
                    <a:lnTo>
                      <a:pt x="508" y="554"/>
                    </a:lnTo>
                    <a:lnTo>
                      <a:pt x="499" y="558"/>
                    </a:lnTo>
                    <a:lnTo>
                      <a:pt x="491" y="562"/>
                    </a:lnTo>
                    <a:lnTo>
                      <a:pt x="484" y="566"/>
                    </a:lnTo>
                    <a:lnTo>
                      <a:pt x="476" y="571"/>
                    </a:lnTo>
                    <a:lnTo>
                      <a:pt x="470" y="576"/>
                    </a:lnTo>
                    <a:lnTo>
                      <a:pt x="464" y="582"/>
                    </a:lnTo>
                    <a:lnTo>
                      <a:pt x="459" y="587"/>
                    </a:lnTo>
                    <a:lnTo>
                      <a:pt x="454" y="594"/>
                    </a:lnTo>
                    <a:lnTo>
                      <a:pt x="450" y="600"/>
                    </a:lnTo>
                    <a:lnTo>
                      <a:pt x="447" y="607"/>
                    </a:lnTo>
                    <a:lnTo>
                      <a:pt x="443" y="614"/>
                    </a:lnTo>
                    <a:lnTo>
                      <a:pt x="441" y="619"/>
                    </a:lnTo>
                    <a:lnTo>
                      <a:pt x="437" y="622"/>
                    </a:lnTo>
                    <a:lnTo>
                      <a:pt x="431" y="623"/>
                    </a:lnTo>
                    <a:lnTo>
                      <a:pt x="426" y="623"/>
                    </a:lnTo>
                    <a:lnTo>
                      <a:pt x="422" y="621"/>
                    </a:lnTo>
                    <a:lnTo>
                      <a:pt x="418" y="617"/>
                    </a:lnTo>
                    <a:lnTo>
                      <a:pt x="417" y="611"/>
                    </a:lnTo>
                    <a:lnTo>
                      <a:pt x="417" y="606"/>
                    </a:lnTo>
                    <a:lnTo>
                      <a:pt x="422" y="596"/>
                    </a:lnTo>
                    <a:lnTo>
                      <a:pt x="426" y="587"/>
                    </a:lnTo>
                    <a:lnTo>
                      <a:pt x="431" y="578"/>
                    </a:lnTo>
                    <a:lnTo>
                      <a:pt x="438" y="570"/>
                    </a:lnTo>
                    <a:lnTo>
                      <a:pt x="445" y="562"/>
                    </a:lnTo>
                    <a:lnTo>
                      <a:pt x="452" y="555"/>
                    </a:lnTo>
                    <a:lnTo>
                      <a:pt x="460" y="549"/>
                    </a:lnTo>
                    <a:lnTo>
                      <a:pt x="470" y="543"/>
                    </a:lnTo>
                    <a:lnTo>
                      <a:pt x="478" y="538"/>
                    </a:lnTo>
                    <a:lnTo>
                      <a:pt x="488" y="534"/>
                    </a:lnTo>
                    <a:lnTo>
                      <a:pt x="498" y="529"/>
                    </a:lnTo>
                    <a:lnTo>
                      <a:pt x="508" y="525"/>
                    </a:lnTo>
                    <a:lnTo>
                      <a:pt x="519" y="523"/>
                    </a:lnTo>
                    <a:lnTo>
                      <a:pt x="530" y="519"/>
                    </a:lnTo>
                    <a:lnTo>
                      <a:pt x="541" y="518"/>
                    </a:lnTo>
                    <a:lnTo>
                      <a:pt x="551" y="516"/>
                    </a:lnTo>
                    <a:lnTo>
                      <a:pt x="563" y="515"/>
                    </a:lnTo>
                    <a:lnTo>
                      <a:pt x="574" y="515"/>
                    </a:lnTo>
                    <a:lnTo>
                      <a:pt x="585" y="515"/>
                    </a:lnTo>
                    <a:lnTo>
                      <a:pt x="597" y="516"/>
                    </a:lnTo>
                    <a:lnTo>
                      <a:pt x="608" y="517"/>
                    </a:lnTo>
                    <a:lnTo>
                      <a:pt x="619" y="519"/>
                    </a:lnTo>
                    <a:lnTo>
                      <a:pt x="630" y="523"/>
                    </a:lnTo>
                    <a:lnTo>
                      <a:pt x="640" y="525"/>
                    </a:lnTo>
                    <a:lnTo>
                      <a:pt x="655" y="530"/>
                    </a:lnTo>
                    <a:lnTo>
                      <a:pt x="668" y="537"/>
                    </a:lnTo>
                    <a:lnTo>
                      <a:pt x="681" y="545"/>
                    </a:lnTo>
                    <a:lnTo>
                      <a:pt x="693" y="553"/>
                    </a:lnTo>
                    <a:lnTo>
                      <a:pt x="719" y="496"/>
                    </a:lnTo>
                    <a:lnTo>
                      <a:pt x="731" y="496"/>
                    </a:lnTo>
                    <a:lnTo>
                      <a:pt x="742" y="498"/>
                    </a:lnTo>
                    <a:lnTo>
                      <a:pt x="754" y="498"/>
                    </a:lnTo>
                    <a:lnTo>
                      <a:pt x="766" y="498"/>
                    </a:lnTo>
                    <a:lnTo>
                      <a:pt x="784" y="491"/>
                    </a:lnTo>
                    <a:lnTo>
                      <a:pt x="798" y="483"/>
                    </a:lnTo>
                    <a:lnTo>
                      <a:pt x="803" y="479"/>
                    </a:lnTo>
                    <a:lnTo>
                      <a:pt x="809" y="474"/>
                    </a:lnTo>
                    <a:lnTo>
                      <a:pt x="813" y="469"/>
                    </a:lnTo>
                    <a:lnTo>
                      <a:pt x="815" y="464"/>
                    </a:lnTo>
                    <a:lnTo>
                      <a:pt x="818" y="458"/>
                    </a:lnTo>
                    <a:lnTo>
                      <a:pt x="819" y="453"/>
                    </a:lnTo>
                    <a:lnTo>
                      <a:pt x="819" y="446"/>
                    </a:lnTo>
                    <a:lnTo>
                      <a:pt x="818" y="440"/>
                    </a:lnTo>
                    <a:lnTo>
                      <a:pt x="815" y="432"/>
                    </a:lnTo>
                    <a:lnTo>
                      <a:pt x="812" y="426"/>
                    </a:lnTo>
                    <a:lnTo>
                      <a:pt x="807" y="418"/>
                    </a:lnTo>
                    <a:lnTo>
                      <a:pt x="801" y="409"/>
                    </a:lnTo>
                    <a:lnTo>
                      <a:pt x="789" y="409"/>
                    </a:lnTo>
                    <a:lnTo>
                      <a:pt x="777" y="409"/>
                    </a:lnTo>
                    <a:lnTo>
                      <a:pt x="765" y="408"/>
                    </a:lnTo>
                    <a:lnTo>
                      <a:pt x="753" y="408"/>
                    </a:lnTo>
                    <a:lnTo>
                      <a:pt x="762" y="380"/>
                    </a:lnTo>
                    <a:lnTo>
                      <a:pt x="771" y="352"/>
                    </a:lnTo>
                    <a:lnTo>
                      <a:pt x="779" y="324"/>
                    </a:lnTo>
                    <a:lnTo>
                      <a:pt x="788" y="296"/>
                    </a:lnTo>
                    <a:lnTo>
                      <a:pt x="797" y="267"/>
                    </a:lnTo>
                    <a:lnTo>
                      <a:pt x="806" y="240"/>
                    </a:lnTo>
                    <a:lnTo>
                      <a:pt x="814" y="212"/>
                    </a:lnTo>
                    <a:lnTo>
                      <a:pt x="823" y="183"/>
                    </a:lnTo>
                    <a:lnTo>
                      <a:pt x="845" y="184"/>
                    </a:lnTo>
                    <a:lnTo>
                      <a:pt x="866" y="185"/>
                    </a:lnTo>
                    <a:lnTo>
                      <a:pt x="886" y="186"/>
                    </a:lnTo>
                    <a:lnTo>
                      <a:pt x="907" y="188"/>
                    </a:lnTo>
                    <a:lnTo>
                      <a:pt x="912" y="185"/>
                    </a:lnTo>
                    <a:lnTo>
                      <a:pt x="917" y="182"/>
                    </a:lnTo>
                    <a:lnTo>
                      <a:pt x="919" y="177"/>
                    </a:lnTo>
                    <a:lnTo>
                      <a:pt x="920" y="171"/>
                    </a:lnTo>
                    <a:lnTo>
                      <a:pt x="919" y="166"/>
                    </a:lnTo>
                    <a:lnTo>
                      <a:pt x="917" y="159"/>
                    </a:lnTo>
                    <a:lnTo>
                      <a:pt x="914" y="154"/>
                    </a:lnTo>
                    <a:lnTo>
                      <a:pt x="908" y="147"/>
                    </a:lnTo>
                    <a:lnTo>
                      <a:pt x="851" y="113"/>
                    </a:lnTo>
                    <a:lnTo>
                      <a:pt x="810" y="88"/>
                    </a:lnTo>
                    <a:lnTo>
                      <a:pt x="776" y="71"/>
                    </a:lnTo>
                    <a:lnTo>
                      <a:pt x="748" y="58"/>
                    </a:lnTo>
                    <a:lnTo>
                      <a:pt x="719" y="47"/>
                    </a:lnTo>
                    <a:lnTo>
                      <a:pt x="686" y="35"/>
                    </a:lnTo>
                    <a:lnTo>
                      <a:pt x="641" y="21"/>
                    </a:lnTo>
                    <a:lnTo>
                      <a:pt x="581" y="1"/>
                    </a:lnTo>
                    <a:lnTo>
                      <a:pt x="573" y="0"/>
                    </a:lnTo>
                    <a:lnTo>
                      <a:pt x="567" y="1"/>
                    </a:lnTo>
                    <a:lnTo>
                      <a:pt x="560" y="3"/>
                    </a:lnTo>
                    <a:lnTo>
                      <a:pt x="556" y="6"/>
                    </a:lnTo>
                    <a:lnTo>
                      <a:pt x="551" y="11"/>
                    </a:lnTo>
                    <a:lnTo>
                      <a:pt x="549" y="15"/>
                    </a:lnTo>
                    <a:lnTo>
                      <a:pt x="549" y="21"/>
                    </a:lnTo>
                    <a:lnTo>
                      <a:pt x="550" y="26"/>
                    </a:lnTo>
                    <a:lnTo>
                      <a:pt x="565" y="41"/>
                    </a:lnTo>
                    <a:lnTo>
                      <a:pt x="579" y="57"/>
                    </a:lnTo>
                    <a:lnTo>
                      <a:pt x="593" y="73"/>
                    </a:lnTo>
                    <a:lnTo>
                      <a:pt x="607" y="88"/>
                    </a:lnTo>
                    <a:lnTo>
                      <a:pt x="591" y="112"/>
                    </a:lnTo>
                    <a:lnTo>
                      <a:pt x="575" y="136"/>
                    </a:lnTo>
                    <a:lnTo>
                      <a:pt x="559" y="160"/>
                    </a:lnTo>
                    <a:lnTo>
                      <a:pt x="543" y="185"/>
                    </a:lnTo>
                    <a:lnTo>
                      <a:pt x="527" y="209"/>
                    </a:lnTo>
                    <a:lnTo>
                      <a:pt x="511" y="233"/>
                    </a:lnTo>
                    <a:lnTo>
                      <a:pt x="495" y="259"/>
                    </a:lnTo>
                    <a:lnTo>
                      <a:pt x="479" y="283"/>
                    </a:lnTo>
                    <a:lnTo>
                      <a:pt x="472" y="274"/>
                    </a:lnTo>
                    <a:lnTo>
                      <a:pt x="464" y="264"/>
                    </a:lnTo>
                    <a:lnTo>
                      <a:pt x="457" y="255"/>
                    </a:lnTo>
                    <a:lnTo>
                      <a:pt x="448" y="247"/>
                    </a:lnTo>
                    <a:lnTo>
                      <a:pt x="438" y="247"/>
                    </a:lnTo>
                    <a:lnTo>
                      <a:pt x="429" y="249"/>
                    </a:lnTo>
                    <a:lnTo>
                      <a:pt x="422" y="250"/>
                    </a:lnTo>
                    <a:lnTo>
                      <a:pt x="414" y="253"/>
                    </a:lnTo>
                    <a:lnTo>
                      <a:pt x="409" y="256"/>
                    </a:lnTo>
                    <a:lnTo>
                      <a:pt x="404" y="260"/>
                    </a:lnTo>
                    <a:lnTo>
                      <a:pt x="400" y="264"/>
                    </a:lnTo>
                    <a:lnTo>
                      <a:pt x="398" y="269"/>
                    </a:lnTo>
                    <a:lnTo>
                      <a:pt x="395" y="275"/>
                    </a:lnTo>
                    <a:lnTo>
                      <a:pt x="394" y="281"/>
                    </a:lnTo>
                    <a:lnTo>
                      <a:pt x="393" y="288"/>
                    </a:lnTo>
                    <a:lnTo>
                      <a:pt x="394" y="296"/>
                    </a:lnTo>
                    <a:lnTo>
                      <a:pt x="397" y="311"/>
                    </a:lnTo>
                    <a:lnTo>
                      <a:pt x="402" y="328"/>
                    </a:lnTo>
                    <a:lnTo>
                      <a:pt x="410" y="337"/>
                    </a:lnTo>
                    <a:lnTo>
                      <a:pt x="417" y="346"/>
                    </a:lnTo>
                    <a:lnTo>
                      <a:pt x="425" y="356"/>
                    </a:lnTo>
                    <a:lnTo>
                      <a:pt x="433" y="364"/>
                    </a:lnTo>
                    <a:lnTo>
                      <a:pt x="394" y="444"/>
                    </a:lnTo>
                    <a:lnTo>
                      <a:pt x="355" y="524"/>
                    </a:lnTo>
                    <a:lnTo>
                      <a:pt x="316" y="605"/>
                    </a:lnTo>
                    <a:lnTo>
                      <a:pt x="277" y="684"/>
                    </a:lnTo>
                    <a:lnTo>
                      <a:pt x="238" y="764"/>
                    </a:lnTo>
                    <a:lnTo>
                      <a:pt x="199" y="845"/>
                    </a:lnTo>
                    <a:lnTo>
                      <a:pt x="160" y="924"/>
                    </a:lnTo>
                    <a:lnTo>
                      <a:pt x="121" y="1004"/>
                    </a:lnTo>
                    <a:lnTo>
                      <a:pt x="111" y="996"/>
                    </a:lnTo>
                    <a:lnTo>
                      <a:pt x="101" y="989"/>
                    </a:lnTo>
                    <a:lnTo>
                      <a:pt x="87" y="989"/>
                    </a:lnTo>
                    <a:lnTo>
                      <a:pt x="76" y="991"/>
                    </a:lnTo>
                    <a:lnTo>
                      <a:pt x="70" y="992"/>
                    </a:lnTo>
                    <a:lnTo>
                      <a:pt x="65" y="994"/>
                    </a:lnTo>
                    <a:lnTo>
                      <a:pt x="61" y="996"/>
                    </a:lnTo>
                    <a:lnTo>
                      <a:pt x="57" y="1000"/>
                    </a:lnTo>
                    <a:lnTo>
                      <a:pt x="54" y="1002"/>
                    </a:lnTo>
                    <a:lnTo>
                      <a:pt x="51" y="1006"/>
                    </a:lnTo>
                    <a:lnTo>
                      <a:pt x="49" y="1011"/>
                    </a:lnTo>
                    <a:lnTo>
                      <a:pt x="46" y="1015"/>
                    </a:lnTo>
                    <a:lnTo>
                      <a:pt x="45" y="1020"/>
                    </a:lnTo>
                    <a:lnTo>
                      <a:pt x="44" y="1027"/>
                    </a:lnTo>
                    <a:lnTo>
                      <a:pt x="44" y="1033"/>
                    </a:lnTo>
                    <a:lnTo>
                      <a:pt x="44" y="1040"/>
                    </a:lnTo>
                    <a:lnTo>
                      <a:pt x="61" y="1067"/>
                    </a:lnTo>
                    <a:lnTo>
                      <a:pt x="77" y="1095"/>
                    </a:lnTo>
                    <a:lnTo>
                      <a:pt x="94" y="1123"/>
                    </a:lnTo>
                    <a:lnTo>
                      <a:pt x="111" y="1150"/>
                    </a:lnTo>
                    <a:lnTo>
                      <a:pt x="127" y="1178"/>
                    </a:lnTo>
                    <a:lnTo>
                      <a:pt x="144" y="1205"/>
                    </a:lnTo>
                    <a:lnTo>
                      <a:pt x="161" y="1233"/>
                    </a:lnTo>
                    <a:lnTo>
                      <a:pt x="177" y="1261"/>
                    </a:lnTo>
                    <a:lnTo>
                      <a:pt x="183" y="1271"/>
                    </a:lnTo>
                    <a:lnTo>
                      <a:pt x="216" y="1266"/>
                    </a:lnTo>
                    <a:lnTo>
                      <a:pt x="247" y="1262"/>
                    </a:lnTo>
                    <a:lnTo>
                      <a:pt x="280" y="1257"/>
                    </a:lnTo>
                    <a:lnTo>
                      <a:pt x="312" y="1253"/>
                    </a:lnTo>
                    <a:lnTo>
                      <a:pt x="344" y="1247"/>
                    </a:lnTo>
                    <a:lnTo>
                      <a:pt x="376" y="1243"/>
                    </a:lnTo>
                    <a:lnTo>
                      <a:pt x="409" y="1239"/>
                    </a:lnTo>
                    <a:lnTo>
                      <a:pt x="440" y="1234"/>
                    </a:lnTo>
                    <a:lnTo>
                      <a:pt x="446" y="1230"/>
                    </a:lnTo>
                    <a:lnTo>
                      <a:pt x="451" y="1226"/>
                    </a:lnTo>
                    <a:lnTo>
                      <a:pt x="455" y="1221"/>
                    </a:lnTo>
                    <a:lnTo>
                      <a:pt x="459" y="1217"/>
                    </a:lnTo>
                    <a:lnTo>
                      <a:pt x="461" y="1211"/>
                    </a:lnTo>
                    <a:lnTo>
                      <a:pt x="463" y="1207"/>
                    </a:lnTo>
                    <a:lnTo>
                      <a:pt x="464" y="1203"/>
                    </a:lnTo>
                    <a:lnTo>
                      <a:pt x="464" y="1197"/>
                    </a:lnTo>
                    <a:lnTo>
                      <a:pt x="464" y="1193"/>
                    </a:lnTo>
                    <a:lnTo>
                      <a:pt x="463" y="1188"/>
                    </a:lnTo>
                    <a:lnTo>
                      <a:pt x="461" y="1183"/>
                    </a:lnTo>
                    <a:lnTo>
                      <a:pt x="459" y="1178"/>
                    </a:lnTo>
                    <a:lnTo>
                      <a:pt x="452" y="1168"/>
                    </a:lnTo>
                    <a:lnTo>
                      <a:pt x="445" y="1157"/>
                    </a:lnTo>
                    <a:lnTo>
                      <a:pt x="431" y="1154"/>
                    </a:lnTo>
                    <a:lnTo>
                      <a:pt x="419" y="1151"/>
                    </a:lnTo>
                    <a:lnTo>
                      <a:pt x="514" y="944"/>
                    </a:lnTo>
                    <a:close/>
                    <a:moveTo>
                      <a:pt x="577" y="674"/>
                    </a:moveTo>
                    <a:lnTo>
                      <a:pt x="587" y="675"/>
                    </a:lnTo>
                    <a:lnTo>
                      <a:pt x="597" y="679"/>
                    </a:lnTo>
                    <a:lnTo>
                      <a:pt x="606" y="683"/>
                    </a:lnTo>
                    <a:lnTo>
                      <a:pt x="615" y="690"/>
                    </a:lnTo>
                    <a:lnTo>
                      <a:pt x="621" y="697"/>
                    </a:lnTo>
                    <a:lnTo>
                      <a:pt x="626" y="707"/>
                    </a:lnTo>
                    <a:lnTo>
                      <a:pt x="629" y="717"/>
                    </a:lnTo>
                    <a:lnTo>
                      <a:pt x="630" y="728"/>
                    </a:lnTo>
                    <a:lnTo>
                      <a:pt x="629" y="739"/>
                    </a:lnTo>
                    <a:lnTo>
                      <a:pt x="626" y="749"/>
                    </a:lnTo>
                    <a:lnTo>
                      <a:pt x="621" y="757"/>
                    </a:lnTo>
                    <a:lnTo>
                      <a:pt x="615" y="766"/>
                    </a:lnTo>
                    <a:lnTo>
                      <a:pt x="606" y="773"/>
                    </a:lnTo>
                    <a:lnTo>
                      <a:pt x="597" y="777"/>
                    </a:lnTo>
                    <a:lnTo>
                      <a:pt x="587" y="780"/>
                    </a:lnTo>
                    <a:lnTo>
                      <a:pt x="577" y="781"/>
                    </a:lnTo>
                    <a:lnTo>
                      <a:pt x="566" y="780"/>
                    </a:lnTo>
                    <a:lnTo>
                      <a:pt x="556" y="777"/>
                    </a:lnTo>
                    <a:lnTo>
                      <a:pt x="546" y="773"/>
                    </a:lnTo>
                    <a:lnTo>
                      <a:pt x="538" y="766"/>
                    </a:lnTo>
                    <a:lnTo>
                      <a:pt x="532" y="757"/>
                    </a:lnTo>
                    <a:lnTo>
                      <a:pt x="526" y="749"/>
                    </a:lnTo>
                    <a:lnTo>
                      <a:pt x="524" y="739"/>
                    </a:lnTo>
                    <a:lnTo>
                      <a:pt x="523" y="728"/>
                    </a:lnTo>
                    <a:lnTo>
                      <a:pt x="524" y="717"/>
                    </a:lnTo>
                    <a:lnTo>
                      <a:pt x="526" y="707"/>
                    </a:lnTo>
                    <a:lnTo>
                      <a:pt x="532" y="697"/>
                    </a:lnTo>
                    <a:lnTo>
                      <a:pt x="538" y="690"/>
                    </a:lnTo>
                    <a:lnTo>
                      <a:pt x="546" y="683"/>
                    </a:lnTo>
                    <a:lnTo>
                      <a:pt x="556" y="679"/>
                    </a:lnTo>
                    <a:lnTo>
                      <a:pt x="566" y="675"/>
                    </a:lnTo>
                    <a:lnTo>
                      <a:pt x="577" y="674"/>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sz="1200"/>
              </a:p>
            </p:txBody>
          </p:sp>
          <p:sp>
            <p:nvSpPr>
              <p:cNvPr id="69" name="Freeform 8"/>
              <p:cNvSpPr>
                <a:spLocks/>
              </p:cNvSpPr>
              <p:nvPr/>
            </p:nvSpPr>
            <p:spPr bwMode="auto">
              <a:xfrm>
                <a:off x="-2230438" y="4618038"/>
                <a:ext cx="242888" cy="26988"/>
              </a:xfrm>
              <a:custGeom>
                <a:avLst/>
                <a:gdLst>
                  <a:gd name="T0" fmla="*/ 1304 w 1380"/>
                  <a:gd name="T1" fmla="*/ 0 h 153"/>
                  <a:gd name="T2" fmla="*/ 1319 w 1380"/>
                  <a:gd name="T3" fmla="*/ 2 h 153"/>
                  <a:gd name="T4" fmla="*/ 1333 w 1380"/>
                  <a:gd name="T5" fmla="*/ 6 h 153"/>
                  <a:gd name="T6" fmla="*/ 1347 w 1380"/>
                  <a:gd name="T7" fmla="*/ 13 h 153"/>
                  <a:gd name="T8" fmla="*/ 1359 w 1380"/>
                  <a:gd name="T9" fmla="*/ 22 h 153"/>
                  <a:gd name="T10" fmla="*/ 1367 w 1380"/>
                  <a:gd name="T11" fmla="*/ 33 h 153"/>
                  <a:gd name="T12" fmla="*/ 1375 w 1380"/>
                  <a:gd name="T13" fmla="*/ 46 h 153"/>
                  <a:gd name="T14" fmla="*/ 1379 w 1380"/>
                  <a:gd name="T15" fmla="*/ 62 h 153"/>
                  <a:gd name="T16" fmla="*/ 1380 w 1380"/>
                  <a:gd name="T17" fmla="*/ 77 h 153"/>
                  <a:gd name="T18" fmla="*/ 1380 w 1380"/>
                  <a:gd name="T19" fmla="*/ 85 h 153"/>
                  <a:gd name="T20" fmla="*/ 1377 w 1380"/>
                  <a:gd name="T21" fmla="*/ 100 h 153"/>
                  <a:gd name="T22" fmla="*/ 1372 w 1380"/>
                  <a:gd name="T23" fmla="*/ 113 h 153"/>
                  <a:gd name="T24" fmla="*/ 1363 w 1380"/>
                  <a:gd name="T25" fmla="*/ 125 h 153"/>
                  <a:gd name="T26" fmla="*/ 1353 w 1380"/>
                  <a:gd name="T27" fmla="*/ 136 h 153"/>
                  <a:gd name="T28" fmla="*/ 1340 w 1380"/>
                  <a:gd name="T29" fmla="*/ 144 h 153"/>
                  <a:gd name="T30" fmla="*/ 1327 w 1380"/>
                  <a:gd name="T31" fmla="*/ 150 h 153"/>
                  <a:gd name="T32" fmla="*/ 1312 w 1380"/>
                  <a:gd name="T33" fmla="*/ 153 h 153"/>
                  <a:gd name="T34" fmla="*/ 76 w 1380"/>
                  <a:gd name="T35" fmla="*/ 153 h 153"/>
                  <a:gd name="T36" fmla="*/ 61 w 1380"/>
                  <a:gd name="T37" fmla="*/ 152 h 153"/>
                  <a:gd name="T38" fmla="*/ 46 w 1380"/>
                  <a:gd name="T39" fmla="*/ 147 h 153"/>
                  <a:gd name="T40" fmla="*/ 33 w 1380"/>
                  <a:gd name="T41" fmla="*/ 140 h 153"/>
                  <a:gd name="T42" fmla="*/ 21 w 1380"/>
                  <a:gd name="T43" fmla="*/ 131 h 153"/>
                  <a:gd name="T44" fmla="*/ 13 w 1380"/>
                  <a:gd name="T45" fmla="*/ 120 h 153"/>
                  <a:gd name="T46" fmla="*/ 5 w 1380"/>
                  <a:gd name="T47" fmla="*/ 106 h 153"/>
                  <a:gd name="T48" fmla="*/ 1 w 1380"/>
                  <a:gd name="T49" fmla="*/ 92 h 153"/>
                  <a:gd name="T50" fmla="*/ 0 w 1380"/>
                  <a:gd name="T51" fmla="*/ 77 h 153"/>
                  <a:gd name="T52" fmla="*/ 0 w 1380"/>
                  <a:gd name="T53" fmla="*/ 68 h 153"/>
                  <a:gd name="T54" fmla="*/ 3 w 1380"/>
                  <a:gd name="T55" fmla="*/ 54 h 153"/>
                  <a:gd name="T56" fmla="*/ 8 w 1380"/>
                  <a:gd name="T57" fmla="*/ 40 h 153"/>
                  <a:gd name="T58" fmla="*/ 17 w 1380"/>
                  <a:gd name="T59" fmla="*/ 28 h 153"/>
                  <a:gd name="T60" fmla="*/ 27 w 1380"/>
                  <a:gd name="T61" fmla="*/ 17 h 153"/>
                  <a:gd name="T62" fmla="*/ 40 w 1380"/>
                  <a:gd name="T63" fmla="*/ 9 h 153"/>
                  <a:gd name="T64" fmla="*/ 53 w 1380"/>
                  <a:gd name="T65" fmla="*/ 3 h 153"/>
                  <a:gd name="T66" fmla="*/ 68 w 1380"/>
                  <a:gd name="T67" fmla="*/ 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0" h="153">
                    <a:moveTo>
                      <a:pt x="76" y="0"/>
                    </a:moveTo>
                    <a:lnTo>
                      <a:pt x="1304" y="0"/>
                    </a:lnTo>
                    <a:lnTo>
                      <a:pt x="1312" y="1"/>
                    </a:lnTo>
                    <a:lnTo>
                      <a:pt x="1319" y="2"/>
                    </a:lnTo>
                    <a:lnTo>
                      <a:pt x="1327" y="3"/>
                    </a:lnTo>
                    <a:lnTo>
                      <a:pt x="1333" y="6"/>
                    </a:lnTo>
                    <a:lnTo>
                      <a:pt x="1340" y="9"/>
                    </a:lnTo>
                    <a:lnTo>
                      <a:pt x="1347" y="13"/>
                    </a:lnTo>
                    <a:lnTo>
                      <a:pt x="1353" y="17"/>
                    </a:lnTo>
                    <a:lnTo>
                      <a:pt x="1359" y="22"/>
                    </a:lnTo>
                    <a:lnTo>
                      <a:pt x="1363" y="28"/>
                    </a:lnTo>
                    <a:lnTo>
                      <a:pt x="1367" y="33"/>
                    </a:lnTo>
                    <a:lnTo>
                      <a:pt x="1372" y="40"/>
                    </a:lnTo>
                    <a:lnTo>
                      <a:pt x="1375" y="46"/>
                    </a:lnTo>
                    <a:lnTo>
                      <a:pt x="1377" y="54"/>
                    </a:lnTo>
                    <a:lnTo>
                      <a:pt x="1379" y="62"/>
                    </a:lnTo>
                    <a:lnTo>
                      <a:pt x="1380" y="68"/>
                    </a:lnTo>
                    <a:lnTo>
                      <a:pt x="1380" y="77"/>
                    </a:lnTo>
                    <a:lnTo>
                      <a:pt x="1380" y="77"/>
                    </a:lnTo>
                    <a:lnTo>
                      <a:pt x="1380" y="85"/>
                    </a:lnTo>
                    <a:lnTo>
                      <a:pt x="1379" y="92"/>
                    </a:lnTo>
                    <a:lnTo>
                      <a:pt x="1377" y="100"/>
                    </a:lnTo>
                    <a:lnTo>
                      <a:pt x="1375" y="106"/>
                    </a:lnTo>
                    <a:lnTo>
                      <a:pt x="1372" y="113"/>
                    </a:lnTo>
                    <a:lnTo>
                      <a:pt x="1367" y="120"/>
                    </a:lnTo>
                    <a:lnTo>
                      <a:pt x="1363" y="125"/>
                    </a:lnTo>
                    <a:lnTo>
                      <a:pt x="1359" y="131"/>
                    </a:lnTo>
                    <a:lnTo>
                      <a:pt x="1353" y="136"/>
                    </a:lnTo>
                    <a:lnTo>
                      <a:pt x="1347" y="140"/>
                    </a:lnTo>
                    <a:lnTo>
                      <a:pt x="1340" y="144"/>
                    </a:lnTo>
                    <a:lnTo>
                      <a:pt x="1333" y="147"/>
                    </a:lnTo>
                    <a:lnTo>
                      <a:pt x="1327" y="150"/>
                    </a:lnTo>
                    <a:lnTo>
                      <a:pt x="1319" y="152"/>
                    </a:lnTo>
                    <a:lnTo>
                      <a:pt x="1312" y="153"/>
                    </a:lnTo>
                    <a:lnTo>
                      <a:pt x="1304" y="153"/>
                    </a:lnTo>
                    <a:lnTo>
                      <a:pt x="76" y="153"/>
                    </a:lnTo>
                    <a:lnTo>
                      <a:pt x="68" y="153"/>
                    </a:lnTo>
                    <a:lnTo>
                      <a:pt x="61" y="152"/>
                    </a:lnTo>
                    <a:lnTo>
                      <a:pt x="53" y="150"/>
                    </a:lnTo>
                    <a:lnTo>
                      <a:pt x="46" y="147"/>
                    </a:lnTo>
                    <a:lnTo>
                      <a:pt x="40" y="144"/>
                    </a:lnTo>
                    <a:lnTo>
                      <a:pt x="33" y="140"/>
                    </a:lnTo>
                    <a:lnTo>
                      <a:pt x="27" y="136"/>
                    </a:lnTo>
                    <a:lnTo>
                      <a:pt x="21" y="131"/>
                    </a:lnTo>
                    <a:lnTo>
                      <a:pt x="17" y="125"/>
                    </a:lnTo>
                    <a:lnTo>
                      <a:pt x="13" y="120"/>
                    </a:lnTo>
                    <a:lnTo>
                      <a:pt x="8" y="113"/>
                    </a:lnTo>
                    <a:lnTo>
                      <a:pt x="5" y="106"/>
                    </a:lnTo>
                    <a:lnTo>
                      <a:pt x="3" y="100"/>
                    </a:lnTo>
                    <a:lnTo>
                      <a:pt x="1" y="92"/>
                    </a:lnTo>
                    <a:lnTo>
                      <a:pt x="0" y="85"/>
                    </a:lnTo>
                    <a:lnTo>
                      <a:pt x="0" y="77"/>
                    </a:lnTo>
                    <a:lnTo>
                      <a:pt x="0" y="77"/>
                    </a:lnTo>
                    <a:lnTo>
                      <a:pt x="0" y="68"/>
                    </a:lnTo>
                    <a:lnTo>
                      <a:pt x="1" y="62"/>
                    </a:lnTo>
                    <a:lnTo>
                      <a:pt x="3" y="54"/>
                    </a:lnTo>
                    <a:lnTo>
                      <a:pt x="5" y="46"/>
                    </a:lnTo>
                    <a:lnTo>
                      <a:pt x="8" y="40"/>
                    </a:lnTo>
                    <a:lnTo>
                      <a:pt x="13" y="33"/>
                    </a:lnTo>
                    <a:lnTo>
                      <a:pt x="17" y="28"/>
                    </a:lnTo>
                    <a:lnTo>
                      <a:pt x="21" y="22"/>
                    </a:lnTo>
                    <a:lnTo>
                      <a:pt x="27" y="17"/>
                    </a:lnTo>
                    <a:lnTo>
                      <a:pt x="33" y="13"/>
                    </a:lnTo>
                    <a:lnTo>
                      <a:pt x="40" y="9"/>
                    </a:lnTo>
                    <a:lnTo>
                      <a:pt x="46" y="6"/>
                    </a:lnTo>
                    <a:lnTo>
                      <a:pt x="53" y="3"/>
                    </a:lnTo>
                    <a:lnTo>
                      <a:pt x="61" y="2"/>
                    </a:lnTo>
                    <a:lnTo>
                      <a:pt x="68" y="1"/>
                    </a:lnTo>
                    <a:lnTo>
                      <a:pt x="76" y="0"/>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sz="1200"/>
              </a:p>
            </p:txBody>
          </p:sp>
        </p:grpSp>
        <p:sp>
          <p:nvSpPr>
            <p:cNvPr id="70" name="Rectangle 69"/>
            <p:cNvSpPr/>
            <p:nvPr/>
          </p:nvSpPr>
          <p:spPr>
            <a:xfrm>
              <a:off x="658246" y="3173206"/>
              <a:ext cx="2084480" cy="55106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285750" indent="-285750">
                <a:buFont typeface="Arial" charset="0"/>
                <a:buChar char="•"/>
              </a:pPr>
              <a:r>
                <a:rPr lang="tr-TR" sz="1600" dirty="0" smtClean="0">
                  <a:solidFill>
                    <a:schemeClr val="tx1"/>
                  </a:solidFill>
                </a:rPr>
                <a:t>AB’de yasal </a:t>
              </a:r>
              <a:r>
                <a:rPr lang="tr-TR" sz="1600" dirty="0">
                  <a:solidFill>
                    <a:schemeClr val="tx1"/>
                  </a:solidFill>
                </a:rPr>
                <a:t>kaynağı 2001/115/EC KDV </a:t>
              </a:r>
              <a:r>
                <a:rPr lang="tr-TR" sz="1600" dirty="0" smtClean="0">
                  <a:solidFill>
                    <a:schemeClr val="tx1"/>
                  </a:solidFill>
                </a:rPr>
                <a:t>Direktifi</a:t>
              </a:r>
              <a:endParaRPr lang="tr-TR" sz="1600" dirty="0">
                <a:solidFill>
                  <a:schemeClr val="tx1"/>
                </a:solidFill>
              </a:endParaRPr>
            </a:p>
            <a:p>
              <a:pPr marL="285750" indent="-285750">
                <a:buFont typeface="Arial" charset="0"/>
                <a:buChar char="•"/>
              </a:pPr>
              <a:endParaRPr lang="tr-TR" sz="1600" dirty="0">
                <a:solidFill>
                  <a:schemeClr val="tx1"/>
                </a:solidFill>
              </a:endParaRPr>
            </a:p>
          </p:txBody>
        </p:sp>
      </p:grpSp>
      <p:grpSp>
        <p:nvGrpSpPr>
          <p:cNvPr id="10" name="Grup 9"/>
          <p:cNvGrpSpPr/>
          <p:nvPr/>
        </p:nvGrpSpPr>
        <p:grpSpPr>
          <a:xfrm>
            <a:off x="570944" y="3140968"/>
            <a:ext cx="4001056" cy="968492"/>
            <a:chOff x="628865" y="3998917"/>
            <a:chExt cx="4001056" cy="968492"/>
          </a:xfrm>
        </p:grpSpPr>
        <p:grpSp>
          <p:nvGrpSpPr>
            <p:cNvPr id="71" name="Group 70"/>
            <p:cNvGrpSpPr/>
            <p:nvPr/>
          </p:nvGrpSpPr>
          <p:grpSpPr>
            <a:xfrm>
              <a:off x="633306" y="4254783"/>
              <a:ext cx="3996615" cy="222148"/>
              <a:chOff x="252856" y="3340071"/>
              <a:chExt cx="3996615" cy="222148"/>
            </a:xfrm>
          </p:grpSpPr>
          <p:grpSp>
            <p:nvGrpSpPr>
              <p:cNvPr id="72" name="Group 8"/>
              <p:cNvGrpSpPr/>
              <p:nvPr>
                <p:custDataLst>
                  <p:tags r:id="rId15"/>
                </p:custDataLst>
              </p:nvPr>
            </p:nvGrpSpPr>
            <p:grpSpPr>
              <a:xfrm>
                <a:off x="4026648" y="3340071"/>
                <a:ext cx="222823" cy="222148"/>
                <a:chOff x="7535636" y="2666546"/>
                <a:chExt cx="523875" cy="522288"/>
              </a:xfrm>
              <a:effectLst>
                <a:outerShdw blurRad="25400" dist="12700" dir="5400000" algn="t" rotWithShape="0">
                  <a:prstClr val="black">
                    <a:alpha val="25000"/>
                  </a:prstClr>
                </a:outerShdw>
              </a:effectLst>
            </p:grpSpPr>
            <p:sp>
              <p:nvSpPr>
                <p:cNvPr id="74" name="Oval 73"/>
                <p:cNvSpPr/>
                <p:nvPr/>
              </p:nvSpPr>
              <p:spPr bwMode="auto">
                <a:xfrm>
                  <a:off x="7535636" y="2666546"/>
                  <a:ext cx="523875" cy="522288"/>
                </a:xfrm>
                <a:prstGeom prst="ellipse">
                  <a:avLst/>
                </a:prstGeom>
                <a:gradFill>
                  <a:gsLst>
                    <a:gs pos="0">
                      <a:schemeClr val="bg1"/>
                    </a:gs>
                    <a:gs pos="100000">
                      <a:schemeClr val="bg1">
                        <a:lumMod val="85000"/>
                      </a:schemeClr>
                    </a:gs>
                  </a:gsLst>
                  <a:lin ang="5400000" scaled="0"/>
                </a:gradFill>
                <a:ln w="317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b-NO" sz="1200">
                    <a:solidFill>
                      <a:srgbClr val="FFFFFF"/>
                    </a:solidFill>
                    <a:ea typeface="ＭＳ Ｐゴシック" charset="-128"/>
                    <a:cs typeface="Arial" charset="0"/>
                  </a:endParaRPr>
                </a:p>
              </p:txBody>
            </p:sp>
            <p:sp>
              <p:nvSpPr>
                <p:cNvPr id="75" name="Oval 74"/>
                <p:cNvSpPr/>
                <p:nvPr/>
              </p:nvSpPr>
              <p:spPr bwMode="auto">
                <a:xfrm>
                  <a:off x="7681686" y="2807834"/>
                  <a:ext cx="239713" cy="239712"/>
                </a:xfrm>
                <a:prstGeom prst="ellipse">
                  <a:avLst/>
                </a:prstGeom>
                <a:solidFill>
                  <a:srgbClr val="2A9B18"/>
                </a:solidFill>
                <a:ln w="9525">
                  <a:noFill/>
                  <a:round/>
                  <a:headEnd/>
                  <a:tailEnd/>
                </a:ln>
                <a:effectLst/>
              </p:spPr>
              <p:txBody>
                <a:bodyPr/>
                <a:lstStyle/>
                <a:p>
                  <a:pPr>
                    <a:defRPr/>
                  </a:pPr>
                  <a:endParaRPr lang="nb-NO" sz="1200">
                    <a:latin typeface="Calibri" charset="0"/>
                    <a:ea typeface="ＭＳ Ｐゴシック" charset="-128"/>
                  </a:endParaRPr>
                </a:p>
              </p:txBody>
            </p:sp>
          </p:grpSp>
          <p:cxnSp>
            <p:nvCxnSpPr>
              <p:cNvPr id="73" name="Straight Connector 72"/>
              <p:cNvCxnSpPr/>
              <p:nvPr>
                <p:custDataLst>
                  <p:tags r:id="rId16"/>
                </p:custDataLst>
              </p:nvPr>
            </p:nvCxnSpPr>
            <p:spPr>
              <a:xfrm>
                <a:off x="252856" y="3448050"/>
                <a:ext cx="3881177" cy="0"/>
              </a:xfrm>
              <a:prstGeom prst="line">
                <a:avLst/>
              </a:prstGeom>
              <a:ln w="3175">
                <a:solidFill>
                  <a:srgbClr val="2A9B18"/>
                </a:solidFill>
                <a:headEnd type="oval" w="sm" len="sm"/>
                <a:tailEnd type="oval" w="sm" len="sm"/>
              </a:ln>
              <a:effectLst/>
            </p:spPr>
            <p:style>
              <a:lnRef idx="2">
                <a:schemeClr val="accent1"/>
              </a:lnRef>
              <a:fillRef idx="0">
                <a:schemeClr val="accent1"/>
              </a:fillRef>
              <a:effectRef idx="1">
                <a:schemeClr val="accent1"/>
              </a:effectRef>
              <a:fontRef idx="minor">
                <a:schemeClr val="tx1"/>
              </a:fontRef>
            </p:style>
          </p:cxnSp>
        </p:grpSp>
        <p:sp>
          <p:nvSpPr>
            <p:cNvPr id="79" name="Rectangle 78"/>
            <p:cNvSpPr/>
            <p:nvPr/>
          </p:nvSpPr>
          <p:spPr>
            <a:xfrm>
              <a:off x="658245" y="4416340"/>
              <a:ext cx="2891556" cy="55106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285750" indent="-285750">
                <a:buFont typeface="Arial" charset="0"/>
                <a:buChar char="•"/>
              </a:pPr>
              <a:r>
                <a:rPr lang="tr-TR" sz="1600" dirty="0">
                  <a:solidFill>
                    <a:schemeClr val="tx1"/>
                  </a:solidFill>
                </a:rPr>
                <a:t>Kamu öncülüğünde geliştirilen uygulamaların başarısı yüksek olmuştur </a:t>
              </a:r>
            </a:p>
          </p:txBody>
        </p:sp>
        <p:grpSp>
          <p:nvGrpSpPr>
            <p:cNvPr id="80" name="Group 79"/>
            <p:cNvGrpSpPr/>
            <p:nvPr/>
          </p:nvGrpSpPr>
          <p:grpSpPr>
            <a:xfrm>
              <a:off x="628865" y="3998917"/>
              <a:ext cx="328648" cy="315427"/>
              <a:chOff x="239667" y="1344613"/>
              <a:chExt cx="552450" cy="530225"/>
            </a:xfrm>
            <a:gradFill flip="none" rotWithShape="1">
              <a:gsLst>
                <a:gs pos="0">
                  <a:srgbClr val="2A9B18">
                    <a:shade val="30000"/>
                    <a:satMod val="115000"/>
                  </a:srgbClr>
                </a:gs>
                <a:gs pos="50000">
                  <a:srgbClr val="2A9B18">
                    <a:shade val="67500"/>
                    <a:satMod val="115000"/>
                  </a:srgbClr>
                </a:gs>
                <a:gs pos="100000">
                  <a:srgbClr val="2A9B18">
                    <a:shade val="100000"/>
                    <a:satMod val="115000"/>
                  </a:srgbClr>
                </a:gs>
              </a:gsLst>
              <a:lin ang="16200000" scaled="1"/>
              <a:tileRect/>
            </a:gradFill>
          </p:grpSpPr>
          <p:sp>
            <p:nvSpPr>
              <p:cNvPr id="81" name="Freeform 17"/>
              <p:cNvSpPr>
                <a:spLocks noEditPoints="1"/>
              </p:cNvSpPr>
              <p:nvPr/>
            </p:nvSpPr>
            <p:spPr bwMode="auto">
              <a:xfrm>
                <a:off x="336505" y="1344613"/>
                <a:ext cx="393700" cy="185738"/>
              </a:xfrm>
              <a:custGeom>
                <a:avLst/>
                <a:gdLst>
                  <a:gd name="T0" fmla="*/ 61 w 248"/>
                  <a:gd name="T1" fmla="*/ 1 h 117"/>
                  <a:gd name="T2" fmla="*/ 61 w 248"/>
                  <a:gd name="T3" fmla="*/ 1 h 117"/>
                  <a:gd name="T4" fmla="*/ 57 w 248"/>
                  <a:gd name="T5" fmla="*/ 2 h 117"/>
                  <a:gd name="T6" fmla="*/ 52 w 248"/>
                  <a:gd name="T7" fmla="*/ 3 h 117"/>
                  <a:gd name="T8" fmla="*/ 45 w 248"/>
                  <a:gd name="T9" fmla="*/ 10 h 117"/>
                  <a:gd name="T10" fmla="*/ 37 w 248"/>
                  <a:gd name="T11" fmla="*/ 17 h 117"/>
                  <a:gd name="T12" fmla="*/ 30 w 248"/>
                  <a:gd name="T13" fmla="*/ 28 h 117"/>
                  <a:gd name="T14" fmla="*/ 15 w 248"/>
                  <a:gd name="T15" fmla="*/ 52 h 117"/>
                  <a:gd name="T16" fmla="*/ 0 w 248"/>
                  <a:gd name="T17" fmla="*/ 76 h 117"/>
                  <a:gd name="T18" fmla="*/ 0 w 248"/>
                  <a:gd name="T19" fmla="*/ 76 h 117"/>
                  <a:gd name="T20" fmla="*/ 34 w 248"/>
                  <a:gd name="T21" fmla="*/ 97 h 117"/>
                  <a:gd name="T22" fmla="*/ 68 w 248"/>
                  <a:gd name="T23" fmla="*/ 117 h 117"/>
                  <a:gd name="T24" fmla="*/ 115 w 248"/>
                  <a:gd name="T25" fmla="*/ 37 h 117"/>
                  <a:gd name="T26" fmla="*/ 115 w 248"/>
                  <a:gd name="T27" fmla="*/ 37 h 117"/>
                  <a:gd name="T28" fmla="*/ 112 w 248"/>
                  <a:gd name="T29" fmla="*/ 31 h 117"/>
                  <a:gd name="T30" fmla="*/ 108 w 248"/>
                  <a:gd name="T31" fmla="*/ 25 h 117"/>
                  <a:gd name="T32" fmla="*/ 101 w 248"/>
                  <a:gd name="T33" fmla="*/ 17 h 117"/>
                  <a:gd name="T34" fmla="*/ 93 w 248"/>
                  <a:gd name="T35" fmla="*/ 11 h 117"/>
                  <a:gd name="T36" fmla="*/ 84 w 248"/>
                  <a:gd name="T37" fmla="*/ 4 h 117"/>
                  <a:gd name="T38" fmla="*/ 78 w 248"/>
                  <a:gd name="T39" fmla="*/ 2 h 117"/>
                  <a:gd name="T40" fmla="*/ 73 w 248"/>
                  <a:gd name="T41" fmla="*/ 1 h 117"/>
                  <a:gd name="T42" fmla="*/ 67 w 248"/>
                  <a:gd name="T43" fmla="*/ 0 h 117"/>
                  <a:gd name="T44" fmla="*/ 61 w 248"/>
                  <a:gd name="T45" fmla="*/ 1 h 117"/>
                  <a:gd name="T46" fmla="*/ 61 w 248"/>
                  <a:gd name="T47" fmla="*/ 1 h 117"/>
                  <a:gd name="T48" fmla="*/ 220 w 248"/>
                  <a:gd name="T49" fmla="*/ 52 h 117"/>
                  <a:gd name="T50" fmla="*/ 220 w 248"/>
                  <a:gd name="T51" fmla="*/ 52 h 117"/>
                  <a:gd name="T52" fmla="*/ 214 w 248"/>
                  <a:gd name="T53" fmla="*/ 41 h 117"/>
                  <a:gd name="T54" fmla="*/ 206 w 248"/>
                  <a:gd name="T55" fmla="*/ 28 h 117"/>
                  <a:gd name="T56" fmla="*/ 197 w 248"/>
                  <a:gd name="T57" fmla="*/ 16 h 117"/>
                  <a:gd name="T58" fmla="*/ 193 w 248"/>
                  <a:gd name="T59" fmla="*/ 11 h 117"/>
                  <a:gd name="T60" fmla="*/ 189 w 248"/>
                  <a:gd name="T61" fmla="*/ 7 h 117"/>
                  <a:gd name="T62" fmla="*/ 189 w 248"/>
                  <a:gd name="T63" fmla="*/ 7 h 117"/>
                  <a:gd name="T64" fmla="*/ 181 w 248"/>
                  <a:gd name="T65" fmla="*/ 5 h 117"/>
                  <a:gd name="T66" fmla="*/ 169 w 248"/>
                  <a:gd name="T67" fmla="*/ 4 h 117"/>
                  <a:gd name="T68" fmla="*/ 135 w 248"/>
                  <a:gd name="T69" fmla="*/ 2 h 117"/>
                  <a:gd name="T70" fmla="*/ 103 w 248"/>
                  <a:gd name="T71" fmla="*/ 1 h 117"/>
                  <a:gd name="T72" fmla="*/ 89 w 248"/>
                  <a:gd name="T73" fmla="*/ 1 h 117"/>
                  <a:gd name="T74" fmla="*/ 89 w 248"/>
                  <a:gd name="T75" fmla="*/ 1 h 117"/>
                  <a:gd name="T76" fmla="*/ 93 w 248"/>
                  <a:gd name="T77" fmla="*/ 3 h 117"/>
                  <a:gd name="T78" fmla="*/ 99 w 248"/>
                  <a:gd name="T79" fmla="*/ 9 h 117"/>
                  <a:gd name="T80" fmla="*/ 109 w 248"/>
                  <a:gd name="T81" fmla="*/ 17 h 117"/>
                  <a:gd name="T82" fmla="*/ 109 w 248"/>
                  <a:gd name="T83" fmla="*/ 17 h 117"/>
                  <a:gd name="T84" fmla="*/ 114 w 248"/>
                  <a:gd name="T85" fmla="*/ 24 h 117"/>
                  <a:gd name="T86" fmla="*/ 120 w 248"/>
                  <a:gd name="T87" fmla="*/ 32 h 117"/>
                  <a:gd name="T88" fmla="*/ 132 w 248"/>
                  <a:gd name="T89" fmla="*/ 54 h 117"/>
                  <a:gd name="T90" fmla="*/ 143 w 248"/>
                  <a:gd name="T91" fmla="*/ 76 h 117"/>
                  <a:gd name="T92" fmla="*/ 149 w 248"/>
                  <a:gd name="T93" fmla="*/ 91 h 117"/>
                  <a:gd name="T94" fmla="*/ 120 w 248"/>
                  <a:gd name="T95" fmla="*/ 108 h 117"/>
                  <a:gd name="T96" fmla="*/ 204 w 248"/>
                  <a:gd name="T97" fmla="*/ 110 h 117"/>
                  <a:gd name="T98" fmla="*/ 248 w 248"/>
                  <a:gd name="T99" fmla="*/ 36 h 117"/>
                  <a:gd name="T100" fmla="*/ 220 w 248"/>
                  <a:gd name="T101" fmla="*/ 52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8" h="117">
                    <a:moveTo>
                      <a:pt x="61" y="1"/>
                    </a:moveTo>
                    <a:lnTo>
                      <a:pt x="61" y="1"/>
                    </a:lnTo>
                    <a:lnTo>
                      <a:pt x="57" y="2"/>
                    </a:lnTo>
                    <a:lnTo>
                      <a:pt x="52" y="3"/>
                    </a:lnTo>
                    <a:lnTo>
                      <a:pt x="45" y="10"/>
                    </a:lnTo>
                    <a:lnTo>
                      <a:pt x="37" y="17"/>
                    </a:lnTo>
                    <a:lnTo>
                      <a:pt x="30" y="28"/>
                    </a:lnTo>
                    <a:lnTo>
                      <a:pt x="15" y="52"/>
                    </a:lnTo>
                    <a:lnTo>
                      <a:pt x="0" y="76"/>
                    </a:lnTo>
                    <a:lnTo>
                      <a:pt x="0" y="76"/>
                    </a:lnTo>
                    <a:lnTo>
                      <a:pt x="34" y="97"/>
                    </a:lnTo>
                    <a:lnTo>
                      <a:pt x="68" y="117"/>
                    </a:lnTo>
                    <a:lnTo>
                      <a:pt x="115" y="37"/>
                    </a:lnTo>
                    <a:lnTo>
                      <a:pt x="115" y="37"/>
                    </a:lnTo>
                    <a:lnTo>
                      <a:pt x="112" y="31"/>
                    </a:lnTo>
                    <a:lnTo>
                      <a:pt x="108" y="25"/>
                    </a:lnTo>
                    <a:lnTo>
                      <a:pt x="101" y="17"/>
                    </a:lnTo>
                    <a:lnTo>
                      <a:pt x="93" y="11"/>
                    </a:lnTo>
                    <a:lnTo>
                      <a:pt x="84" y="4"/>
                    </a:lnTo>
                    <a:lnTo>
                      <a:pt x="78" y="2"/>
                    </a:lnTo>
                    <a:lnTo>
                      <a:pt x="73" y="1"/>
                    </a:lnTo>
                    <a:lnTo>
                      <a:pt x="67" y="0"/>
                    </a:lnTo>
                    <a:lnTo>
                      <a:pt x="61" y="1"/>
                    </a:lnTo>
                    <a:lnTo>
                      <a:pt x="61" y="1"/>
                    </a:lnTo>
                    <a:close/>
                    <a:moveTo>
                      <a:pt x="220" y="52"/>
                    </a:moveTo>
                    <a:lnTo>
                      <a:pt x="220" y="52"/>
                    </a:lnTo>
                    <a:lnTo>
                      <a:pt x="214" y="41"/>
                    </a:lnTo>
                    <a:lnTo>
                      <a:pt x="206" y="28"/>
                    </a:lnTo>
                    <a:lnTo>
                      <a:pt x="197" y="16"/>
                    </a:lnTo>
                    <a:lnTo>
                      <a:pt x="193" y="11"/>
                    </a:lnTo>
                    <a:lnTo>
                      <a:pt x="189" y="7"/>
                    </a:lnTo>
                    <a:lnTo>
                      <a:pt x="189" y="7"/>
                    </a:lnTo>
                    <a:lnTo>
                      <a:pt x="181" y="5"/>
                    </a:lnTo>
                    <a:lnTo>
                      <a:pt x="169" y="4"/>
                    </a:lnTo>
                    <a:lnTo>
                      <a:pt x="135" y="2"/>
                    </a:lnTo>
                    <a:lnTo>
                      <a:pt x="103" y="1"/>
                    </a:lnTo>
                    <a:lnTo>
                      <a:pt x="89" y="1"/>
                    </a:lnTo>
                    <a:lnTo>
                      <a:pt x="89" y="1"/>
                    </a:lnTo>
                    <a:lnTo>
                      <a:pt x="93" y="3"/>
                    </a:lnTo>
                    <a:lnTo>
                      <a:pt x="99" y="9"/>
                    </a:lnTo>
                    <a:lnTo>
                      <a:pt x="109" y="17"/>
                    </a:lnTo>
                    <a:lnTo>
                      <a:pt x="109" y="17"/>
                    </a:lnTo>
                    <a:lnTo>
                      <a:pt x="114" y="24"/>
                    </a:lnTo>
                    <a:lnTo>
                      <a:pt x="120" y="32"/>
                    </a:lnTo>
                    <a:lnTo>
                      <a:pt x="132" y="54"/>
                    </a:lnTo>
                    <a:lnTo>
                      <a:pt x="143" y="76"/>
                    </a:lnTo>
                    <a:lnTo>
                      <a:pt x="149" y="91"/>
                    </a:lnTo>
                    <a:lnTo>
                      <a:pt x="120" y="108"/>
                    </a:lnTo>
                    <a:lnTo>
                      <a:pt x="204" y="110"/>
                    </a:lnTo>
                    <a:lnTo>
                      <a:pt x="248" y="36"/>
                    </a:lnTo>
                    <a:lnTo>
                      <a:pt x="220"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2" name="Freeform 18"/>
              <p:cNvSpPr>
                <a:spLocks noEditPoints="1"/>
              </p:cNvSpPr>
              <p:nvPr/>
            </p:nvSpPr>
            <p:spPr bwMode="auto">
              <a:xfrm>
                <a:off x="239667" y="1516062"/>
                <a:ext cx="257175" cy="304799"/>
              </a:xfrm>
              <a:custGeom>
                <a:avLst/>
                <a:gdLst>
                  <a:gd name="T0" fmla="*/ 67 w 162"/>
                  <a:gd name="T1" fmla="*/ 179 h 192"/>
                  <a:gd name="T2" fmla="*/ 67 w 162"/>
                  <a:gd name="T3" fmla="*/ 179 h 192"/>
                  <a:gd name="T4" fmla="*/ 70 w 162"/>
                  <a:gd name="T5" fmla="*/ 181 h 192"/>
                  <a:gd name="T6" fmla="*/ 73 w 162"/>
                  <a:gd name="T7" fmla="*/ 184 h 192"/>
                  <a:gd name="T8" fmla="*/ 82 w 162"/>
                  <a:gd name="T9" fmla="*/ 188 h 192"/>
                  <a:gd name="T10" fmla="*/ 93 w 162"/>
                  <a:gd name="T11" fmla="*/ 190 h 192"/>
                  <a:gd name="T12" fmla="*/ 106 w 162"/>
                  <a:gd name="T13" fmla="*/ 191 h 192"/>
                  <a:gd name="T14" fmla="*/ 134 w 162"/>
                  <a:gd name="T15" fmla="*/ 192 h 192"/>
                  <a:gd name="T16" fmla="*/ 162 w 162"/>
                  <a:gd name="T17" fmla="*/ 191 h 192"/>
                  <a:gd name="T18" fmla="*/ 162 w 162"/>
                  <a:gd name="T19" fmla="*/ 191 h 192"/>
                  <a:gd name="T20" fmla="*/ 162 w 162"/>
                  <a:gd name="T21" fmla="*/ 152 h 192"/>
                  <a:gd name="T22" fmla="*/ 162 w 162"/>
                  <a:gd name="T23" fmla="*/ 113 h 192"/>
                  <a:gd name="T24" fmla="*/ 69 w 162"/>
                  <a:gd name="T25" fmla="*/ 113 h 192"/>
                  <a:gd name="T26" fmla="*/ 69 w 162"/>
                  <a:gd name="T27" fmla="*/ 113 h 192"/>
                  <a:gd name="T28" fmla="*/ 66 w 162"/>
                  <a:gd name="T29" fmla="*/ 119 h 192"/>
                  <a:gd name="T30" fmla="*/ 62 w 162"/>
                  <a:gd name="T31" fmla="*/ 126 h 192"/>
                  <a:gd name="T32" fmla="*/ 60 w 162"/>
                  <a:gd name="T33" fmla="*/ 135 h 192"/>
                  <a:gd name="T34" fmla="*/ 58 w 162"/>
                  <a:gd name="T35" fmla="*/ 145 h 192"/>
                  <a:gd name="T36" fmla="*/ 58 w 162"/>
                  <a:gd name="T37" fmla="*/ 157 h 192"/>
                  <a:gd name="T38" fmla="*/ 59 w 162"/>
                  <a:gd name="T39" fmla="*/ 163 h 192"/>
                  <a:gd name="T40" fmla="*/ 60 w 162"/>
                  <a:gd name="T41" fmla="*/ 168 h 192"/>
                  <a:gd name="T42" fmla="*/ 63 w 162"/>
                  <a:gd name="T43" fmla="*/ 174 h 192"/>
                  <a:gd name="T44" fmla="*/ 67 w 162"/>
                  <a:gd name="T45" fmla="*/ 179 h 192"/>
                  <a:gd name="T46" fmla="*/ 67 w 162"/>
                  <a:gd name="T47" fmla="*/ 179 h 192"/>
                  <a:gd name="T48" fmla="*/ 27 w 162"/>
                  <a:gd name="T49" fmla="*/ 16 h 192"/>
                  <a:gd name="T50" fmla="*/ 27 w 162"/>
                  <a:gd name="T51" fmla="*/ 16 h 192"/>
                  <a:gd name="T52" fmla="*/ 22 w 162"/>
                  <a:gd name="T53" fmla="*/ 26 h 192"/>
                  <a:gd name="T54" fmla="*/ 14 w 162"/>
                  <a:gd name="T55" fmla="*/ 40 h 192"/>
                  <a:gd name="T56" fmla="*/ 9 w 162"/>
                  <a:gd name="T57" fmla="*/ 54 h 192"/>
                  <a:gd name="T58" fmla="*/ 7 w 162"/>
                  <a:gd name="T59" fmla="*/ 60 h 192"/>
                  <a:gd name="T60" fmla="*/ 7 w 162"/>
                  <a:gd name="T61" fmla="*/ 65 h 192"/>
                  <a:gd name="T62" fmla="*/ 7 w 162"/>
                  <a:gd name="T63" fmla="*/ 65 h 192"/>
                  <a:gd name="T64" fmla="*/ 8 w 162"/>
                  <a:gd name="T65" fmla="*/ 72 h 192"/>
                  <a:gd name="T66" fmla="*/ 13 w 162"/>
                  <a:gd name="T67" fmla="*/ 84 h 192"/>
                  <a:gd name="T68" fmla="*/ 30 w 162"/>
                  <a:gd name="T69" fmla="*/ 115 h 192"/>
                  <a:gd name="T70" fmla="*/ 45 w 162"/>
                  <a:gd name="T71" fmla="*/ 141 h 192"/>
                  <a:gd name="T72" fmla="*/ 52 w 162"/>
                  <a:gd name="T73" fmla="*/ 153 h 192"/>
                  <a:gd name="T74" fmla="*/ 52 w 162"/>
                  <a:gd name="T75" fmla="*/ 153 h 192"/>
                  <a:gd name="T76" fmla="*/ 52 w 162"/>
                  <a:gd name="T77" fmla="*/ 150 h 192"/>
                  <a:gd name="T78" fmla="*/ 54 w 162"/>
                  <a:gd name="T79" fmla="*/ 142 h 192"/>
                  <a:gd name="T80" fmla="*/ 56 w 162"/>
                  <a:gd name="T81" fmla="*/ 129 h 192"/>
                  <a:gd name="T82" fmla="*/ 56 w 162"/>
                  <a:gd name="T83" fmla="*/ 129 h 192"/>
                  <a:gd name="T84" fmla="*/ 59 w 162"/>
                  <a:gd name="T85" fmla="*/ 120 h 192"/>
                  <a:gd name="T86" fmla="*/ 63 w 162"/>
                  <a:gd name="T87" fmla="*/ 110 h 192"/>
                  <a:gd name="T88" fmla="*/ 75 w 162"/>
                  <a:gd name="T89" fmla="*/ 90 h 192"/>
                  <a:gd name="T90" fmla="*/ 88 w 162"/>
                  <a:gd name="T91" fmla="*/ 69 h 192"/>
                  <a:gd name="T92" fmla="*/ 98 w 162"/>
                  <a:gd name="T93" fmla="*/ 56 h 192"/>
                  <a:gd name="T94" fmla="*/ 128 w 162"/>
                  <a:gd name="T95" fmla="*/ 72 h 192"/>
                  <a:gd name="T96" fmla="*/ 86 w 162"/>
                  <a:gd name="T97" fmla="*/ 0 h 192"/>
                  <a:gd name="T98" fmla="*/ 0 w 162"/>
                  <a:gd name="T99" fmla="*/ 0 h 192"/>
                  <a:gd name="T100" fmla="*/ 27 w 162"/>
                  <a:gd name="T101" fmla="*/ 1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2" h="192">
                    <a:moveTo>
                      <a:pt x="67" y="179"/>
                    </a:moveTo>
                    <a:lnTo>
                      <a:pt x="67" y="179"/>
                    </a:lnTo>
                    <a:lnTo>
                      <a:pt x="70" y="181"/>
                    </a:lnTo>
                    <a:lnTo>
                      <a:pt x="73" y="184"/>
                    </a:lnTo>
                    <a:lnTo>
                      <a:pt x="82" y="188"/>
                    </a:lnTo>
                    <a:lnTo>
                      <a:pt x="93" y="190"/>
                    </a:lnTo>
                    <a:lnTo>
                      <a:pt x="106" y="191"/>
                    </a:lnTo>
                    <a:lnTo>
                      <a:pt x="134" y="192"/>
                    </a:lnTo>
                    <a:lnTo>
                      <a:pt x="162" y="191"/>
                    </a:lnTo>
                    <a:lnTo>
                      <a:pt x="162" y="191"/>
                    </a:lnTo>
                    <a:lnTo>
                      <a:pt x="162" y="152"/>
                    </a:lnTo>
                    <a:lnTo>
                      <a:pt x="162" y="113"/>
                    </a:lnTo>
                    <a:lnTo>
                      <a:pt x="69" y="113"/>
                    </a:lnTo>
                    <a:lnTo>
                      <a:pt x="69" y="113"/>
                    </a:lnTo>
                    <a:lnTo>
                      <a:pt x="66" y="119"/>
                    </a:lnTo>
                    <a:lnTo>
                      <a:pt x="62" y="126"/>
                    </a:lnTo>
                    <a:lnTo>
                      <a:pt x="60" y="135"/>
                    </a:lnTo>
                    <a:lnTo>
                      <a:pt x="58" y="145"/>
                    </a:lnTo>
                    <a:lnTo>
                      <a:pt x="58" y="157"/>
                    </a:lnTo>
                    <a:lnTo>
                      <a:pt x="59" y="163"/>
                    </a:lnTo>
                    <a:lnTo>
                      <a:pt x="60" y="168"/>
                    </a:lnTo>
                    <a:lnTo>
                      <a:pt x="63" y="174"/>
                    </a:lnTo>
                    <a:lnTo>
                      <a:pt x="67" y="179"/>
                    </a:lnTo>
                    <a:lnTo>
                      <a:pt x="67" y="179"/>
                    </a:lnTo>
                    <a:close/>
                    <a:moveTo>
                      <a:pt x="27" y="16"/>
                    </a:moveTo>
                    <a:lnTo>
                      <a:pt x="27" y="16"/>
                    </a:lnTo>
                    <a:lnTo>
                      <a:pt x="22" y="26"/>
                    </a:lnTo>
                    <a:lnTo>
                      <a:pt x="14" y="40"/>
                    </a:lnTo>
                    <a:lnTo>
                      <a:pt x="9" y="54"/>
                    </a:lnTo>
                    <a:lnTo>
                      <a:pt x="7" y="60"/>
                    </a:lnTo>
                    <a:lnTo>
                      <a:pt x="7" y="65"/>
                    </a:lnTo>
                    <a:lnTo>
                      <a:pt x="7" y="65"/>
                    </a:lnTo>
                    <a:lnTo>
                      <a:pt x="8" y="72"/>
                    </a:lnTo>
                    <a:lnTo>
                      <a:pt x="13" y="84"/>
                    </a:lnTo>
                    <a:lnTo>
                      <a:pt x="30" y="115"/>
                    </a:lnTo>
                    <a:lnTo>
                      <a:pt x="45" y="141"/>
                    </a:lnTo>
                    <a:lnTo>
                      <a:pt x="52" y="153"/>
                    </a:lnTo>
                    <a:lnTo>
                      <a:pt x="52" y="153"/>
                    </a:lnTo>
                    <a:lnTo>
                      <a:pt x="52" y="150"/>
                    </a:lnTo>
                    <a:lnTo>
                      <a:pt x="54" y="142"/>
                    </a:lnTo>
                    <a:lnTo>
                      <a:pt x="56" y="129"/>
                    </a:lnTo>
                    <a:lnTo>
                      <a:pt x="56" y="129"/>
                    </a:lnTo>
                    <a:lnTo>
                      <a:pt x="59" y="120"/>
                    </a:lnTo>
                    <a:lnTo>
                      <a:pt x="63" y="110"/>
                    </a:lnTo>
                    <a:lnTo>
                      <a:pt x="75" y="90"/>
                    </a:lnTo>
                    <a:lnTo>
                      <a:pt x="88" y="69"/>
                    </a:lnTo>
                    <a:lnTo>
                      <a:pt x="98" y="56"/>
                    </a:lnTo>
                    <a:lnTo>
                      <a:pt x="128" y="72"/>
                    </a:lnTo>
                    <a:lnTo>
                      <a:pt x="86" y="0"/>
                    </a:lnTo>
                    <a:lnTo>
                      <a:pt x="0" y="0"/>
                    </a:lnTo>
                    <a:lnTo>
                      <a:pt x="27"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3" name="Freeform 19"/>
              <p:cNvSpPr>
                <a:spLocks noEditPoints="1"/>
              </p:cNvSpPr>
              <p:nvPr/>
            </p:nvSpPr>
            <p:spPr bwMode="auto">
              <a:xfrm>
                <a:off x="528592" y="1500187"/>
                <a:ext cx="263525" cy="374651"/>
              </a:xfrm>
              <a:custGeom>
                <a:avLst/>
                <a:gdLst>
                  <a:gd name="T0" fmla="*/ 164 w 166"/>
                  <a:gd name="T1" fmla="*/ 89 h 236"/>
                  <a:gd name="T2" fmla="*/ 164 w 166"/>
                  <a:gd name="T3" fmla="*/ 89 h 236"/>
                  <a:gd name="T4" fmla="*/ 165 w 166"/>
                  <a:gd name="T5" fmla="*/ 85 h 236"/>
                  <a:gd name="T6" fmla="*/ 166 w 166"/>
                  <a:gd name="T7" fmla="*/ 80 h 236"/>
                  <a:gd name="T8" fmla="*/ 165 w 166"/>
                  <a:gd name="T9" fmla="*/ 70 h 236"/>
                  <a:gd name="T10" fmla="*/ 161 w 166"/>
                  <a:gd name="T11" fmla="*/ 60 h 236"/>
                  <a:gd name="T12" fmla="*/ 157 w 166"/>
                  <a:gd name="T13" fmla="*/ 49 h 236"/>
                  <a:gd name="T14" fmla="*/ 142 w 166"/>
                  <a:gd name="T15" fmla="*/ 25 h 236"/>
                  <a:gd name="T16" fmla="*/ 127 w 166"/>
                  <a:gd name="T17" fmla="*/ 0 h 236"/>
                  <a:gd name="T18" fmla="*/ 127 w 166"/>
                  <a:gd name="T19" fmla="*/ 0 h 236"/>
                  <a:gd name="T20" fmla="*/ 93 w 166"/>
                  <a:gd name="T21" fmla="*/ 19 h 236"/>
                  <a:gd name="T22" fmla="*/ 60 w 166"/>
                  <a:gd name="T23" fmla="*/ 39 h 236"/>
                  <a:gd name="T24" fmla="*/ 105 w 166"/>
                  <a:gd name="T25" fmla="*/ 119 h 236"/>
                  <a:gd name="T26" fmla="*/ 105 w 166"/>
                  <a:gd name="T27" fmla="*/ 119 h 236"/>
                  <a:gd name="T28" fmla="*/ 113 w 166"/>
                  <a:gd name="T29" fmla="*/ 119 h 236"/>
                  <a:gd name="T30" fmla="*/ 121 w 166"/>
                  <a:gd name="T31" fmla="*/ 118 h 236"/>
                  <a:gd name="T32" fmla="*/ 130 w 166"/>
                  <a:gd name="T33" fmla="*/ 116 h 236"/>
                  <a:gd name="T34" fmla="*/ 140 w 166"/>
                  <a:gd name="T35" fmla="*/ 113 h 236"/>
                  <a:gd name="T36" fmla="*/ 150 w 166"/>
                  <a:gd name="T37" fmla="*/ 107 h 236"/>
                  <a:gd name="T38" fmla="*/ 154 w 166"/>
                  <a:gd name="T39" fmla="*/ 104 h 236"/>
                  <a:gd name="T40" fmla="*/ 159 w 166"/>
                  <a:gd name="T41" fmla="*/ 100 h 236"/>
                  <a:gd name="T42" fmla="*/ 162 w 166"/>
                  <a:gd name="T43" fmla="*/ 94 h 236"/>
                  <a:gd name="T44" fmla="*/ 164 w 166"/>
                  <a:gd name="T45" fmla="*/ 89 h 236"/>
                  <a:gd name="T46" fmla="*/ 164 w 166"/>
                  <a:gd name="T47" fmla="*/ 89 h 236"/>
                  <a:gd name="T48" fmla="*/ 43 w 166"/>
                  <a:gd name="T49" fmla="*/ 204 h 236"/>
                  <a:gd name="T50" fmla="*/ 43 w 166"/>
                  <a:gd name="T51" fmla="*/ 204 h 236"/>
                  <a:gd name="T52" fmla="*/ 54 w 166"/>
                  <a:gd name="T53" fmla="*/ 204 h 236"/>
                  <a:gd name="T54" fmla="*/ 70 w 166"/>
                  <a:gd name="T55" fmla="*/ 203 h 236"/>
                  <a:gd name="T56" fmla="*/ 85 w 166"/>
                  <a:gd name="T57" fmla="*/ 201 h 236"/>
                  <a:gd name="T58" fmla="*/ 91 w 166"/>
                  <a:gd name="T59" fmla="*/ 200 h 236"/>
                  <a:gd name="T60" fmla="*/ 97 w 166"/>
                  <a:gd name="T61" fmla="*/ 198 h 236"/>
                  <a:gd name="T62" fmla="*/ 97 w 166"/>
                  <a:gd name="T63" fmla="*/ 198 h 236"/>
                  <a:gd name="T64" fmla="*/ 102 w 166"/>
                  <a:gd name="T65" fmla="*/ 192 h 236"/>
                  <a:gd name="T66" fmla="*/ 110 w 166"/>
                  <a:gd name="T67" fmla="*/ 181 h 236"/>
                  <a:gd name="T68" fmla="*/ 127 w 166"/>
                  <a:gd name="T69" fmla="*/ 153 h 236"/>
                  <a:gd name="T70" fmla="*/ 143 w 166"/>
                  <a:gd name="T71" fmla="*/ 126 h 236"/>
                  <a:gd name="T72" fmla="*/ 150 w 166"/>
                  <a:gd name="T73" fmla="*/ 114 h 236"/>
                  <a:gd name="T74" fmla="*/ 150 w 166"/>
                  <a:gd name="T75" fmla="*/ 114 h 236"/>
                  <a:gd name="T76" fmla="*/ 146 w 166"/>
                  <a:gd name="T77" fmla="*/ 116 h 236"/>
                  <a:gd name="T78" fmla="*/ 139 w 166"/>
                  <a:gd name="T79" fmla="*/ 118 h 236"/>
                  <a:gd name="T80" fmla="*/ 126 w 166"/>
                  <a:gd name="T81" fmla="*/ 123 h 236"/>
                  <a:gd name="T82" fmla="*/ 126 w 166"/>
                  <a:gd name="T83" fmla="*/ 123 h 236"/>
                  <a:gd name="T84" fmla="*/ 118 w 166"/>
                  <a:gd name="T85" fmla="*/ 125 h 236"/>
                  <a:gd name="T86" fmla="*/ 108 w 166"/>
                  <a:gd name="T87" fmla="*/ 126 h 236"/>
                  <a:gd name="T88" fmla="*/ 83 w 166"/>
                  <a:gd name="T89" fmla="*/ 126 h 236"/>
                  <a:gd name="T90" fmla="*/ 59 w 166"/>
                  <a:gd name="T91" fmla="*/ 125 h 236"/>
                  <a:gd name="T92" fmla="*/ 42 w 166"/>
                  <a:gd name="T93" fmla="*/ 123 h 236"/>
                  <a:gd name="T94" fmla="*/ 42 w 166"/>
                  <a:gd name="T95" fmla="*/ 90 h 236"/>
                  <a:gd name="T96" fmla="*/ 0 w 166"/>
                  <a:gd name="T97" fmla="*/ 162 h 236"/>
                  <a:gd name="T98" fmla="*/ 43 w 166"/>
                  <a:gd name="T99" fmla="*/ 236 h 236"/>
                  <a:gd name="T100" fmla="*/ 43 w 166"/>
                  <a:gd name="T101" fmla="*/ 20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6" h="236">
                    <a:moveTo>
                      <a:pt x="164" y="89"/>
                    </a:moveTo>
                    <a:lnTo>
                      <a:pt x="164" y="89"/>
                    </a:lnTo>
                    <a:lnTo>
                      <a:pt x="165" y="85"/>
                    </a:lnTo>
                    <a:lnTo>
                      <a:pt x="166" y="80"/>
                    </a:lnTo>
                    <a:lnTo>
                      <a:pt x="165" y="70"/>
                    </a:lnTo>
                    <a:lnTo>
                      <a:pt x="161" y="60"/>
                    </a:lnTo>
                    <a:lnTo>
                      <a:pt x="157" y="49"/>
                    </a:lnTo>
                    <a:lnTo>
                      <a:pt x="142" y="25"/>
                    </a:lnTo>
                    <a:lnTo>
                      <a:pt x="127" y="0"/>
                    </a:lnTo>
                    <a:lnTo>
                      <a:pt x="127" y="0"/>
                    </a:lnTo>
                    <a:lnTo>
                      <a:pt x="93" y="19"/>
                    </a:lnTo>
                    <a:lnTo>
                      <a:pt x="60" y="39"/>
                    </a:lnTo>
                    <a:lnTo>
                      <a:pt x="105" y="119"/>
                    </a:lnTo>
                    <a:lnTo>
                      <a:pt x="105" y="119"/>
                    </a:lnTo>
                    <a:lnTo>
                      <a:pt x="113" y="119"/>
                    </a:lnTo>
                    <a:lnTo>
                      <a:pt x="121" y="118"/>
                    </a:lnTo>
                    <a:lnTo>
                      <a:pt x="130" y="116"/>
                    </a:lnTo>
                    <a:lnTo>
                      <a:pt x="140" y="113"/>
                    </a:lnTo>
                    <a:lnTo>
                      <a:pt x="150" y="107"/>
                    </a:lnTo>
                    <a:lnTo>
                      <a:pt x="154" y="104"/>
                    </a:lnTo>
                    <a:lnTo>
                      <a:pt x="159" y="100"/>
                    </a:lnTo>
                    <a:lnTo>
                      <a:pt x="162" y="94"/>
                    </a:lnTo>
                    <a:lnTo>
                      <a:pt x="164" y="89"/>
                    </a:lnTo>
                    <a:lnTo>
                      <a:pt x="164" y="89"/>
                    </a:lnTo>
                    <a:close/>
                    <a:moveTo>
                      <a:pt x="43" y="204"/>
                    </a:moveTo>
                    <a:lnTo>
                      <a:pt x="43" y="204"/>
                    </a:lnTo>
                    <a:lnTo>
                      <a:pt x="54" y="204"/>
                    </a:lnTo>
                    <a:lnTo>
                      <a:pt x="70" y="203"/>
                    </a:lnTo>
                    <a:lnTo>
                      <a:pt x="85" y="201"/>
                    </a:lnTo>
                    <a:lnTo>
                      <a:pt x="91" y="200"/>
                    </a:lnTo>
                    <a:lnTo>
                      <a:pt x="97" y="198"/>
                    </a:lnTo>
                    <a:lnTo>
                      <a:pt x="97" y="198"/>
                    </a:lnTo>
                    <a:lnTo>
                      <a:pt x="102" y="192"/>
                    </a:lnTo>
                    <a:lnTo>
                      <a:pt x="110" y="181"/>
                    </a:lnTo>
                    <a:lnTo>
                      <a:pt x="127" y="153"/>
                    </a:lnTo>
                    <a:lnTo>
                      <a:pt x="143" y="126"/>
                    </a:lnTo>
                    <a:lnTo>
                      <a:pt x="150" y="114"/>
                    </a:lnTo>
                    <a:lnTo>
                      <a:pt x="150" y="114"/>
                    </a:lnTo>
                    <a:lnTo>
                      <a:pt x="146" y="116"/>
                    </a:lnTo>
                    <a:lnTo>
                      <a:pt x="139" y="118"/>
                    </a:lnTo>
                    <a:lnTo>
                      <a:pt x="126" y="123"/>
                    </a:lnTo>
                    <a:lnTo>
                      <a:pt x="126" y="123"/>
                    </a:lnTo>
                    <a:lnTo>
                      <a:pt x="118" y="125"/>
                    </a:lnTo>
                    <a:lnTo>
                      <a:pt x="108" y="126"/>
                    </a:lnTo>
                    <a:lnTo>
                      <a:pt x="83" y="126"/>
                    </a:lnTo>
                    <a:lnTo>
                      <a:pt x="59" y="125"/>
                    </a:lnTo>
                    <a:lnTo>
                      <a:pt x="42" y="123"/>
                    </a:lnTo>
                    <a:lnTo>
                      <a:pt x="42" y="90"/>
                    </a:lnTo>
                    <a:lnTo>
                      <a:pt x="0" y="162"/>
                    </a:lnTo>
                    <a:lnTo>
                      <a:pt x="43" y="236"/>
                    </a:lnTo>
                    <a:lnTo>
                      <a:pt x="43" y="2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grpSp>
      <p:grpSp>
        <p:nvGrpSpPr>
          <p:cNvPr id="11" name="Group 10"/>
          <p:cNvGrpSpPr/>
          <p:nvPr/>
        </p:nvGrpSpPr>
        <p:grpSpPr>
          <a:xfrm>
            <a:off x="2531217" y="1465942"/>
            <a:ext cx="3901708" cy="3877503"/>
            <a:chOff x="2531217" y="1465942"/>
            <a:chExt cx="3901708" cy="3877503"/>
          </a:xfrm>
        </p:grpSpPr>
        <p:sp>
          <p:nvSpPr>
            <p:cNvPr id="18" name="Circular Arrow 17"/>
            <p:cNvSpPr/>
            <p:nvPr>
              <p:custDataLst>
                <p:tags r:id="rId11"/>
              </p:custDataLst>
            </p:nvPr>
          </p:nvSpPr>
          <p:spPr>
            <a:xfrm rot="3819789">
              <a:off x="2558396" y="1468915"/>
              <a:ext cx="3874528" cy="3874530"/>
            </a:xfrm>
            <a:prstGeom prst="circularArrow">
              <a:avLst>
                <a:gd name="adj1" fmla="val 18242"/>
                <a:gd name="adj2" fmla="val 1142319"/>
                <a:gd name="adj3" fmla="val 20457687"/>
                <a:gd name="adj4" fmla="val 14422437"/>
                <a:gd name="adj5" fmla="val 12500"/>
              </a:avLst>
            </a:prstGeom>
            <a:gradFill flip="none" rotWithShape="1">
              <a:gsLst>
                <a:gs pos="0">
                  <a:srgbClr val="2A9B18"/>
                </a:gs>
                <a:gs pos="83000">
                  <a:schemeClr val="accent1">
                    <a:tint val="23500"/>
                    <a:satMod val="160000"/>
                    <a:alpha val="0"/>
                  </a:schemeClr>
                </a:gs>
              </a:gsLst>
              <a:lin ang="11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0" name="Circular Arrow 19"/>
            <p:cNvSpPr/>
            <p:nvPr>
              <p:custDataLst>
                <p:tags r:id="rId12"/>
              </p:custDataLst>
            </p:nvPr>
          </p:nvSpPr>
          <p:spPr>
            <a:xfrm rot="14076805">
              <a:off x="2538751" y="1466763"/>
              <a:ext cx="3874528" cy="3874530"/>
            </a:xfrm>
            <a:prstGeom prst="circularArrow">
              <a:avLst>
                <a:gd name="adj1" fmla="val 18242"/>
                <a:gd name="adj2" fmla="val 1142319"/>
                <a:gd name="adj3" fmla="val 20457687"/>
                <a:gd name="adj4" fmla="val 14422437"/>
                <a:gd name="adj5" fmla="val 12500"/>
              </a:avLst>
            </a:prstGeom>
            <a:gradFill flip="none" rotWithShape="1">
              <a:gsLst>
                <a:gs pos="0">
                  <a:srgbClr val="2A9B18"/>
                </a:gs>
                <a:gs pos="83000">
                  <a:schemeClr val="accent1">
                    <a:tint val="23500"/>
                    <a:satMod val="160000"/>
                    <a:alpha val="0"/>
                  </a:schemeClr>
                </a:gs>
              </a:gsLst>
              <a:lin ang="11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1" name="Circular Arrow 20"/>
            <p:cNvSpPr/>
            <p:nvPr>
              <p:custDataLst>
                <p:tags r:id="rId13"/>
              </p:custDataLst>
            </p:nvPr>
          </p:nvSpPr>
          <p:spPr>
            <a:xfrm rot="19551636">
              <a:off x="2558395" y="1468917"/>
              <a:ext cx="3874530" cy="3874528"/>
            </a:xfrm>
            <a:prstGeom prst="circularArrow">
              <a:avLst>
                <a:gd name="adj1" fmla="val 18242"/>
                <a:gd name="adj2" fmla="val 1142319"/>
                <a:gd name="adj3" fmla="val 20457687"/>
                <a:gd name="adj4" fmla="val 14422437"/>
                <a:gd name="adj5" fmla="val 12500"/>
              </a:avLst>
            </a:prstGeom>
            <a:gradFill flip="none" rotWithShape="1">
              <a:gsLst>
                <a:gs pos="0">
                  <a:srgbClr val="2A9B18"/>
                </a:gs>
                <a:gs pos="83000">
                  <a:schemeClr val="accent1">
                    <a:tint val="23500"/>
                    <a:satMod val="160000"/>
                    <a:alpha val="0"/>
                  </a:schemeClr>
                </a:gs>
              </a:gsLst>
              <a:lin ang="11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9" name="Circular Arrow 18"/>
            <p:cNvSpPr/>
            <p:nvPr>
              <p:custDataLst>
                <p:tags r:id="rId14"/>
              </p:custDataLst>
            </p:nvPr>
          </p:nvSpPr>
          <p:spPr>
            <a:xfrm rot="9139184">
              <a:off x="2531217" y="1465942"/>
              <a:ext cx="3874530" cy="3874528"/>
            </a:xfrm>
            <a:prstGeom prst="circularArrow">
              <a:avLst>
                <a:gd name="adj1" fmla="val 18242"/>
                <a:gd name="adj2" fmla="val 1142319"/>
                <a:gd name="adj3" fmla="val 20457687"/>
                <a:gd name="adj4" fmla="val 14422437"/>
                <a:gd name="adj5" fmla="val 12500"/>
              </a:avLst>
            </a:prstGeom>
            <a:gradFill flip="none" rotWithShape="1">
              <a:gsLst>
                <a:gs pos="0">
                  <a:srgbClr val="2A9B18"/>
                </a:gs>
                <a:gs pos="83000">
                  <a:schemeClr val="accent1">
                    <a:tint val="23500"/>
                    <a:satMod val="160000"/>
                    <a:alpha val="0"/>
                  </a:schemeClr>
                </a:gs>
              </a:gsLst>
              <a:lin ang="11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84" name="TextBox 83"/>
          <p:cNvSpPr txBox="1"/>
          <p:nvPr/>
        </p:nvSpPr>
        <p:spPr>
          <a:xfrm>
            <a:off x="2195736" y="559832"/>
            <a:ext cx="5143891" cy="553998"/>
          </a:xfrm>
          <a:prstGeom prst="rect">
            <a:avLst/>
          </a:prstGeom>
          <a:noFill/>
        </p:spPr>
        <p:txBody>
          <a:bodyPr wrap="square" rtlCol="0">
            <a:spAutoFit/>
          </a:bodyPr>
          <a:lstStyle/>
          <a:p>
            <a:pPr lvl="0" algn="ctr">
              <a:spcBef>
                <a:spcPct val="0"/>
              </a:spcBef>
              <a:defRPr/>
            </a:pPr>
            <a:r>
              <a:rPr lang="tr-TR" sz="3000" b="1" kern="0" dirty="0">
                <a:solidFill>
                  <a:schemeClr val="tx2">
                    <a:lumMod val="50000"/>
                  </a:schemeClr>
                </a:solidFill>
              </a:rPr>
              <a:t>DÜNYADA E-FATURA </a:t>
            </a:r>
          </a:p>
        </p:txBody>
      </p:sp>
      <p:sp>
        <p:nvSpPr>
          <p:cNvPr id="157" name="Ellipse 45"/>
          <p:cNvSpPr>
            <a:spLocks noChangeArrowheads="1"/>
          </p:cNvSpPr>
          <p:nvPr>
            <p:custDataLst>
              <p:tags r:id="rId3"/>
            </p:custDataLst>
          </p:nvPr>
        </p:nvSpPr>
        <p:spPr bwMode="auto">
          <a:xfrm rot="2130108" flipH="1">
            <a:off x="3532921" y="2059040"/>
            <a:ext cx="2633360" cy="2048147"/>
          </a:xfrm>
          <a:prstGeom prst="ellipse">
            <a:avLst/>
          </a:prstGeom>
          <a:gradFill rotWithShape="1">
            <a:gsLst>
              <a:gs pos="0">
                <a:srgbClr val="FFFCF9">
                  <a:alpha val="58000"/>
                </a:srgbClr>
              </a:gs>
              <a:gs pos="73000">
                <a:srgbClr val="FFFFFF">
                  <a:alpha val="0"/>
                </a:srgbClr>
              </a:gs>
            </a:gsLst>
            <a:lin ang="5400000"/>
          </a:gradFill>
          <a:ln w="9525">
            <a:noFill/>
            <a:round/>
            <a:headEnd/>
            <a:tailEnd/>
          </a:ln>
          <a:effectLst>
            <a:softEdge rad="50800"/>
          </a:effectLst>
        </p:spPr>
        <p:txBody>
          <a:bodyPr anchor="ctr"/>
          <a:lstStyle>
            <a:lvl1pPr>
              <a:defRPr>
                <a:solidFill>
                  <a:schemeClr val="tx1"/>
                </a:solidFill>
                <a:latin typeface="Calibri" charset="0"/>
                <a:ea typeface="ＭＳ Ｐゴシック" charset="-128"/>
              </a:defRPr>
            </a:lvl1pPr>
            <a:lvl2pPr marL="37931725" indent="-37474525">
              <a:defRPr>
                <a:solidFill>
                  <a:schemeClr val="tx1"/>
                </a:solidFill>
                <a:latin typeface="Calibri" charset="0"/>
                <a:ea typeface="ＭＳ Ｐゴシック" charset="-128"/>
              </a:defRPr>
            </a:lvl2pPr>
            <a:lvl3pPr>
              <a:defRPr>
                <a:solidFill>
                  <a:schemeClr val="tx1"/>
                </a:solidFill>
                <a:latin typeface="Calibri" charset="0"/>
                <a:ea typeface="ＭＳ Ｐゴシック" charset="-128"/>
              </a:defRPr>
            </a:lvl3pPr>
            <a:lvl4pPr>
              <a:defRPr>
                <a:solidFill>
                  <a:schemeClr val="tx1"/>
                </a:solidFill>
                <a:latin typeface="Calibri" charset="0"/>
                <a:ea typeface="ＭＳ Ｐゴシック" charset="-128"/>
              </a:defRPr>
            </a:lvl4pPr>
            <a:lvl5pPr>
              <a:defRPr>
                <a:solidFill>
                  <a:schemeClr val="tx1"/>
                </a:solidFill>
                <a:latin typeface="Calibri" charset="0"/>
                <a:ea typeface="ＭＳ Ｐゴシック" charset="-128"/>
              </a:defRPr>
            </a:lvl5pPr>
            <a:lvl6pPr marL="457200" fontAlgn="base">
              <a:spcBef>
                <a:spcPct val="0"/>
              </a:spcBef>
              <a:spcAft>
                <a:spcPct val="0"/>
              </a:spcAft>
              <a:defRPr>
                <a:solidFill>
                  <a:schemeClr val="tx1"/>
                </a:solidFill>
                <a:latin typeface="Calibri" charset="0"/>
                <a:ea typeface="ＭＳ Ｐゴシック" charset="-128"/>
              </a:defRPr>
            </a:lvl6pPr>
            <a:lvl7pPr marL="914400" fontAlgn="base">
              <a:spcBef>
                <a:spcPct val="0"/>
              </a:spcBef>
              <a:spcAft>
                <a:spcPct val="0"/>
              </a:spcAft>
              <a:defRPr>
                <a:solidFill>
                  <a:schemeClr val="tx1"/>
                </a:solidFill>
                <a:latin typeface="Calibri" charset="0"/>
                <a:ea typeface="ＭＳ Ｐゴシック" charset="-128"/>
              </a:defRPr>
            </a:lvl7pPr>
            <a:lvl8pPr marL="1371600" fontAlgn="base">
              <a:spcBef>
                <a:spcPct val="0"/>
              </a:spcBef>
              <a:spcAft>
                <a:spcPct val="0"/>
              </a:spcAft>
              <a:defRPr>
                <a:solidFill>
                  <a:schemeClr val="tx1"/>
                </a:solidFill>
                <a:latin typeface="Calibri" charset="0"/>
                <a:ea typeface="ＭＳ Ｐゴシック" charset="-128"/>
              </a:defRPr>
            </a:lvl8pPr>
            <a:lvl9pPr marL="1828800" fontAlgn="base">
              <a:spcBef>
                <a:spcPct val="0"/>
              </a:spcBef>
              <a:spcAft>
                <a:spcPct val="0"/>
              </a:spcAft>
              <a:defRPr>
                <a:solidFill>
                  <a:schemeClr val="tx1"/>
                </a:solidFill>
                <a:latin typeface="Calibri" charset="0"/>
                <a:ea typeface="ＭＳ Ｐゴシック" charset="-128"/>
              </a:defRPr>
            </a:lvl9pPr>
          </a:lstStyle>
          <a:p>
            <a:pPr algn="ctr">
              <a:defRPr/>
            </a:pPr>
            <a:endParaRPr lang="en-US" u="sng" smtClean="0">
              <a:solidFill>
                <a:srgbClr val="FFFFFF"/>
              </a:solidFill>
            </a:endParaRPr>
          </a:p>
        </p:txBody>
      </p:sp>
      <p:grpSp>
        <p:nvGrpSpPr>
          <p:cNvPr id="13" name="Grup 12"/>
          <p:cNvGrpSpPr/>
          <p:nvPr/>
        </p:nvGrpSpPr>
        <p:grpSpPr>
          <a:xfrm>
            <a:off x="5292079" y="1721595"/>
            <a:ext cx="3744417" cy="1231702"/>
            <a:chOff x="5292079" y="1721595"/>
            <a:chExt cx="3744417" cy="1231702"/>
          </a:xfrm>
        </p:grpSpPr>
        <p:grpSp>
          <p:nvGrpSpPr>
            <p:cNvPr id="125" name="Grup 124"/>
            <p:cNvGrpSpPr/>
            <p:nvPr/>
          </p:nvGrpSpPr>
          <p:grpSpPr>
            <a:xfrm>
              <a:off x="5292079" y="2275455"/>
              <a:ext cx="3744417" cy="677842"/>
              <a:chOff x="38968" y="3119132"/>
              <a:chExt cx="4186293" cy="634965"/>
            </a:xfrm>
          </p:grpSpPr>
          <p:cxnSp>
            <p:nvCxnSpPr>
              <p:cNvPr id="134" name="Straight Connector 37"/>
              <p:cNvCxnSpPr/>
              <p:nvPr>
                <p:custDataLst>
                  <p:tags r:id="rId10"/>
                </p:custDataLst>
              </p:nvPr>
            </p:nvCxnSpPr>
            <p:spPr>
              <a:xfrm>
                <a:off x="38968" y="3119132"/>
                <a:ext cx="4024833" cy="0"/>
              </a:xfrm>
              <a:prstGeom prst="line">
                <a:avLst/>
              </a:prstGeom>
              <a:ln w="3175">
                <a:solidFill>
                  <a:srgbClr val="F0B71F"/>
                </a:solidFill>
                <a:headEnd type="oval" w="sm" len="sm"/>
                <a:tailEnd type="oval" w="sm" len="sm"/>
              </a:ln>
              <a:effectLst/>
            </p:spPr>
            <p:style>
              <a:lnRef idx="2">
                <a:schemeClr val="accent1"/>
              </a:lnRef>
              <a:fillRef idx="0">
                <a:schemeClr val="accent1"/>
              </a:fillRef>
              <a:effectRef idx="1">
                <a:schemeClr val="accent1"/>
              </a:effectRef>
              <a:fontRef idx="minor">
                <a:schemeClr val="tx1"/>
              </a:fontRef>
            </p:style>
          </p:cxnSp>
          <p:sp>
            <p:nvSpPr>
              <p:cNvPr id="129" name="Rectangle 69"/>
              <p:cNvSpPr/>
              <p:nvPr/>
            </p:nvSpPr>
            <p:spPr>
              <a:xfrm>
                <a:off x="739200" y="3203028"/>
                <a:ext cx="3486061" cy="55106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285750" indent="-285750">
                  <a:buFont typeface="Arial" charset="0"/>
                  <a:buChar char="•"/>
                </a:pPr>
                <a:r>
                  <a:rPr lang="tr-TR" sz="1600" dirty="0">
                    <a:solidFill>
                      <a:schemeClr val="tx1"/>
                    </a:solidFill>
                  </a:rPr>
                  <a:t>Latin Amerika </a:t>
                </a:r>
                <a:r>
                  <a:rPr lang="tr-TR" sz="1600" dirty="0" smtClean="0">
                    <a:solidFill>
                      <a:schemeClr val="tx1"/>
                    </a:solidFill>
                  </a:rPr>
                  <a:t>e-fatura  </a:t>
                </a:r>
                <a:r>
                  <a:rPr lang="tr-TR" sz="1600" dirty="0" err="1" smtClean="0">
                    <a:solidFill>
                      <a:schemeClr val="tx1"/>
                    </a:solidFill>
                  </a:rPr>
                  <a:t>kulllanımı</a:t>
                </a:r>
                <a:r>
                  <a:rPr lang="tr-TR" sz="1600" dirty="0" smtClean="0">
                    <a:solidFill>
                      <a:schemeClr val="tx1"/>
                    </a:solidFill>
                  </a:rPr>
                  <a:t> zorunlu </a:t>
                </a:r>
                <a:r>
                  <a:rPr lang="tr-TR" sz="1600" dirty="0">
                    <a:solidFill>
                      <a:schemeClr val="tx1"/>
                    </a:solidFill>
                  </a:rPr>
                  <a:t>tutulmuştur</a:t>
                </a:r>
              </a:p>
            </p:txBody>
          </p:sp>
        </p:grpSp>
        <p:grpSp>
          <p:nvGrpSpPr>
            <p:cNvPr id="159" name="Group 15"/>
            <p:cNvGrpSpPr/>
            <p:nvPr/>
          </p:nvGrpSpPr>
          <p:grpSpPr>
            <a:xfrm rot="18429754">
              <a:off x="8308758" y="1702928"/>
              <a:ext cx="586384" cy="623718"/>
              <a:chOff x="-2032907" y="1401194"/>
              <a:chExt cx="423863" cy="450850"/>
            </a:xfrm>
            <a:gradFill flip="none" rotWithShape="1">
              <a:gsLst>
                <a:gs pos="0">
                  <a:schemeClr val="bg1">
                    <a:lumMod val="50000"/>
                    <a:shade val="30000"/>
                    <a:satMod val="115000"/>
                  </a:schemeClr>
                </a:gs>
                <a:gs pos="50000">
                  <a:schemeClr val="bg1">
                    <a:lumMod val="50000"/>
                    <a:shade val="67500"/>
                    <a:satMod val="115000"/>
                  </a:schemeClr>
                </a:gs>
                <a:gs pos="100000">
                  <a:schemeClr val="bg1">
                    <a:lumMod val="50000"/>
                    <a:shade val="100000"/>
                    <a:satMod val="115000"/>
                  </a:schemeClr>
                </a:gs>
              </a:gsLst>
              <a:lin ang="16200000" scaled="1"/>
              <a:tileRect/>
            </a:gradFill>
            <a:effectLst/>
          </p:grpSpPr>
          <p:sp>
            <p:nvSpPr>
              <p:cNvPr id="160" name="Freeform 32"/>
              <p:cNvSpPr>
                <a:spLocks noEditPoints="1"/>
              </p:cNvSpPr>
              <p:nvPr/>
            </p:nvSpPr>
            <p:spPr bwMode="auto">
              <a:xfrm>
                <a:off x="-1810657" y="1653606"/>
                <a:ext cx="201613" cy="198438"/>
              </a:xfrm>
              <a:custGeom>
                <a:avLst/>
                <a:gdLst>
                  <a:gd name="T0" fmla="*/ 242 w 382"/>
                  <a:gd name="T1" fmla="*/ 369 h 375"/>
                  <a:gd name="T2" fmla="*/ 248 w 382"/>
                  <a:gd name="T3" fmla="*/ 308 h 375"/>
                  <a:gd name="T4" fmla="*/ 265 w 382"/>
                  <a:gd name="T5" fmla="*/ 296 h 375"/>
                  <a:gd name="T6" fmla="*/ 281 w 382"/>
                  <a:gd name="T7" fmla="*/ 286 h 375"/>
                  <a:gd name="T8" fmla="*/ 309 w 382"/>
                  <a:gd name="T9" fmla="*/ 257 h 375"/>
                  <a:gd name="T10" fmla="*/ 338 w 382"/>
                  <a:gd name="T11" fmla="*/ 257 h 375"/>
                  <a:gd name="T12" fmla="*/ 365 w 382"/>
                  <a:gd name="T13" fmla="*/ 263 h 375"/>
                  <a:gd name="T14" fmla="*/ 376 w 382"/>
                  <a:gd name="T15" fmla="*/ 229 h 375"/>
                  <a:gd name="T16" fmla="*/ 382 w 382"/>
                  <a:gd name="T17" fmla="*/ 184 h 375"/>
                  <a:gd name="T18" fmla="*/ 354 w 382"/>
                  <a:gd name="T19" fmla="*/ 179 h 375"/>
                  <a:gd name="T20" fmla="*/ 326 w 382"/>
                  <a:gd name="T21" fmla="*/ 167 h 375"/>
                  <a:gd name="T22" fmla="*/ 326 w 382"/>
                  <a:gd name="T23" fmla="*/ 146 h 375"/>
                  <a:gd name="T24" fmla="*/ 315 w 382"/>
                  <a:gd name="T25" fmla="*/ 123 h 375"/>
                  <a:gd name="T26" fmla="*/ 298 w 382"/>
                  <a:gd name="T27" fmla="*/ 89 h 375"/>
                  <a:gd name="T28" fmla="*/ 309 w 382"/>
                  <a:gd name="T29" fmla="*/ 67 h 375"/>
                  <a:gd name="T30" fmla="*/ 321 w 382"/>
                  <a:gd name="T31" fmla="*/ 39 h 375"/>
                  <a:gd name="T32" fmla="*/ 253 w 382"/>
                  <a:gd name="T33" fmla="*/ 0 h 375"/>
                  <a:gd name="T34" fmla="*/ 236 w 382"/>
                  <a:gd name="T35" fmla="*/ 27 h 375"/>
                  <a:gd name="T36" fmla="*/ 219 w 382"/>
                  <a:gd name="T37" fmla="*/ 44 h 375"/>
                  <a:gd name="T38" fmla="*/ 175 w 382"/>
                  <a:gd name="T39" fmla="*/ 44 h 375"/>
                  <a:gd name="T40" fmla="*/ 136 w 382"/>
                  <a:gd name="T41" fmla="*/ 50 h 375"/>
                  <a:gd name="T42" fmla="*/ 119 w 382"/>
                  <a:gd name="T43" fmla="*/ 33 h 375"/>
                  <a:gd name="T44" fmla="*/ 102 w 382"/>
                  <a:gd name="T45" fmla="*/ 16 h 375"/>
                  <a:gd name="T46" fmla="*/ 68 w 382"/>
                  <a:gd name="T47" fmla="*/ 39 h 375"/>
                  <a:gd name="T48" fmla="*/ 40 w 382"/>
                  <a:gd name="T49" fmla="*/ 67 h 375"/>
                  <a:gd name="T50" fmla="*/ 57 w 382"/>
                  <a:gd name="T51" fmla="*/ 89 h 375"/>
                  <a:gd name="T52" fmla="*/ 68 w 382"/>
                  <a:gd name="T53" fmla="*/ 117 h 375"/>
                  <a:gd name="T54" fmla="*/ 63 w 382"/>
                  <a:gd name="T55" fmla="*/ 129 h 375"/>
                  <a:gd name="T56" fmla="*/ 57 w 382"/>
                  <a:gd name="T57" fmla="*/ 146 h 375"/>
                  <a:gd name="T58" fmla="*/ 52 w 382"/>
                  <a:gd name="T59" fmla="*/ 190 h 375"/>
                  <a:gd name="T60" fmla="*/ 0 w 382"/>
                  <a:gd name="T61" fmla="*/ 218 h 375"/>
                  <a:gd name="T62" fmla="*/ 12 w 382"/>
                  <a:gd name="T63" fmla="*/ 252 h 375"/>
                  <a:gd name="T64" fmla="*/ 29 w 382"/>
                  <a:gd name="T65" fmla="*/ 290 h 375"/>
                  <a:gd name="T66" fmla="*/ 57 w 382"/>
                  <a:gd name="T67" fmla="*/ 286 h 375"/>
                  <a:gd name="T68" fmla="*/ 85 w 382"/>
                  <a:gd name="T69" fmla="*/ 275 h 375"/>
                  <a:gd name="T70" fmla="*/ 119 w 382"/>
                  <a:gd name="T71" fmla="*/ 302 h 375"/>
                  <a:gd name="T72" fmla="*/ 158 w 382"/>
                  <a:gd name="T73" fmla="*/ 319 h 375"/>
                  <a:gd name="T74" fmla="*/ 163 w 382"/>
                  <a:gd name="T75" fmla="*/ 347 h 375"/>
                  <a:gd name="T76" fmla="*/ 163 w 382"/>
                  <a:gd name="T77" fmla="*/ 375 h 375"/>
                  <a:gd name="T78" fmla="*/ 186 w 382"/>
                  <a:gd name="T79" fmla="*/ 375 h 375"/>
                  <a:gd name="T80" fmla="*/ 203 w 382"/>
                  <a:gd name="T81" fmla="*/ 369 h 375"/>
                  <a:gd name="T82" fmla="*/ 219 w 382"/>
                  <a:gd name="T83" fmla="*/ 369 h 375"/>
                  <a:gd name="T84" fmla="*/ 242 w 382"/>
                  <a:gd name="T85" fmla="*/ 369 h 375"/>
                  <a:gd name="T86" fmla="*/ 175 w 382"/>
                  <a:gd name="T87" fmla="*/ 240 h 375"/>
                  <a:gd name="T88" fmla="*/ 158 w 382"/>
                  <a:gd name="T89" fmla="*/ 229 h 375"/>
                  <a:gd name="T90" fmla="*/ 140 w 382"/>
                  <a:gd name="T91" fmla="*/ 218 h 375"/>
                  <a:gd name="T92" fmla="*/ 136 w 382"/>
                  <a:gd name="T93" fmla="*/ 202 h 375"/>
                  <a:gd name="T94" fmla="*/ 130 w 382"/>
                  <a:gd name="T95" fmla="*/ 184 h 375"/>
                  <a:gd name="T96" fmla="*/ 136 w 382"/>
                  <a:gd name="T97" fmla="*/ 162 h 375"/>
                  <a:gd name="T98" fmla="*/ 140 w 382"/>
                  <a:gd name="T99" fmla="*/ 146 h 375"/>
                  <a:gd name="T100" fmla="*/ 152 w 382"/>
                  <a:gd name="T101" fmla="*/ 134 h 375"/>
                  <a:gd name="T102" fmla="*/ 175 w 382"/>
                  <a:gd name="T103" fmla="*/ 123 h 375"/>
                  <a:gd name="T104" fmla="*/ 197 w 382"/>
                  <a:gd name="T105" fmla="*/ 123 h 375"/>
                  <a:gd name="T106" fmla="*/ 219 w 382"/>
                  <a:gd name="T107" fmla="*/ 129 h 375"/>
                  <a:gd name="T108" fmla="*/ 236 w 382"/>
                  <a:gd name="T109" fmla="*/ 146 h 375"/>
                  <a:gd name="T110" fmla="*/ 248 w 382"/>
                  <a:gd name="T111" fmla="*/ 173 h 375"/>
                  <a:gd name="T112" fmla="*/ 242 w 382"/>
                  <a:gd name="T113" fmla="*/ 202 h 375"/>
                  <a:gd name="T114" fmla="*/ 242 w 382"/>
                  <a:gd name="T115" fmla="*/ 218 h 375"/>
                  <a:gd name="T116" fmla="*/ 231 w 382"/>
                  <a:gd name="T117" fmla="*/ 223 h 375"/>
                  <a:gd name="T118" fmla="*/ 219 w 382"/>
                  <a:gd name="T119" fmla="*/ 235 h 375"/>
                  <a:gd name="T120" fmla="*/ 209 w 382"/>
                  <a:gd name="T121" fmla="*/ 240 h 375"/>
                  <a:gd name="T122" fmla="*/ 192 w 382"/>
                  <a:gd name="T123" fmla="*/ 240 h 375"/>
                  <a:gd name="T124" fmla="*/ 175 w 382"/>
                  <a:gd name="T125" fmla="*/ 24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82" h="375">
                    <a:moveTo>
                      <a:pt x="242" y="369"/>
                    </a:moveTo>
                    <a:lnTo>
                      <a:pt x="248" y="308"/>
                    </a:lnTo>
                    <a:lnTo>
                      <a:pt x="265" y="296"/>
                    </a:lnTo>
                    <a:lnTo>
                      <a:pt x="281" y="286"/>
                    </a:lnTo>
                    <a:lnTo>
                      <a:pt x="309" y="257"/>
                    </a:lnTo>
                    <a:lnTo>
                      <a:pt x="338" y="257"/>
                    </a:lnTo>
                    <a:lnTo>
                      <a:pt x="365" y="263"/>
                    </a:lnTo>
                    <a:lnTo>
                      <a:pt x="376" y="229"/>
                    </a:lnTo>
                    <a:lnTo>
                      <a:pt x="382" y="184"/>
                    </a:lnTo>
                    <a:lnTo>
                      <a:pt x="354" y="179"/>
                    </a:lnTo>
                    <a:lnTo>
                      <a:pt x="326" y="167"/>
                    </a:lnTo>
                    <a:lnTo>
                      <a:pt x="326" y="146"/>
                    </a:lnTo>
                    <a:lnTo>
                      <a:pt x="315" y="123"/>
                    </a:lnTo>
                    <a:lnTo>
                      <a:pt x="298" y="89"/>
                    </a:lnTo>
                    <a:lnTo>
                      <a:pt x="309" y="67"/>
                    </a:lnTo>
                    <a:lnTo>
                      <a:pt x="321" y="39"/>
                    </a:lnTo>
                    <a:lnTo>
                      <a:pt x="253" y="0"/>
                    </a:lnTo>
                    <a:lnTo>
                      <a:pt x="236" y="27"/>
                    </a:lnTo>
                    <a:lnTo>
                      <a:pt x="219" y="44"/>
                    </a:lnTo>
                    <a:lnTo>
                      <a:pt x="175" y="44"/>
                    </a:lnTo>
                    <a:lnTo>
                      <a:pt x="136" y="50"/>
                    </a:lnTo>
                    <a:lnTo>
                      <a:pt x="119" y="33"/>
                    </a:lnTo>
                    <a:lnTo>
                      <a:pt x="102" y="16"/>
                    </a:lnTo>
                    <a:lnTo>
                      <a:pt x="68" y="39"/>
                    </a:lnTo>
                    <a:lnTo>
                      <a:pt x="40" y="67"/>
                    </a:lnTo>
                    <a:lnTo>
                      <a:pt x="57" y="89"/>
                    </a:lnTo>
                    <a:lnTo>
                      <a:pt x="68" y="117"/>
                    </a:lnTo>
                    <a:lnTo>
                      <a:pt x="63" y="129"/>
                    </a:lnTo>
                    <a:lnTo>
                      <a:pt x="57" y="146"/>
                    </a:lnTo>
                    <a:lnTo>
                      <a:pt x="52" y="190"/>
                    </a:lnTo>
                    <a:lnTo>
                      <a:pt x="0" y="218"/>
                    </a:lnTo>
                    <a:lnTo>
                      <a:pt x="12" y="252"/>
                    </a:lnTo>
                    <a:lnTo>
                      <a:pt x="29" y="290"/>
                    </a:lnTo>
                    <a:lnTo>
                      <a:pt x="57" y="286"/>
                    </a:lnTo>
                    <a:lnTo>
                      <a:pt x="85" y="275"/>
                    </a:lnTo>
                    <a:lnTo>
                      <a:pt x="119" y="302"/>
                    </a:lnTo>
                    <a:lnTo>
                      <a:pt x="158" y="319"/>
                    </a:lnTo>
                    <a:lnTo>
                      <a:pt x="163" y="347"/>
                    </a:lnTo>
                    <a:lnTo>
                      <a:pt x="163" y="375"/>
                    </a:lnTo>
                    <a:lnTo>
                      <a:pt x="186" y="375"/>
                    </a:lnTo>
                    <a:lnTo>
                      <a:pt x="203" y="369"/>
                    </a:lnTo>
                    <a:lnTo>
                      <a:pt x="219" y="369"/>
                    </a:lnTo>
                    <a:lnTo>
                      <a:pt x="242" y="369"/>
                    </a:lnTo>
                    <a:close/>
                    <a:moveTo>
                      <a:pt x="175" y="240"/>
                    </a:moveTo>
                    <a:lnTo>
                      <a:pt x="158" y="229"/>
                    </a:lnTo>
                    <a:lnTo>
                      <a:pt x="140" y="218"/>
                    </a:lnTo>
                    <a:lnTo>
                      <a:pt x="136" y="202"/>
                    </a:lnTo>
                    <a:lnTo>
                      <a:pt x="130" y="184"/>
                    </a:lnTo>
                    <a:lnTo>
                      <a:pt x="136" y="162"/>
                    </a:lnTo>
                    <a:lnTo>
                      <a:pt x="140" y="146"/>
                    </a:lnTo>
                    <a:lnTo>
                      <a:pt x="152" y="134"/>
                    </a:lnTo>
                    <a:lnTo>
                      <a:pt x="175" y="123"/>
                    </a:lnTo>
                    <a:lnTo>
                      <a:pt x="197" y="123"/>
                    </a:lnTo>
                    <a:lnTo>
                      <a:pt x="219" y="129"/>
                    </a:lnTo>
                    <a:lnTo>
                      <a:pt x="236" y="146"/>
                    </a:lnTo>
                    <a:lnTo>
                      <a:pt x="248" y="173"/>
                    </a:lnTo>
                    <a:lnTo>
                      <a:pt x="242" y="202"/>
                    </a:lnTo>
                    <a:lnTo>
                      <a:pt x="242" y="218"/>
                    </a:lnTo>
                    <a:lnTo>
                      <a:pt x="231" y="223"/>
                    </a:lnTo>
                    <a:lnTo>
                      <a:pt x="219" y="235"/>
                    </a:lnTo>
                    <a:lnTo>
                      <a:pt x="209" y="240"/>
                    </a:lnTo>
                    <a:lnTo>
                      <a:pt x="192" y="240"/>
                    </a:lnTo>
                    <a:lnTo>
                      <a:pt x="175" y="240"/>
                    </a:lnTo>
                    <a:close/>
                  </a:path>
                </a:pathLst>
              </a:custGeom>
              <a:solidFill>
                <a:schemeClr val="accent5">
                  <a:lumMod val="60000"/>
                  <a:lumOff val="40000"/>
                </a:schemeClr>
              </a:solidFill>
              <a:ln w="9525">
                <a:no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161" name="Freeform 33"/>
              <p:cNvSpPr>
                <a:spLocks noEditPoints="1"/>
              </p:cNvSpPr>
              <p:nvPr/>
            </p:nvSpPr>
            <p:spPr bwMode="auto">
              <a:xfrm>
                <a:off x="-2032907" y="1401194"/>
                <a:ext cx="323850" cy="330200"/>
              </a:xfrm>
              <a:custGeom>
                <a:avLst/>
                <a:gdLst>
                  <a:gd name="T0" fmla="*/ 432 w 612"/>
                  <a:gd name="T1" fmla="*/ 607 h 624"/>
                  <a:gd name="T2" fmla="*/ 426 w 612"/>
                  <a:gd name="T3" fmla="*/ 528 h 624"/>
                  <a:gd name="T4" fmla="*/ 505 w 612"/>
                  <a:gd name="T5" fmla="*/ 461 h 624"/>
                  <a:gd name="T6" fmla="*/ 578 w 612"/>
                  <a:gd name="T7" fmla="*/ 484 h 624"/>
                  <a:gd name="T8" fmla="*/ 578 w 612"/>
                  <a:gd name="T9" fmla="*/ 376 h 624"/>
                  <a:gd name="T10" fmla="*/ 550 w 612"/>
                  <a:gd name="T11" fmla="*/ 303 h 624"/>
                  <a:gd name="T12" fmla="*/ 572 w 612"/>
                  <a:gd name="T13" fmla="*/ 236 h 624"/>
                  <a:gd name="T14" fmla="*/ 583 w 612"/>
                  <a:gd name="T15" fmla="*/ 169 h 624"/>
                  <a:gd name="T16" fmla="*/ 560 w 612"/>
                  <a:gd name="T17" fmla="*/ 129 h 624"/>
                  <a:gd name="T18" fmla="*/ 472 w 612"/>
                  <a:gd name="T19" fmla="*/ 135 h 624"/>
                  <a:gd name="T20" fmla="*/ 410 w 612"/>
                  <a:gd name="T21" fmla="*/ 90 h 624"/>
                  <a:gd name="T22" fmla="*/ 410 w 612"/>
                  <a:gd name="T23" fmla="*/ 17 h 624"/>
                  <a:gd name="T24" fmla="*/ 326 w 612"/>
                  <a:gd name="T25" fmla="*/ 0 h 624"/>
                  <a:gd name="T26" fmla="*/ 297 w 612"/>
                  <a:gd name="T27" fmla="*/ 73 h 624"/>
                  <a:gd name="T28" fmla="*/ 247 w 612"/>
                  <a:gd name="T29" fmla="*/ 85 h 624"/>
                  <a:gd name="T30" fmla="*/ 146 w 612"/>
                  <a:gd name="T31" fmla="*/ 52 h 624"/>
                  <a:gd name="T32" fmla="*/ 107 w 612"/>
                  <a:gd name="T33" fmla="*/ 79 h 624"/>
                  <a:gd name="T34" fmla="*/ 73 w 612"/>
                  <a:gd name="T35" fmla="*/ 107 h 624"/>
                  <a:gd name="T36" fmla="*/ 113 w 612"/>
                  <a:gd name="T37" fmla="*/ 180 h 624"/>
                  <a:gd name="T38" fmla="*/ 90 w 612"/>
                  <a:gd name="T39" fmla="*/ 219 h 624"/>
                  <a:gd name="T40" fmla="*/ 57 w 612"/>
                  <a:gd name="T41" fmla="*/ 270 h 624"/>
                  <a:gd name="T42" fmla="*/ 0 w 612"/>
                  <a:gd name="T43" fmla="*/ 281 h 624"/>
                  <a:gd name="T44" fmla="*/ 0 w 612"/>
                  <a:gd name="T45" fmla="*/ 371 h 624"/>
                  <a:gd name="T46" fmla="*/ 84 w 612"/>
                  <a:gd name="T47" fmla="*/ 405 h 624"/>
                  <a:gd name="T48" fmla="*/ 124 w 612"/>
                  <a:gd name="T49" fmla="*/ 472 h 624"/>
                  <a:gd name="T50" fmla="*/ 90 w 612"/>
                  <a:gd name="T51" fmla="*/ 539 h 624"/>
                  <a:gd name="T52" fmla="*/ 163 w 612"/>
                  <a:gd name="T53" fmla="*/ 590 h 624"/>
                  <a:gd name="T54" fmla="*/ 219 w 612"/>
                  <a:gd name="T55" fmla="*/ 539 h 624"/>
                  <a:gd name="T56" fmla="*/ 286 w 612"/>
                  <a:gd name="T57" fmla="*/ 555 h 624"/>
                  <a:gd name="T58" fmla="*/ 331 w 612"/>
                  <a:gd name="T59" fmla="*/ 595 h 624"/>
                  <a:gd name="T60" fmla="*/ 347 w 612"/>
                  <a:gd name="T61" fmla="*/ 624 h 624"/>
                  <a:gd name="T62" fmla="*/ 224 w 612"/>
                  <a:gd name="T63" fmla="*/ 303 h 624"/>
                  <a:gd name="T64" fmla="*/ 236 w 612"/>
                  <a:gd name="T65" fmla="*/ 275 h 624"/>
                  <a:gd name="T66" fmla="*/ 270 w 612"/>
                  <a:gd name="T67" fmla="*/ 242 h 624"/>
                  <a:gd name="T68" fmla="*/ 331 w 612"/>
                  <a:gd name="T69" fmla="*/ 236 h 624"/>
                  <a:gd name="T70" fmla="*/ 370 w 612"/>
                  <a:gd name="T71" fmla="*/ 253 h 624"/>
                  <a:gd name="T72" fmla="*/ 387 w 612"/>
                  <a:gd name="T73" fmla="*/ 281 h 624"/>
                  <a:gd name="T74" fmla="*/ 393 w 612"/>
                  <a:gd name="T75" fmla="*/ 321 h 624"/>
                  <a:gd name="T76" fmla="*/ 387 w 612"/>
                  <a:gd name="T77" fmla="*/ 354 h 624"/>
                  <a:gd name="T78" fmla="*/ 364 w 612"/>
                  <a:gd name="T79" fmla="*/ 382 h 624"/>
                  <a:gd name="T80" fmla="*/ 320 w 612"/>
                  <a:gd name="T81" fmla="*/ 399 h 624"/>
                  <a:gd name="T82" fmla="*/ 258 w 612"/>
                  <a:gd name="T83" fmla="*/ 382 h 624"/>
                  <a:gd name="T84" fmla="*/ 236 w 612"/>
                  <a:gd name="T85" fmla="*/ 359 h 624"/>
                  <a:gd name="T86" fmla="*/ 224 w 612"/>
                  <a:gd name="T87" fmla="*/ 326 h 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12" h="624">
                    <a:moveTo>
                      <a:pt x="347" y="624"/>
                    </a:moveTo>
                    <a:lnTo>
                      <a:pt x="432" y="607"/>
                    </a:lnTo>
                    <a:lnTo>
                      <a:pt x="426" y="567"/>
                    </a:lnTo>
                    <a:lnTo>
                      <a:pt x="426" y="528"/>
                    </a:lnTo>
                    <a:lnTo>
                      <a:pt x="466" y="494"/>
                    </a:lnTo>
                    <a:lnTo>
                      <a:pt x="505" y="461"/>
                    </a:lnTo>
                    <a:lnTo>
                      <a:pt x="539" y="472"/>
                    </a:lnTo>
                    <a:lnTo>
                      <a:pt x="578" y="484"/>
                    </a:lnTo>
                    <a:lnTo>
                      <a:pt x="612" y="393"/>
                    </a:lnTo>
                    <a:lnTo>
                      <a:pt x="578" y="376"/>
                    </a:lnTo>
                    <a:lnTo>
                      <a:pt x="545" y="354"/>
                    </a:lnTo>
                    <a:lnTo>
                      <a:pt x="550" y="303"/>
                    </a:lnTo>
                    <a:lnTo>
                      <a:pt x="545" y="259"/>
                    </a:lnTo>
                    <a:lnTo>
                      <a:pt x="572" y="236"/>
                    </a:lnTo>
                    <a:lnTo>
                      <a:pt x="606" y="208"/>
                    </a:lnTo>
                    <a:lnTo>
                      <a:pt x="583" y="169"/>
                    </a:lnTo>
                    <a:lnTo>
                      <a:pt x="572" y="146"/>
                    </a:lnTo>
                    <a:lnTo>
                      <a:pt x="560" y="129"/>
                    </a:lnTo>
                    <a:lnTo>
                      <a:pt x="488" y="158"/>
                    </a:lnTo>
                    <a:lnTo>
                      <a:pt x="472" y="135"/>
                    </a:lnTo>
                    <a:lnTo>
                      <a:pt x="449" y="124"/>
                    </a:lnTo>
                    <a:lnTo>
                      <a:pt x="410" y="90"/>
                    </a:lnTo>
                    <a:lnTo>
                      <a:pt x="410" y="57"/>
                    </a:lnTo>
                    <a:lnTo>
                      <a:pt x="410" y="17"/>
                    </a:lnTo>
                    <a:lnTo>
                      <a:pt x="370" y="12"/>
                    </a:lnTo>
                    <a:lnTo>
                      <a:pt x="326" y="0"/>
                    </a:lnTo>
                    <a:lnTo>
                      <a:pt x="309" y="40"/>
                    </a:lnTo>
                    <a:lnTo>
                      <a:pt x="297" y="73"/>
                    </a:lnTo>
                    <a:lnTo>
                      <a:pt x="270" y="79"/>
                    </a:lnTo>
                    <a:lnTo>
                      <a:pt x="247" y="85"/>
                    </a:lnTo>
                    <a:lnTo>
                      <a:pt x="197" y="102"/>
                    </a:lnTo>
                    <a:lnTo>
                      <a:pt x="146" y="52"/>
                    </a:lnTo>
                    <a:lnTo>
                      <a:pt x="124" y="62"/>
                    </a:lnTo>
                    <a:lnTo>
                      <a:pt x="107" y="79"/>
                    </a:lnTo>
                    <a:lnTo>
                      <a:pt x="95" y="96"/>
                    </a:lnTo>
                    <a:lnTo>
                      <a:pt x="73" y="107"/>
                    </a:lnTo>
                    <a:lnTo>
                      <a:pt x="95" y="140"/>
                    </a:lnTo>
                    <a:lnTo>
                      <a:pt x="113" y="180"/>
                    </a:lnTo>
                    <a:lnTo>
                      <a:pt x="101" y="197"/>
                    </a:lnTo>
                    <a:lnTo>
                      <a:pt x="90" y="219"/>
                    </a:lnTo>
                    <a:lnTo>
                      <a:pt x="73" y="270"/>
                    </a:lnTo>
                    <a:lnTo>
                      <a:pt x="57" y="270"/>
                    </a:lnTo>
                    <a:lnTo>
                      <a:pt x="34" y="275"/>
                    </a:lnTo>
                    <a:lnTo>
                      <a:pt x="0" y="281"/>
                    </a:lnTo>
                    <a:lnTo>
                      <a:pt x="0" y="326"/>
                    </a:lnTo>
                    <a:lnTo>
                      <a:pt x="0" y="371"/>
                    </a:lnTo>
                    <a:lnTo>
                      <a:pt x="78" y="376"/>
                    </a:lnTo>
                    <a:lnTo>
                      <a:pt x="84" y="405"/>
                    </a:lnTo>
                    <a:lnTo>
                      <a:pt x="101" y="427"/>
                    </a:lnTo>
                    <a:lnTo>
                      <a:pt x="124" y="472"/>
                    </a:lnTo>
                    <a:lnTo>
                      <a:pt x="107" y="505"/>
                    </a:lnTo>
                    <a:lnTo>
                      <a:pt x="90" y="539"/>
                    </a:lnTo>
                    <a:lnTo>
                      <a:pt x="124" y="567"/>
                    </a:lnTo>
                    <a:lnTo>
                      <a:pt x="163" y="590"/>
                    </a:lnTo>
                    <a:lnTo>
                      <a:pt x="191" y="561"/>
                    </a:lnTo>
                    <a:lnTo>
                      <a:pt x="219" y="539"/>
                    </a:lnTo>
                    <a:lnTo>
                      <a:pt x="264" y="551"/>
                    </a:lnTo>
                    <a:lnTo>
                      <a:pt x="286" y="555"/>
                    </a:lnTo>
                    <a:lnTo>
                      <a:pt x="314" y="555"/>
                    </a:lnTo>
                    <a:lnTo>
                      <a:pt x="331" y="595"/>
                    </a:lnTo>
                    <a:lnTo>
                      <a:pt x="337" y="612"/>
                    </a:lnTo>
                    <a:lnTo>
                      <a:pt x="347" y="624"/>
                    </a:lnTo>
                    <a:close/>
                    <a:moveTo>
                      <a:pt x="224" y="326"/>
                    </a:moveTo>
                    <a:lnTo>
                      <a:pt x="224" y="303"/>
                    </a:lnTo>
                    <a:lnTo>
                      <a:pt x="230" y="286"/>
                    </a:lnTo>
                    <a:lnTo>
                      <a:pt x="236" y="275"/>
                    </a:lnTo>
                    <a:lnTo>
                      <a:pt x="247" y="259"/>
                    </a:lnTo>
                    <a:lnTo>
                      <a:pt x="270" y="242"/>
                    </a:lnTo>
                    <a:lnTo>
                      <a:pt x="303" y="230"/>
                    </a:lnTo>
                    <a:lnTo>
                      <a:pt x="331" y="236"/>
                    </a:lnTo>
                    <a:lnTo>
                      <a:pt x="359" y="242"/>
                    </a:lnTo>
                    <a:lnTo>
                      <a:pt x="370" y="253"/>
                    </a:lnTo>
                    <a:lnTo>
                      <a:pt x="382" y="265"/>
                    </a:lnTo>
                    <a:lnTo>
                      <a:pt x="387" y="281"/>
                    </a:lnTo>
                    <a:lnTo>
                      <a:pt x="393" y="298"/>
                    </a:lnTo>
                    <a:lnTo>
                      <a:pt x="393" y="321"/>
                    </a:lnTo>
                    <a:lnTo>
                      <a:pt x="393" y="338"/>
                    </a:lnTo>
                    <a:lnTo>
                      <a:pt x="387" y="354"/>
                    </a:lnTo>
                    <a:lnTo>
                      <a:pt x="376" y="371"/>
                    </a:lnTo>
                    <a:lnTo>
                      <a:pt x="364" y="382"/>
                    </a:lnTo>
                    <a:lnTo>
                      <a:pt x="353" y="388"/>
                    </a:lnTo>
                    <a:lnTo>
                      <a:pt x="320" y="399"/>
                    </a:lnTo>
                    <a:lnTo>
                      <a:pt x="286" y="393"/>
                    </a:lnTo>
                    <a:lnTo>
                      <a:pt x="258" y="382"/>
                    </a:lnTo>
                    <a:lnTo>
                      <a:pt x="247" y="371"/>
                    </a:lnTo>
                    <a:lnTo>
                      <a:pt x="236" y="359"/>
                    </a:lnTo>
                    <a:lnTo>
                      <a:pt x="230" y="342"/>
                    </a:lnTo>
                    <a:lnTo>
                      <a:pt x="224" y="326"/>
                    </a:lnTo>
                    <a:close/>
                  </a:path>
                </a:pathLst>
              </a:custGeom>
              <a:solidFill>
                <a:schemeClr val="accent5">
                  <a:lumMod val="60000"/>
                  <a:lumOff val="40000"/>
                </a:schemeClr>
              </a:solidFill>
              <a:ln w="9525">
                <a:noFill/>
                <a:round/>
                <a:headEnd/>
                <a:tailEnd/>
              </a:ln>
              <a:extLst/>
            </p:spPr>
            <p:txBody>
              <a:bodyPr vert="horz" wrap="square" lIns="91440" tIns="45720" rIns="91440" bIns="45720" numCol="1" anchor="t" anchorCtr="0" compatLnSpc="1">
                <a:prstTxWarp prst="textNoShape">
                  <a:avLst/>
                </a:prstTxWarp>
              </a:bodyPr>
              <a:lstStyle/>
              <a:p>
                <a:endParaRPr lang="en-US"/>
              </a:p>
            </p:txBody>
          </p:sp>
        </p:grpSp>
      </p:grpSp>
      <p:grpSp>
        <p:nvGrpSpPr>
          <p:cNvPr id="14" name="Grup 13"/>
          <p:cNvGrpSpPr/>
          <p:nvPr/>
        </p:nvGrpSpPr>
        <p:grpSpPr>
          <a:xfrm>
            <a:off x="5364088" y="3855789"/>
            <a:ext cx="3600000" cy="1157387"/>
            <a:chOff x="5364088" y="3227991"/>
            <a:chExt cx="3600000" cy="1157387"/>
          </a:xfrm>
        </p:grpSpPr>
        <p:grpSp>
          <p:nvGrpSpPr>
            <p:cNvPr id="140" name="Grup 139"/>
            <p:cNvGrpSpPr/>
            <p:nvPr/>
          </p:nvGrpSpPr>
          <p:grpSpPr>
            <a:xfrm>
              <a:off x="5364088" y="3707536"/>
              <a:ext cx="3600000" cy="677842"/>
              <a:chOff x="38968" y="3119132"/>
              <a:chExt cx="4024833" cy="634965"/>
            </a:xfrm>
          </p:grpSpPr>
          <p:cxnSp>
            <p:nvCxnSpPr>
              <p:cNvPr id="143" name="Straight Connector 37"/>
              <p:cNvCxnSpPr/>
              <p:nvPr>
                <p:custDataLst>
                  <p:tags r:id="rId9"/>
                </p:custDataLst>
              </p:nvPr>
            </p:nvCxnSpPr>
            <p:spPr>
              <a:xfrm>
                <a:off x="38968" y="3119132"/>
                <a:ext cx="4024833" cy="0"/>
              </a:xfrm>
              <a:prstGeom prst="line">
                <a:avLst/>
              </a:prstGeom>
              <a:ln w="3175">
                <a:solidFill>
                  <a:srgbClr val="F0B71F"/>
                </a:solidFill>
                <a:headEnd type="oval" w="sm" len="sm"/>
                <a:tailEnd type="oval" w="sm" len="sm"/>
              </a:ln>
              <a:effectLst/>
            </p:spPr>
            <p:style>
              <a:lnRef idx="2">
                <a:schemeClr val="accent1"/>
              </a:lnRef>
              <a:fillRef idx="0">
                <a:schemeClr val="accent1"/>
              </a:fillRef>
              <a:effectRef idx="1">
                <a:schemeClr val="accent1"/>
              </a:effectRef>
              <a:fontRef idx="minor">
                <a:schemeClr val="tx1"/>
              </a:fontRef>
            </p:style>
          </p:cxnSp>
          <p:sp>
            <p:nvSpPr>
              <p:cNvPr id="145" name="Rectangle 69"/>
              <p:cNvSpPr/>
              <p:nvPr/>
            </p:nvSpPr>
            <p:spPr>
              <a:xfrm>
                <a:off x="658247" y="3203028"/>
                <a:ext cx="3367260" cy="55106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285750" indent="-285750">
                  <a:buFont typeface="Arial" charset="0"/>
                  <a:buChar char="•"/>
                </a:pPr>
                <a:r>
                  <a:rPr lang="tr-TR" dirty="0">
                    <a:solidFill>
                      <a:schemeClr val="tx1"/>
                    </a:solidFill>
                  </a:rPr>
                  <a:t>İş </a:t>
                </a:r>
                <a:r>
                  <a:rPr lang="tr-TR" dirty="0" smtClean="0">
                    <a:solidFill>
                      <a:schemeClr val="tx1"/>
                    </a:solidFill>
                  </a:rPr>
                  <a:t>süreçlerinde önemli </a:t>
                </a:r>
                <a:r>
                  <a:rPr lang="tr-TR" dirty="0">
                    <a:solidFill>
                      <a:schemeClr val="tx1"/>
                    </a:solidFill>
                  </a:rPr>
                  <a:t>maliyet </a:t>
                </a:r>
                <a:r>
                  <a:rPr lang="tr-TR" dirty="0" smtClean="0">
                    <a:solidFill>
                      <a:schemeClr val="tx1"/>
                    </a:solidFill>
                  </a:rPr>
                  <a:t>avantajı</a:t>
                </a:r>
                <a:endParaRPr lang="tr-TR" dirty="0">
                  <a:solidFill>
                    <a:schemeClr val="tx1"/>
                  </a:solidFill>
                </a:endParaRPr>
              </a:p>
            </p:txBody>
          </p:sp>
        </p:grpSp>
        <p:grpSp>
          <p:nvGrpSpPr>
            <p:cNvPr id="162" name="Group 27"/>
            <p:cNvGrpSpPr/>
            <p:nvPr/>
          </p:nvGrpSpPr>
          <p:grpSpPr>
            <a:xfrm>
              <a:off x="8394064" y="3227991"/>
              <a:ext cx="492523" cy="431517"/>
              <a:chOff x="3033259" y="1333500"/>
              <a:chExt cx="525462" cy="460376"/>
            </a:xfrm>
          </p:grpSpPr>
          <p:sp>
            <p:nvSpPr>
              <p:cNvPr id="163" name="Freeform 49"/>
              <p:cNvSpPr>
                <a:spLocks/>
              </p:cNvSpPr>
              <p:nvPr/>
            </p:nvSpPr>
            <p:spPr bwMode="auto">
              <a:xfrm>
                <a:off x="3033259" y="1333500"/>
                <a:ext cx="476250" cy="373063"/>
              </a:xfrm>
              <a:custGeom>
                <a:avLst/>
                <a:gdLst>
                  <a:gd name="T0" fmla="*/ 0 w 300"/>
                  <a:gd name="T1" fmla="*/ 0 h 235"/>
                  <a:gd name="T2" fmla="*/ 0 w 300"/>
                  <a:gd name="T3" fmla="*/ 20 h 235"/>
                  <a:gd name="T4" fmla="*/ 0 w 300"/>
                  <a:gd name="T5" fmla="*/ 20 h 235"/>
                  <a:gd name="T6" fmla="*/ 56 w 300"/>
                  <a:gd name="T7" fmla="*/ 20 h 235"/>
                  <a:gd name="T8" fmla="*/ 56 w 300"/>
                  <a:gd name="T9" fmla="*/ 20 h 235"/>
                  <a:gd name="T10" fmla="*/ 91 w 300"/>
                  <a:gd name="T11" fmla="*/ 235 h 235"/>
                  <a:gd name="T12" fmla="*/ 300 w 300"/>
                  <a:gd name="T13" fmla="*/ 235 h 235"/>
                  <a:gd name="T14" fmla="*/ 300 w 300"/>
                  <a:gd name="T15" fmla="*/ 214 h 235"/>
                  <a:gd name="T16" fmla="*/ 300 w 300"/>
                  <a:gd name="T17" fmla="*/ 214 h 235"/>
                  <a:gd name="T18" fmla="*/ 108 w 300"/>
                  <a:gd name="T19" fmla="*/ 214 h 235"/>
                  <a:gd name="T20" fmla="*/ 108 w 300"/>
                  <a:gd name="T21" fmla="*/ 214 h 235"/>
                  <a:gd name="T22" fmla="*/ 73 w 300"/>
                  <a:gd name="T23" fmla="*/ 0 h 235"/>
                  <a:gd name="T24" fmla="*/ 0 w 300"/>
                  <a:gd name="T25" fmla="*/ 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0" h="235">
                    <a:moveTo>
                      <a:pt x="0" y="0"/>
                    </a:moveTo>
                    <a:lnTo>
                      <a:pt x="0" y="20"/>
                    </a:lnTo>
                    <a:lnTo>
                      <a:pt x="0" y="20"/>
                    </a:lnTo>
                    <a:lnTo>
                      <a:pt x="56" y="20"/>
                    </a:lnTo>
                    <a:lnTo>
                      <a:pt x="56" y="20"/>
                    </a:lnTo>
                    <a:lnTo>
                      <a:pt x="91" y="235"/>
                    </a:lnTo>
                    <a:lnTo>
                      <a:pt x="300" y="235"/>
                    </a:lnTo>
                    <a:lnTo>
                      <a:pt x="300" y="214"/>
                    </a:lnTo>
                    <a:lnTo>
                      <a:pt x="300" y="214"/>
                    </a:lnTo>
                    <a:lnTo>
                      <a:pt x="108" y="214"/>
                    </a:lnTo>
                    <a:lnTo>
                      <a:pt x="108" y="214"/>
                    </a:lnTo>
                    <a:lnTo>
                      <a:pt x="73" y="0"/>
                    </a:lnTo>
                    <a:lnTo>
                      <a:pt x="0" y="0"/>
                    </a:lnTo>
                    <a:close/>
                  </a:path>
                </a:pathLst>
              </a:custGeom>
              <a:solidFill>
                <a:schemeClr val="accent2">
                  <a:lumMod val="75000"/>
                </a:schemeClr>
              </a:solidFill>
              <a:ln w="9525">
                <a:noFill/>
                <a:round/>
                <a:headEnd/>
                <a:tailEnd/>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50"/>
              <p:cNvSpPr>
                <a:spLocks/>
              </p:cNvSpPr>
              <p:nvPr/>
            </p:nvSpPr>
            <p:spPr bwMode="auto">
              <a:xfrm>
                <a:off x="3177721" y="1719263"/>
                <a:ext cx="74613" cy="74613"/>
              </a:xfrm>
              <a:custGeom>
                <a:avLst/>
                <a:gdLst>
                  <a:gd name="T0" fmla="*/ 47 w 47"/>
                  <a:gd name="T1" fmla="*/ 24 h 47"/>
                  <a:gd name="T2" fmla="*/ 47 w 47"/>
                  <a:gd name="T3" fmla="*/ 24 h 47"/>
                  <a:gd name="T4" fmla="*/ 47 w 47"/>
                  <a:gd name="T5" fmla="*/ 28 h 47"/>
                  <a:gd name="T6" fmla="*/ 46 w 47"/>
                  <a:gd name="T7" fmla="*/ 33 h 47"/>
                  <a:gd name="T8" fmla="*/ 43 w 47"/>
                  <a:gd name="T9" fmla="*/ 36 h 47"/>
                  <a:gd name="T10" fmla="*/ 40 w 47"/>
                  <a:gd name="T11" fmla="*/ 40 h 47"/>
                  <a:gd name="T12" fmla="*/ 37 w 47"/>
                  <a:gd name="T13" fmla="*/ 43 h 47"/>
                  <a:gd name="T14" fmla="*/ 33 w 47"/>
                  <a:gd name="T15" fmla="*/ 46 h 47"/>
                  <a:gd name="T16" fmla="*/ 29 w 47"/>
                  <a:gd name="T17" fmla="*/ 47 h 47"/>
                  <a:gd name="T18" fmla="*/ 24 w 47"/>
                  <a:gd name="T19" fmla="*/ 47 h 47"/>
                  <a:gd name="T20" fmla="*/ 24 w 47"/>
                  <a:gd name="T21" fmla="*/ 47 h 47"/>
                  <a:gd name="T22" fmla="*/ 18 w 47"/>
                  <a:gd name="T23" fmla="*/ 47 h 47"/>
                  <a:gd name="T24" fmla="*/ 14 w 47"/>
                  <a:gd name="T25" fmla="*/ 46 h 47"/>
                  <a:gd name="T26" fmla="*/ 10 w 47"/>
                  <a:gd name="T27" fmla="*/ 43 h 47"/>
                  <a:gd name="T28" fmla="*/ 7 w 47"/>
                  <a:gd name="T29" fmla="*/ 40 h 47"/>
                  <a:gd name="T30" fmla="*/ 3 w 47"/>
                  <a:gd name="T31" fmla="*/ 36 h 47"/>
                  <a:gd name="T32" fmla="*/ 1 w 47"/>
                  <a:gd name="T33" fmla="*/ 33 h 47"/>
                  <a:gd name="T34" fmla="*/ 0 w 47"/>
                  <a:gd name="T35" fmla="*/ 28 h 47"/>
                  <a:gd name="T36" fmla="*/ 0 w 47"/>
                  <a:gd name="T37" fmla="*/ 24 h 47"/>
                  <a:gd name="T38" fmla="*/ 0 w 47"/>
                  <a:gd name="T39" fmla="*/ 24 h 47"/>
                  <a:gd name="T40" fmla="*/ 0 w 47"/>
                  <a:gd name="T41" fmla="*/ 18 h 47"/>
                  <a:gd name="T42" fmla="*/ 1 w 47"/>
                  <a:gd name="T43" fmla="*/ 14 h 47"/>
                  <a:gd name="T44" fmla="*/ 3 w 47"/>
                  <a:gd name="T45" fmla="*/ 10 h 47"/>
                  <a:gd name="T46" fmla="*/ 7 w 47"/>
                  <a:gd name="T47" fmla="*/ 7 h 47"/>
                  <a:gd name="T48" fmla="*/ 10 w 47"/>
                  <a:gd name="T49" fmla="*/ 3 h 47"/>
                  <a:gd name="T50" fmla="*/ 14 w 47"/>
                  <a:gd name="T51" fmla="*/ 1 h 47"/>
                  <a:gd name="T52" fmla="*/ 18 w 47"/>
                  <a:gd name="T53" fmla="*/ 0 h 47"/>
                  <a:gd name="T54" fmla="*/ 24 w 47"/>
                  <a:gd name="T55" fmla="*/ 0 h 47"/>
                  <a:gd name="T56" fmla="*/ 24 w 47"/>
                  <a:gd name="T57" fmla="*/ 0 h 47"/>
                  <a:gd name="T58" fmla="*/ 29 w 47"/>
                  <a:gd name="T59" fmla="*/ 0 h 47"/>
                  <a:gd name="T60" fmla="*/ 33 w 47"/>
                  <a:gd name="T61" fmla="*/ 1 h 47"/>
                  <a:gd name="T62" fmla="*/ 37 w 47"/>
                  <a:gd name="T63" fmla="*/ 3 h 47"/>
                  <a:gd name="T64" fmla="*/ 40 w 47"/>
                  <a:gd name="T65" fmla="*/ 7 h 47"/>
                  <a:gd name="T66" fmla="*/ 43 w 47"/>
                  <a:gd name="T67" fmla="*/ 10 h 47"/>
                  <a:gd name="T68" fmla="*/ 46 w 47"/>
                  <a:gd name="T69" fmla="*/ 14 h 47"/>
                  <a:gd name="T70" fmla="*/ 47 w 47"/>
                  <a:gd name="T71" fmla="*/ 18 h 47"/>
                  <a:gd name="T72" fmla="*/ 47 w 47"/>
                  <a:gd name="T73" fmla="*/ 24 h 47"/>
                  <a:gd name="T74" fmla="*/ 47 w 47"/>
                  <a:gd name="T75" fmla="*/ 2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7" h="47">
                    <a:moveTo>
                      <a:pt x="47" y="24"/>
                    </a:moveTo>
                    <a:lnTo>
                      <a:pt x="47" y="24"/>
                    </a:lnTo>
                    <a:lnTo>
                      <a:pt x="47" y="28"/>
                    </a:lnTo>
                    <a:lnTo>
                      <a:pt x="46" y="33"/>
                    </a:lnTo>
                    <a:lnTo>
                      <a:pt x="43" y="36"/>
                    </a:lnTo>
                    <a:lnTo>
                      <a:pt x="40" y="40"/>
                    </a:lnTo>
                    <a:lnTo>
                      <a:pt x="37" y="43"/>
                    </a:lnTo>
                    <a:lnTo>
                      <a:pt x="33" y="46"/>
                    </a:lnTo>
                    <a:lnTo>
                      <a:pt x="29" y="47"/>
                    </a:lnTo>
                    <a:lnTo>
                      <a:pt x="24" y="47"/>
                    </a:lnTo>
                    <a:lnTo>
                      <a:pt x="24" y="47"/>
                    </a:lnTo>
                    <a:lnTo>
                      <a:pt x="18" y="47"/>
                    </a:lnTo>
                    <a:lnTo>
                      <a:pt x="14" y="46"/>
                    </a:lnTo>
                    <a:lnTo>
                      <a:pt x="10" y="43"/>
                    </a:lnTo>
                    <a:lnTo>
                      <a:pt x="7" y="40"/>
                    </a:lnTo>
                    <a:lnTo>
                      <a:pt x="3" y="36"/>
                    </a:lnTo>
                    <a:lnTo>
                      <a:pt x="1" y="33"/>
                    </a:lnTo>
                    <a:lnTo>
                      <a:pt x="0" y="28"/>
                    </a:lnTo>
                    <a:lnTo>
                      <a:pt x="0" y="24"/>
                    </a:lnTo>
                    <a:lnTo>
                      <a:pt x="0" y="24"/>
                    </a:lnTo>
                    <a:lnTo>
                      <a:pt x="0" y="18"/>
                    </a:lnTo>
                    <a:lnTo>
                      <a:pt x="1" y="14"/>
                    </a:lnTo>
                    <a:lnTo>
                      <a:pt x="3" y="10"/>
                    </a:lnTo>
                    <a:lnTo>
                      <a:pt x="7" y="7"/>
                    </a:lnTo>
                    <a:lnTo>
                      <a:pt x="10" y="3"/>
                    </a:lnTo>
                    <a:lnTo>
                      <a:pt x="14" y="1"/>
                    </a:lnTo>
                    <a:lnTo>
                      <a:pt x="18" y="0"/>
                    </a:lnTo>
                    <a:lnTo>
                      <a:pt x="24" y="0"/>
                    </a:lnTo>
                    <a:lnTo>
                      <a:pt x="24" y="0"/>
                    </a:lnTo>
                    <a:lnTo>
                      <a:pt x="29" y="0"/>
                    </a:lnTo>
                    <a:lnTo>
                      <a:pt x="33" y="1"/>
                    </a:lnTo>
                    <a:lnTo>
                      <a:pt x="37" y="3"/>
                    </a:lnTo>
                    <a:lnTo>
                      <a:pt x="40" y="7"/>
                    </a:lnTo>
                    <a:lnTo>
                      <a:pt x="43" y="10"/>
                    </a:lnTo>
                    <a:lnTo>
                      <a:pt x="46" y="14"/>
                    </a:lnTo>
                    <a:lnTo>
                      <a:pt x="47" y="18"/>
                    </a:lnTo>
                    <a:lnTo>
                      <a:pt x="47" y="24"/>
                    </a:lnTo>
                    <a:lnTo>
                      <a:pt x="47" y="24"/>
                    </a:lnTo>
                    <a:close/>
                  </a:path>
                </a:pathLst>
              </a:custGeom>
              <a:solidFill>
                <a:schemeClr val="accent2">
                  <a:lumMod val="75000"/>
                </a:schemeClr>
              </a:solidFill>
              <a:ln w="9525">
                <a:noFill/>
                <a:round/>
                <a:headEnd/>
                <a:tailEnd/>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51"/>
              <p:cNvSpPr>
                <a:spLocks/>
              </p:cNvSpPr>
              <p:nvPr/>
            </p:nvSpPr>
            <p:spPr bwMode="auto">
              <a:xfrm>
                <a:off x="3434896" y="1719263"/>
                <a:ext cx="76200" cy="74613"/>
              </a:xfrm>
              <a:custGeom>
                <a:avLst/>
                <a:gdLst>
                  <a:gd name="T0" fmla="*/ 48 w 48"/>
                  <a:gd name="T1" fmla="*/ 24 h 47"/>
                  <a:gd name="T2" fmla="*/ 48 w 48"/>
                  <a:gd name="T3" fmla="*/ 24 h 47"/>
                  <a:gd name="T4" fmla="*/ 47 w 48"/>
                  <a:gd name="T5" fmla="*/ 28 h 47"/>
                  <a:gd name="T6" fmla="*/ 46 w 48"/>
                  <a:gd name="T7" fmla="*/ 33 h 47"/>
                  <a:gd name="T8" fmla="*/ 44 w 48"/>
                  <a:gd name="T9" fmla="*/ 36 h 47"/>
                  <a:gd name="T10" fmla="*/ 41 w 48"/>
                  <a:gd name="T11" fmla="*/ 40 h 47"/>
                  <a:gd name="T12" fmla="*/ 38 w 48"/>
                  <a:gd name="T13" fmla="*/ 43 h 47"/>
                  <a:gd name="T14" fmla="*/ 33 w 48"/>
                  <a:gd name="T15" fmla="*/ 46 h 47"/>
                  <a:gd name="T16" fmla="*/ 29 w 48"/>
                  <a:gd name="T17" fmla="*/ 47 h 47"/>
                  <a:gd name="T18" fmla="*/ 24 w 48"/>
                  <a:gd name="T19" fmla="*/ 47 h 47"/>
                  <a:gd name="T20" fmla="*/ 24 w 48"/>
                  <a:gd name="T21" fmla="*/ 47 h 47"/>
                  <a:gd name="T22" fmla="*/ 20 w 48"/>
                  <a:gd name="T23" fmla="*/ 47 h 47"/>
                  <a:gd name="T24" fmla="*/ 15 w 48"/>
                  <a:gd name="T25" fmla="*/ 46 h 47"/>
                  <a:gd name="T26" fmla="*/ 10 w 48"/>
                  <a:gd name="T27" fmla="*/ 43 h 47"/>
                  <a:gd name="T28" fmla="*/ 7 w 48"/>
                  <a:gd name="T29" fmla="*/ 40 h 47"/>
                  <a:gd name="T30" fmla="*/ 5 w 48"/>
                  <a:gd name="T31" fmla="*/ 36 h 47"/>
                  <a:gd name="T32" fmla="*/ 2 w 48"/>
                  <a:gd name="T33" fmla="*/ 33 h 47"/>
                  <a:gd name="T34" fmla="*/ 1 w 48"/>
                  <a:gd name="T35" fmla="*/ 28 h 47"/>
                  <a:gd name="T36" fmla="*/ 0 w 48"/>
                  <a:gd name="T37" fmla="*/ 24 h 47"/>
                  <a:gd name="T38" fmla="*/ 0 w 48"/>
                  <a:gd name="T39" fmla="*/ 24 h 47"/>
                  <a:gd name="T40" fmla="*/ 1 w 48"/>
                  <a:gd name="T41" fmla="*/ 18 h 47"/>
                  <a:gd name="T42" fmla="*/ 2 w 48"/>
                  <a:gd name="T43" fmla="*/ 14 h 47"/>
                  <a:gd name="T44" fmla="*/ 5 w 48"/>
                  <a:gd name="T45" fmla="*/ 10 h 47"/>
                  <a:gd name="T46" fmla="*/ 7 w 48"/>
                  <a:gd name="T47" fmla="*/ 7 h 47"/>
                  <a:gd name="T48" fmla="*/ 10 w 48"/>
                  <a:gd name="T49" fmla="*/ 3 h 47"/>
                  <a:gd name="T50" fmla="*/ 15 w 48"/>
                  <a:gd name="T51" fmla="*/ 1 h 47"/>
                  <a:gd name="T52" fmla="*/ 20 w 48"/>
                  <a:gd name="T53" fmla="*/ 0 h 47"/>
                  <a:gd name="T54" fmla="*/ 24 w 48"/>
                  <a:gd name="T55" fmla="*/ 0 h 47"/>
                  <a:gd name="T56" fmla="*/ 24 w 48"/>
                  <a:gd name="T57" fmla="*/ 0 h 47"/>
                  <a:gd name="T58" fmla="*/ 29 w 48"/>
                  <a:gd name="T59" fmla="*/ 0 h 47"/>
                  <a:gd name="T60" fmla="*/ 33 w 48"/>
                  <a:gd name="T61" fmla="*/ 1 h 47"/>
                  <a:gd name="T62" fmla="*/ 38 w 48"/>
                  <a:gd name="T63" fmla="*/ 3 h 47"/>
                  <a:gd name="T64" fmla="*/ 41 w 48"/>
                  <a:gd name="T65" fmla="*/ 7 h 47"/>
                  <a:gd name="T66" fmla="*/ 44 w 48"/>
                  <a:gd name="T67" fmla="*/ 10 h 47"/>
                  <a:gd name="T68" fmla="*/ 46 w 48"/>
                  <a:gd name="T69" fmla="*/ 14 h 47"/>
                  <a:gd name="T70" fmla="*/ 47 w 48"/>
                  <a:gd name="T71" fmla="*/ 18 h 47"/>
                  <a:gd name="T72" fmla="*/ 48 w 48"/>
                  <a:gd name="T73" fmla="*/ 24 h 47"/>
                  <a:gd name="T74" fmla="*/ 48 w 48"/>
                  <a:gd name="T75" fmla="*/ 2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8" h="47">
                    <a:moveTo>
                      <a:pt x="48" y="24"/>
                    </a:moveTo>
                    <a:lnTo>
                      <a:pt x="48" y="24"/>
                    </a:lnTo>
                    <a:lnTo>
                      <a:pt x="47" y="28"/>
                    </a:lnTo>
                    <a:lnTo>
                      <a:pt x="46" y="33"/>
                    </a:lnTo>
                    <a:lnTo>
                      <a:pt x="44" y="36"/>
                    </a:lnTo>
                    <a:lnTo>
                      <a:pt x="41" y="40"/>
                    </a:lnTo>
                    <a:lnTo>
                      <a:pt x="38" y="43"/>
                    </a:lnTo>
                    <a:lnTo>
                      <a:pt x="33" y="46"/>
                    </a:lnTo>
                    <a:lnTo>
                      <a:pt x="29" y="47"/>
                    </a:lnTo>
                    <a:lnTo>
                      <a:pt x="24" y="47"/>
                    </a:lnTo>
                    <a:lnTo>
                      <a:pt x="24" y="47"/>
                    </a:lnTo>
                    <a:lnTo>
                      <a:pt x="20" y="47"/>
                    </a:lnTo>
                    <a:lnTo>
                      <a:pt x="15" y="46"/>
                    </a:lnTo>
                    <a:lnTo>
                      <a:pt x="10" y="43"/>
                    </a:lnTo>
                    <a:lnTo>
                      <a:pt x="7" y="40"/>
                    </a:lnTo>
                    <a:lnTo>
                      <a:pt x="5" y="36"/>
                    </a:lnTo>
                    <a:lnTo>
                      <a:pt x="2" y="33"/>
                    </a:lnTo>
                    <a:lnTo>
                      <a:pt x="1" y="28"/>
                    </a:lnTo>
                    <a:lnTo>
                      <a:pt x="0" y="24"/>
                    </a:lnTo>
                    <a:lnTo>
                      <a:pt x="0" y="24"/>
                    </a:lnTo>
                    <a:lnTo>
                      <a:pt x="1" y="18"/>
                    </a:lnTo>
                    <a:lnTo>
                      <a:pt x="2" y="14"/>
                    </a:lnTo>
                    <a:lnTo>
                      <a:pt x="5" y="10"/>
                    </a:lnTo>
                    <a:lnTo>
                      <a:pt x="7" y="7"/>
                    </a:lnTo>
                    <a:lnTo>
                      <a:pt x="10" y="3"/>
                    </a:lnTo>
                    <a:lnTo>
                      <a:pt x="15" y="1"/>
                    </a:lnTo>
                    <a:lnTo>
                      <a:pt x="20" y="0"/>
                    </a:lnTo>
                    <a:lnTo>
                      <a:pt x="24" y="0"/>
                    </a:lnTo>
                    <a:lnTo>
                      <a:pt x="24" y="0"/>
                    </a:lnTo>
                    <a:lnTo>
                      <a:pt x="29" y="0"/>
                    </a:lnTo>
                    <a:lnTo>
                      <a:pt x="33" y="1"/>
                    </a:lnTo>
                    <a:lnTo>
                      <a:pt x="38" y="3"/>
                    </a:lnTo>
                    <a:lnTo>
                      <a:pt x="41" y="7"/>
                    </a:lnTo>
                    <a:lnTo>
                      <a:pt x="44" y="10"/>
                    </a:lnTo>
                    <a:lnTo>
                      <a:pt x="46" y="14"/>
                    </a:lnTo>
                    <a:lnTo>
                      <a:pt x="47" y="18"/>
                    </a:lnTo>
                    <a:lnTo>
                      <a:pt x="48" y="24"/>
                    </a:lnTo>
                    <a:lnTo>
                      <a:pt x="48" y="24"/>
                    </a:lnTo>
                    <a:close/>
                  </a:path>
                </a:pathLst>
              </a:custGeom>
              <a:solidFill>
                <a:schemeClr val="accent2">
                  <a:lumMod val="75000"/>
                </a:schemeClr>
              </a:solidFill>
              <a:ln w="9525">
                <a:noFill/>
                <a:round/>
                <a:headEnd/>
                <a:tailEnd/>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52"/>
              <p:cNvSpPr>
                <a:spLocks noEditPoints="1"/>
              </p:cNvSpPr>
              <p:nvPr/>
            </p:nvSpPr>
            <p:spPr bwMode="auto">
              <a:xfrm>
                <a:off x="3177721" y="1333500"/>
                <a:ext cx="381000" cy="301625"/>
              </a:xfrm>
              <a:custGeom>
                <a:avLst/>
                <a:gdLst>
                  <a:gd name="T0" fmla="*/ 0 w 240"/>
                  <a:gd name="T1" fmla="*/ 0 h 190"/>
                  <a:gd name="T2" fmla="*/ 31 w 240"/>
                  <a:gd name="T3" fmla="*/ 190 h 190"/>
                  <a:gd name="T4" fmla="*/ 209 w 240"/>
                  <a:gd name="T5" fmla="*/ 190 h 190"/>
                  <a:gd name="T6" fmla="*/ 240 w 240"/>
                  <a:gd name="T7" fmla="*/ 0 h 190"/>
                  <a:gd name="T8" fmla="*/ 0 w 240"/>
                  <a:gd name="T9" fmla="*/ 0 h 190"/>
                  <a:gd name="T10" fmla="*/ 139 w 240"/>
                  <a:gd name="T11" fmla="*/ 140 h 190"/>
                  <a:gd name="T12" fmla="*/ 123 w 240"/>
                  <a:gd name="T13" fmla="*/ 104 h 190"/>
                  <a:gd name="T14" fmla="*/ 123 w 240"/>
                  <a:gd name="T15" fmla="*/ 104 h 190"/>
                  <a:gd name="T16" fmla="*/ 104 w 240"/>
                  <a:gd name="T17" fmla="*/ 108 h 190"/>
                  <a:gd name="T18" fmla="*/ 85 w 240"/>
                  <a:gd name="T19" fmla="*/ 110 h 190"/>
                  <a:gd name="T20" fmla="*/ 85 w 240"/>
                  <a:gd name="T21" fmla="*/ 110 h 190"/>
                  <a:gd name="T22" fmla="*/ 74 w 240"/>
                  <a:gd name="T23" fmla="*/ 112 h 190"/>
                  <a:gd name="T24" fmla="*/ 65 w 240"/>
                  <a:gd name="T25" fmla="*/ 110 h 190"/>
                  <a:gd name="T26" fmla="*/ 55 w 240"/>
                  <a:gd name="T27" fmla="*/ 108 h 190"/>
                  <a:gd name="T28" fmla="*/ 46 w 240"/>
                  <a:gd name="T29" fmla="*/ 106 h 190"/>
                  <a:gd name="T30" fmla="*/ 32 w 240"/>
                  <a:gd name="T31" fmla="*/ 101 h 190"/>
                  <a:gd name="T32" fmla="*/ 26 w 240"/>
                  <a:gd name="T33" fmla="*/ 99 h 190"/>
                  <a:gd name="T34" fmla="*/ 26 w 240"/>
                  <a:gd name="T35" fmla="*/ 99 h 190"/>
                  <a:gd name="T36" fmla="*/ 33 w 240"/>
                  <a:gd name="T37" fmla="*/ 99 h 190"/>
                  <a:gd name="T38" fmla="*/ 43 w 240"/>
                  <a:gd name="T39" fmla="*/ 97 h 190"/>
                  <a:gd name="T40" fmla="*/ 59 w 240"/>
                  <a:gd name="T41" fmla="*/ 93 h 190"/>
                  <a:gd name="T42" fmla="*/ 59 w 240"/>
                  <a:gd name="T43" fmla="*/ 93 h 190"/>
                  <a:gd name="T44" fmla="*/ 71 w 240"/>
                  <a:gd name="T45" fmla="*/ 90 h 190"/>
                  <a:gd name="T46" fmla="*/ 85 w 240"/>
                  <a:gd name="T47" fmla="*/ 84 h 190"/>
                  <a:gd name="T48" fmla="*/ 109 w 240"/>
                  <a:gd name="T49" fmla="*/ 73 h 190"/>
                  <a:gd name="T50" fmla="*/ 93 w 240"/>
                  <a:gd name="T51" fmla="*/ 36 h 190"/>
                  <a:gd name="T52" fmla="*/ 204 w 240"/>
                  <a:gd name="T53" fmla="*/ 47 h 190"/>
                  <a:gd name="T54" fmla="*/ 139 w 240"/>
                  <a:gd name="T55" fmla="*/ 14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0" h="190">
                    <a:moveTo>
                      <a:pt x="0" y="0"/>
                    </a:moveTo>
                    <a:lnTo>
                      <a:pt x="31" y="190"/>
                    </a:lnTo>
                    <a:lnTo>
                      <a:pt x="209" y="190"/>
                    </a:lnTo>
                    <a:lnTo>
                      <a:pt x="240" y="0"/>
                    </a:lnTo>
                    <a:lnTo>
                      <a:pt x="0" y="0"/>
                    </a:lnTo>
                    <a:close/>
                    <a:moveTo>
                      <a:pt x="139" y="140"/>
                    </a:moveTo>
                    <a:lnTo>
                      <a:pt x="123" y="104"/>
                    </a:lnTo>
                    <a:lnTo>
                      <a:pt x="123" y="104"/>
                    </a:lnTo>
                    <a:lnTo>
                      <a:pt x="104" y="108"/>
                    </a:lnTo>
                    <a:lnTo>
                      <a:pt x="85" y="110"/>
                    </a:lnTo>
                    <a:lnTo>
                      <a:pt x="85" y="110"/>
                    </a:lnTo>
                    <a:lnTo>
                      <a:pt x="74" y="112"/>
                    </a:lnTo>
                    <a:lnTo>
                      <a:pt x="65" y="110"/>
                    </a:lnTo>
                    <a:lnTo>
                      <a:pt x="55" y="108"/>
                    </a:lnTo>
                    <a:lnTo>
                      <a:pt x="46" y="106"/>
                    </a:lnTo>
                    <a:lnTo>
                      <a:pt x="32" y="101"/>
                    </a:lnTo>
                    <a:lnTo>
                      <a:pt x="26" y="99"/>
                    </a:lnTo>
                    <a:lnTo>
                      <a:pt x="26" y="99"/>
                    </a:lnTo>
                    <a:lnTo>
                      <a:pt x="33" y="99"/>
                    </a:lnTo>
                    <a:lnTo>
                      <a:pt x="43" y="97"/>
                    </a:lnTo>
                    <a:lnTo>
                      <a:pt x="59" y="93"/>
                    </a:lnTo>
                    <a:lnTo>
                      <a:pt x="59" y="93"/>
                    </a:lnTo>
                    <a:lnTo>
                      <a:pt x="71" y="90"/>
                    </a:lnTo>
                    <a:lnTo>
                      <a:pt x="85" y="84"/>
                    </a:lnTo>
                    <a:lnTo>
                      <a:pt x="109" y="73"/>
                    </a:lnTo>
                    <a:lnTo>
                      <a:pt x="93" y="36"/>
                    </a:lnTo>
                    <a:lnTo>
                      <a:pt x="204" y="47"/>
                    </a:lnTo>
                    <a:lnTo>
                      <a:pt x="139" y="140"/>
                    </a:lnTo>
                    <a:close/>
                  </a:path>
                </a:pathLst>
              </a:custGeom>
              <a:solidFill>
                <a:schemeClr val="accent2">
                  <a:lumMod val="75000"/>
                </a:schemeClr>
              </a:solidFill>
              <a:ln w="9525">
                <a:noFill/>
                <a:round/>
                <a:headEnd/>
                <a:tailEnd/>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5" name="Grup 14"/>
          <p:cNvGrpSpPr/>
          <p:nvPr/>
        </p:nvGrpSpPr>
        <p:grpSpPr>
          <a:xfrm>
            <a:off x="524928" y="4205466"/>
            <a:ext cx="3615024" cy="1036661"/>
            <a:chOff x="524928" y="4205466"/>
            <a:chExt cx="3615024" cy="1036661"/>
          </a:xfrm>
        </p:grpSpPr>
        <p:grpSp>
          <p:nvGrpSpPr>
            <p:cNvPr id="3" name="Grup 2"/>
            <p:cNvGrpSpPr/>
            <p:nvPr/>
          </p:nvGrpSpPr>
          <p:grpSpPr>
            <a:xfrm>
              <a:off x="524928" y="4662376"/>
              <a:ext cx="3615024" cy="579751"/>
              <a:chOff x="524928" y="4649449"/>
              <a:chExt cx="3615024" cy="579751"/>
            </a:xfrm>
          </p:grpSpPr>
          <p:cxnSp>
            <p:nvCxnSpPr>
              <p:cNvPr id="62" name="Straight Connector 37"/>
              <p:cNvCxnSpPr/>
              <p:nvPr>
                <p:custDataLst>
                  <p:tags r:id="rId8"/>
                </p:custDataLst>
              </p:nvPr>
            </p:nvCxnSpPr>
            <p:spPr>
              <a:xfrm>
                <a:off x="524928" y="4649449"/>
                <a:ext cx="3392201" cy="0"/>
              </a:xfrm>
              <a:prstGeom prst="line">
                <a:avLst/>
              </a:prstGeom>
              <a:ln w="3175">
                <a:solidFill>
                  <a:srgbClr val="F0B71F"/>
                </a:solidFill>
                <a:headEnd type="oval" w="sm" len="sm"/>
                <a:tailEnd type="oval" w="sm" len="sm"/>
              </a:ln>
              <a:effectLst/>
            </p:spPr>
            <p:style>
              <a:lnRef idx="2">
                <a:schemeClr val="accent1"/>
              </a:lnRef>
              <a:fillRef idx="0">
                <a:schemeClr val="accent1"/>
              </a:fillRef>
              <a:effectRef idx="1">
                <a:schemeClr val="accent1"/>
              </a:effectRef>
              <a:fontRef idx="minor">
                <a:schemeClr val="tx1"/>
              </a:fontRef>
            </p:style>
          </p:cxnSp>
          <p:sp>
            <p:nvSpPr>
              <p:cNvPr id="88" name="Rectangle 69"/>
              <p:cNvSpPr/>
              <p:nvPr/>
            </p:nvSpPr>
            <p:spPr>
              <a:xfrm>
                <a:off x="547528" y="4678131"/>
                <a:ext cx="3592424" cy="55106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285750" indent="-285750">
                  <a:buFont typeface="Arial" charset="0"/>
                  <a:buChar char="•"/>
                </a:pPr>
                <a:r>
                  <a:rPr lang="tr-TR" dirty="0" smtClean="0">
                    <a:solidFill>
                      <a:schemeClr val="tx1"/>
                    </a:solidFill>
                  </a:rPr>
                  <a:t>Lider </a:t>
                </a:r>
                <a:r>
                  <a:rPr lang="tr-TR" dirty="0">
                    <a:solidFill>
                      <a:schemeClr val="tx1"/>
                    </a:solidFill>
                  </a:rPr>
                  <a:t>ülkelerde kamuya  </a:t>
                </a:r>
                <a:r>
                  <a:rPr lang="tr-TR" dirty="0" smtClean="0">
                    <a:solidFill>
                      <a:schemeClr val="tx1"/>
                    </a:solidFill>
                  </a:rPr>
                  <a:t>e-fatura  gönderilmesi </a:t>
                </a:r>
                <a:r>
                  <a:rPr lang="tr-TR" dirty="0">
                    <a:solidFill>
                      <a:schemeClr val="tx1"/>
                    </a:solidFill>
                  </a:rPr>
                  <a:t>zorunludur</a:t>
                </a:r>
              </a:p>
            </p:txBody>
          </p:sp>
        </p:grpSp>
        <p:grpSp>
          <p:nvGrpSpPr>
            <p:cNvPr id="167" name="Group 136"/>
            <p:cNvGrpSpPr/>
            <p:nvPr/>
          </p:nvGrpSpPr>
          <p:grpSpPr>
            <a:xfrm>
              <a:off x="563845" y="4205466"/>
              <a:ext cx="313150" cy="386772"/>
              <a:chOff x="1066800" y="919535"/>
              <a:chExt cx="909638" cy="926728"/>
            </a:xfrm>
            <a:effectLst>
              <a:outerShdw blurRad="25400" dist="12700" algn="ctr" rotWithShape="0">
                <a:prstClr val="black">
                  <a:alpha val="26000"/>
                </a:prstClr>
              </a:outerShdw>
            </a:effectLst>
          </p:grpSpPr>
          <p:sp>
            <p:nvSpPr>
              <p:cNvPr id="168" name="Rectangle 6"/>
              <p:cNvSpPr>
                <a:spLocks noChangeArrowheads="1"/>
              </p:cNvSpPr>
              <p:nvPr/>
            </p:nvSpPr>
            <p:spPr bwMode="auto">
              <a:xfrm>
                <a:off x="1370013" y="995363"/>
                <a:ext cx="17463" cy="65088"/>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69" name="Rectangle 7"/>
              <p:cNvSpPr>
                <a:spLocks noChangeArrowheads="1"/>
              </p:cNvSpPr>
              <p:nvPr/>
            </p:nvSpPr>
            <p:spPr bwMode="auto">
              <a:xfrm>
                <a:off x="1457325" y="935038"/>
                <a:ext cx="20638" cy="80963"/>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70" name="Rectangle 8"/>
              <p:cNvSpPr>
                <a:spLocks noChangeArrowheads="1"/>
              </p:cNvSpPr>
              <p:nvPr/>
            </p:nvSpPr>
            <p:spPr bwMode="auto">
              <a:xfrm>
                <a:off x="1098550" y="1747838"/>
                <a:ext cx="846138" cy="60325"/>
              </a:xfrm>
              <a:prstGeom prst="rect">
                <a:avLst/>
              </a:prstGeom>
              <a:solidFill>
                <a:srgbClr val="1D4B6D"/>
              </a:solidFill>
              <a:ln>
                <a:noFill/>
              </a:ln>
            </p:spPr>
            <p:txBody>
              <a:bodyPr vert="horz" wrap="square" lIns="91440" tIns="45720" rIns="91440" bIns="45720" numCol="1" anchor="t" anchorCtr="0" compatLnSpc="1">
                <a:prstTxWarp prst="textNoShape">
                  <a:avLst/>
                </a:prstTxWarp>
              </a:bodyPr>
              <a:lstStyle/>
              <a:p>
                <a:endParaRPr lang="en-US"/>
              </a:p>
            </p:txBody>
          </p:sp>
          <p:sp>
            <p:nvSpPr>
              <p:cNvPr id="171" name="Rectangle 9"/>
              <p:cNvSpPr>
                <a:spLocks noChangeArrowheads="1"/>
              </p:cNvSpPr>
              <p:nvPr/>
            </p:nvSpPr>
            <p:spPr bwMode="auto">
              <a:xfrm>
                <a:off x="1082675" y="1766888"/>
                <a:ext cx="877888" cy="60325"/>
              </a:xfrm>
              <a:prstGeom prst="rect">
                <a:avLst/>
              </a:prstGeom>
              <a:solidFill>
                <a:srgbClr val="1D4B6D"/>
              </a:solidFill>
              <a:ln>
                <a:noFill/>
              </a:ln>
            </p:spPr>
            <p:txBody>
              <a:bodyPr vert="horz" wrap="square" lIns="91440" tIns="45720" rIns="91440" bIns="45720" numCol="1" anchor="t" anchorCtr="0" compatLnSpc="1">
                <a:prstTxWarp prst="textNoShape">
                  <a:avLst/>
                </a:prstTxWarp>
              </a:bodyPr>
              <a:lstStyle/>
              <a:p>
                <a:endParaRPr lang="en-US"/>
              </a:p>
            </p:txBody>
          </p:sp>
          <p:sp>
            <p:nvSpPr>
              <p:cNvPr id="172" name="Rectangle 10"/>
              <p:cNvSpPr>
                <a:spLocks noChangeArrowheads="1"/>
              </p:cNvSpPr>
              <p:nvPr/>
            </p:nvSpPr>
            <p:spPr bwMode="auto">
              <a:xfrm>
                <a:off x="1066800" y="1785938"/>
                <a:ext cx="909638" cy="60325"/>
              </a:xfrm>
              <a:prstGeom prst="rect">
                <a:avLst/>
              </a:prstGeom>
              <a:solidFill>
                <a:srgbClr val="1D4B6D"/>
              </a:solidFill>
              <a:ln>
                <a:noFill/>
              </a:ln>
            </p:spPr>
            <p:txBody>
              <a:bodyPr vert="horz" wrap="square" lIns="91440" tIns="45720" rIns="91440" bIns="45720" numCol="1" anchor="t" anchorCtr="0" compatLnSpc="1">
                <a:prstTxWarp prst="textNoShape">
                  <a:avLst/>
                </a:prstTxWarp>
              </a:bodyPr>
              <a:lstStyle/>
              <a:p>
                <a:endParaRPr lang="en-US"/>
              </a:p>
            </p:txBody>
          </p:sp>
          <p:sp>
            <p:nvSpPr>
              <p:cNvPr id="173" name="Freeform 11"/>
              <p:cNvSpPr>
                <a:spLocks/>
              </p:cNvSpPr>
              <p:nvPr/>
            </p:nvSpPr>
            <p:spPr bwMode="auto">
              <a:xfrm>
                <a:off x="1233488" y="920750"/>
                <a:ext cx="376238" cy="276225"/>
              </a:xfrm>
              <a:custGeom>
                <a:avLst/>
                <a:gdLst>
                  <a:gd name="T0" fmla="*/ 0 w 947"/>
                  <a:gd name="T1" fmla="*/ 692 h 692"/>
                  <a:gd name="T2" fmla="*/ 0 w 947"/>
                  <a:gd name="T3" fmla="*/ 481 h 692"/>
                  <a:gd name="T4" fmla="*/ 947 w 947"/>
                  <a:gd name="T5" fmla="*/ 0 h 692"/>
                  <a:gd name="T6" fmla="*/ 934 w 947"/>
                  <a:gd name="T7" fmla="*/ 264 h 692"/>
                  <a:gd name="T8" fmla="*/ 0 w 947"/>
                  <a:gd name="T9" fmla="*/ 692 h 692"/>
                </a:gdLst>
                <a:ahLst/>
                <a:cxnLst>
                  <a:cxn ang="0">
                    <a:pos x="T0" y="T1"/>
                  </a:cxn>
                  <a:cxn ang="0">
                    <a:pos x="T2" y="T3"/>
                  </a:cxn>
                  <a:cxn ang="0">
                    <a:pos x="T4" y="T5"/>
                  </a:cxn>
                  <a:cxn ang="0">
                    <a:pos x="T6" y="T7"/>
                  </a:cxn>
                  <a:cxn ang="0">
                    <a:pos x="T8" y="T9"/>
                  </a:cxn>
                </a:cxnLst>
                <a:rect l="0" t="0" r="r" b="b"/>
                <a:pathLst>
                  <a:path w="947" h="692">
                    <a:moveTo>
                      <a:pt x="0" y="692"/>
                    </a:moveTo>
                    <a:lnTo>
                      <a:pt x="0" y="481"/>
                    </a:lnTo>
                    <a:lnTo>
                      <a:pt x="947" y="0"/>
                    </a:lnTo>
                    <a:lnTo>
                      <a:pt x="934" y="264"/>
                    </a:lnTo>
                    <a:lnTo>
                      <a:pt x="0" y="692"/>
                    </a:lnTo>
                    <a:close/>
                  </a:path>
                </a:pathLst>
              </a:custGeom>
              <a:gradFill>
                <a:gsLst>
                  <a:gs pos="0">
                    <a:schemeClr val="bg1">
                      <a:lumMod val="95000"/>
                      <a:shade val="67500"/>
                      <a:satMod val="115000"/>
                    </a:schemeClr>
                  </a:gs>
                  <a:gs pos="100000">
                    <a:schemeClr val="bg1">
                      <a:lumMod val="85000"/>
                    </a:schemeClr>
                  </a:gs>
                </a:gsLst>
                <a:lin ang="16200000" scaled="1"/>
              </a:gradFill>
              <a:ln>
                <a:noFill/>
              </a:ln>
            </p:spPr>
            <p:txBody>
              <a:bodyPr vert="horz" wrap="square" lIns="91440" tIns="45720" rIns="91440" bIns="45720" numCol="1" anchor="t" anchorCtr="0" compatLnSpc="1">
                <a:prstTxWarp prst="textNoShape">
                  <a:avLst/>
                </a:prstTxWarp>
              </a:bodyPr>
              <a:lstStyle/>
              <a:p>
                <a:endParaRPr lang="en-US"/>
              </a:p>
            </p:txBody>
          </p:sp>
          <p:sp>
            <p:nvSpPr>
              <p:cNvPr id="174" name="Freeform 12"/>
              <p:cNvSpPr>
                <a:spLocks/>
              </p:cNvSpPr>
              <p:nvPr/>
            </p:nvSpPr>
            <p:spPr bwMode="auto">
              <a:xfrm>
                <a:off x="1605334" y="919535"/>
                <a:ext cx="249238" cy="284163"/>
              </a:xfrm>
              <a:custGeom>
                <a:avLst/>
                <a:gdLst>
                  <a:gd name="T0" fmla="*/ 626 w 626"/>
                  <a:gd name="T1" fmla="*/ 718 h 718"/>
                  <a:gd name="T2" fmla="*/ 626 w 626"/>
                  <a:gd name="T3" fmla="*/ 506 h 718"/>
                  <a:gd name="T4" fmla="*/ 6 w 626"/>
                  <a:gd name="T5" fmla="*/ 0 h 718"/>
                  <a:gd name="T6" fmla="*/ 0 w 626"/>
                  <a:gd name="T7" fmla="*/ 274 h 718"/>
                  <a:gd name="T8" fmla="*/ 626 w 626"/>
                  <a:gd name="T9" fmla="*/ 718 h 718"/>
                </a:gdLst>
                <a:ahLst/>
                <a:cxnLst>
                  <a:cxn ang="0">
                    <a:pos x="T0" y="T1"/>
                  </a:cxn>
                  <a:cxn ang="0">
                    <a:pos x="T2" y="T3"/>
                  </a:cxn>
                  <a:cxn ang="0">
                    <a:pos x="T4" y="T5"/>
                  </a:cxn>
                  <a:cxn ang="0">
                    <a:pos x="T6" y="T7"/>
                  </a:cxn>
                  <a:cxn ang="0">
                    <a:pos x="T8" y="T9"/>
                  </a:cxn>
                </a:cxnLst>
                <a:rect l="0" t="0" r="r" b="b"/>
                <a:pathLst>
                  <a:path w="626" h="718">
                    <a:moveTo>
                      <a:pt x="626" y="718"/>
                    </a:moveTo>
                    <a:lnTo>
                      <a:pt x="626" y="506"/>
                    </a:lnTo>
                    <a:lnTo>
                      <a:pt x="6" y="0"/>
                    </a:lnTo>
                    <a:lnTo>
                      <a:pt x="0" y="274"/>
                    </a:lnTo>
                    <a:lnTo>
                      <a:pt x="626" y="718"/>
                    </a:ln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75" name="Freeform 13"/>
              <p:cNvSpPr>
                <a:spLocks/>
              </p:cNvSpPr>
              <p:nvPr/>
            </p:nvSpPr>
            <p:spPr bwMode="auto">
              <a:xfrm>
                <a:off x="1123950" y="977900"/>
                <a:ext cx="519113" cy="811213"/>
              </a:xfrm>
              <a:custGeom>
                <a:avLst/>
                <a:gdLst>
                  <a:gd name="T0" fmla="*/ 0 w 1304"/>
                  <a:gd name="T1" fmla="*/ 582 h 2044"/>
                  <a:gd name="T2" fmla="*/ 1304 w 1304"/>
                  <a:gd name="T3" fmla="*/ 0 h 2044"/>
                  <a:gd name="T4" fmla="*/ 1304 w 1304"/>
                  <a:gd name="T5" fmla="*/ 2044 h 2044"/>
                  <a:gd name="T6" fmla="*/ 0 w 1304"/>
                  <a:gd name="T7" fmla="*/ 2044 h 2044"/>
                  <a:gd name="T8" fmla="*/ 0 w 1304"/>
                  <a:gd name="T9" fmla="*/ 582 h 2044"/>
                </a:gdLst>
                <a:ahLst/>
                <a:cxnLst>
                  <a:cxn ang="0">
                    <a:pos x="T0" y="T1"/>
                  </a:cxn>
                  <a:cxn ang="0">
                    <a:pos x="T2" y="T3"/>
                  </a:cxn>
                  <a:cxn ang="0">
                    <a:pos x="T4" y="T5"/>
                  </a:cxn>
                  <a:cxn ang="0">
                    <a:pos x="T6" y="T7"/>
                  </a:cxn>
                  <a:cxn ang="0">
                    <a:pos x="T8" y="T9"/>
                  </a:cxn>
                </a:cxnLst>
                <a:rect l="0" t="0" r="r" b="b"/>
                <a:pathLst>
                  <a:path w="1304" h="2044">
                    <a:moveTo>
                      <a:pt x="0" y="582"/>
                    </a:moveTo>
                    <a:lnTo>
                      <a:pt x="1304" y="0"/>
                    </a:lnTo>
                    <a:lnTo>
                      <a:pt x="1304" y="2044"/>
                    </a:lnTo>
                    <a:lnTo>
                      <a:pt x="0" y="2044"/>
                    </a:lnTo>
                    <a:lnTo>
                      <a:pt x="0" y="582"/>
                    </a:lnTo>
                    <a:close/>
                  </a:path>
                </a:pathLst>
              </a:custGeom>
              <a:gradFill flip="none" rotWithShape="1">
                <a:gsLst>
                  <a:gs pos="0">
                    <a:schemeClr val="bg1">
                      <a:lumMod val="95000"/>
                      <a:shade val="67500"/>
                      <a:satMod val="115000"/>
                    </a:schemeClr>
                  </a:gs>
                  <a:gs pos="33000">
                    <a:schemeClr val="bg1">
                      <a:lumMod val="9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76" name="Freeform 14"/>
              <p:cNvSpPr>
                <a:spLocks/>
              </p:cNvSpPr>
              <p:nvPr/>
            </p:nvSpPr>
            <p:spPr bwMode="auto">
              <a:xfrm>
                <a:off x="1643063" y="977900"/>
                <a:ext cx="265113" cy="811213"/>
              </a:xfrm>
              <a:custGeom>
                <a:avLst/>
                <a:gdLst>
                  <a:gd name="T0" fmla="*/ 670 w 670"/>
                  <a:gd name="T1" fmla="*/ 582 h 2044"/>
                  <a:gd name="T2" fmla="*/ 509 w 670"/>
                  <a:gd name="T3" fmla="*/ 486 h 2044"/>
                  <a:gd name="T4" fmla="*/ 477 w 670"/>
                  <a:gd name="T5" fmla="*/ 378 h 2044"/>
                  <a:gd name="T6" fmla="*/ 0 w 670"/>
                  <a:gd name="T7" fmla="*/ 0 h 2044"/>
                  <a:gd name="T8" fmla="*/ 0 w 670"/>
                  <a:gd name="T9" fmla="*/ 2044 h 2044"/>
                  <a:gd name="T10" fmla="*/ 670 w 670"/>
                  <a:gd name="T11" fmla="*/ 2044 h 2044"/>
                  <a:gd name="T12" fmla="*/ 670 w 670"/>
                  <a:gd name="T13" fmla="*/ 582 h 2044"/>
                </a:gdLst>
                <a:ahLst/>
                <a:cxnLst>
                  <a:cxn ang="0">
                    <a:pos x="T0" y="T1"/>
                  </a:cxn>
                  <a:cxn ang="0">
                    <a:pos x="T2" y="T3"/>
                  </a:cxn>
                  <a:cxn ang="0">
                    <a:pos x="T4" y="T5"/>
                  </a:cxn>
                  <a:cxn ang="0">
                    <a:pos x="T6" y="T7"/>
                  </a:cxn>
                  <a:cxn ang="0">
                    <a:pos x="T8" y="T9"/>
                  </a:cxn>
                  <a:cxn ang="0">
                    <a:pos x="T10" y="T11"/>
                  </a:cxn>
                  <a:cxn ang="0">
                    <a:pos x="T12" y="T13"/>
                  </a:cxn>
                </a:cxnLst>
                <a:rect l="0" t="0" r="r" b="b"/>
                <a:pathLst>
                  <a:path w="670" h="2044">
                    <a:moveTo>
                      <a:pt x="670" y="582"/>
                    </a:moveTo>
                    <a:lnTo>
                      <a:pt x="509" y="486"/>
                    </a:lnTo>
                    <a:lnTo>
                      <a:pt x="477" y="378"/>
                    </a:lnTo>
                    <a:lnTo>
                      <a:pt x="0" y="0"/>
                    </a:lnTo>
                    <a:lnTo>
                      <a:pt x="0" y="2044"/>
                    </a:lnTo>
                    <a:lnTo>
                      <a:pt x="670" y="2044"/>
                    </a:lnTo>
                    <a:lnTo>
                      <a:pt x="670" y="582"/>
                    </a:lnTo>
                    <a:close/>
                  </a:path>
                </a:pathLst>
              </a:custGeom>
              <a:solidFill>
                <a:srgbClr val="1D4B6D"/>
              </a:solidFill>
              <a:ln>
                <a:noFill/>
              </a:ln>
            </p:spPr>
            <p:txBody>
              <a:bodyPr vert="horz" wrap="square" lIns="91440" tIns="45720" rIns="91440" bIns="45720" numCol="1" anchor="t" anchorCtr="0" compatLnSpc="1">
                <a:prstTxWarp prst="textNoShape">
                  <a:avLst/>
                </a:prstTxWarp>
              </a:bodyPr>
              <a:lstStyle/>
              <a:p>
                <a:endParaRPr lang="en-US"/>
              </a:p>
            </p:txBody>
          </p:sp>
          <p:sp>
            <p:nvSpPr>
              <p:cNvPr id="177" name="Freeform 15"/>
              <p:cNvSpPr>
                <a:spLocks noEditPoints="1"/>
              </p:cNvSpPr>
              <p:nvPr/>
            </p:nvSpPr>
            <p:spPr bwMode="auto">
              <a:xfrm>
                <a:off x="1157288" y="1073150"/>
                <a:ext cx="433388" cy="677863"/>
              </a:xfrm>
              <a:custGeom>
                <a:avLst/>
                <a:gdLst>
                  <a:gd name="T0" fmla="*/ 0 w 1089"/>
                  <a:gd name="T1" fmla="*/ 1589 h 1709"/>
                  <a:gd name="T2" fmla="*/ 238 w 1089"/>
                  <a:gd name="T3" fmla="*/ 1573 h 1709"/>
                  <a:gd name="T4" fmla="*/ 238 w 1089"/>
                  <a:gd name="T5" fmla="*/ 1697 h 1709"/>
                  <a:gd name="T6" fmla="*/ 0 w 1089"/>
                  <a:gd name="T7" fmla="*/ 1709 h 1709"/>
                  <a:gd name="T8" fmla="*/ 0 w 1089"/>
                  <a:gd name="T9" fmla="*/ 1589 h 1709"/>
                  <a:gd name="T10" fmla="*/ 296 w 1089"/>
                  <a:gd name="T11" fmla="*/ 1568 h 1709"/>
                  <a:gd name="T12" fmla="*/ 626 w 1089"/>
                  <a:gd name="T13" fmla="*/ 1546 h 1709"/>
                  <a:gd name="T14" fmla="*/ 626 w 1089"/>
                  <a:gd name="T15" fmla="*/ 1678 h 1709"/>
                  <a:gd name="T16" fmla="*/ 296 w 1089"/>
                  <a:gd name="T17" fmla="*/ 1694 h 1709"/>
                  <a:gd name="T18" fmla="*/ 296 w 1089"/>
                  <a:gd name="T19" fmla="*/ 1568 h 1709"/>
                  <a:gd name="T20" fmla="*/ 684 w 1089"/>
                  <a:gd name="T21" fmla="*/ 1542 h 1709"/>
                  <a:gd name="T22" fmla="*/ 1089 w 1089"/>
                  <a:gd name="T23" fmla="*/ 1515 h 1709"/>
                  <a:gd name="T24" fmla="*/ 1089 w 1089"/>
                  <a:gd name="T25" fmla="*/ 1655 h 1709"/>
                  <a:gd name="T26" fmla="*/ 684 w 1089"/>
                  <a:gd name="T27" fmla="*/ 1675 h 1709"/>
                  <a:gd name="T28" fmla="*/ 684 w 1089"/>
                  <a:gd name="T29" fmla="*/ 1542 h 1709"/>
                  <a:gd name="T30" fmla="*/ 0 w 1089"/>
                  <a:gd name="T31" fmla="*/ 441 h 1709"/>
                  <a:gd name="T32" fmla="*/ 1089 w 1089"/>
                  <a:gd name="T33" fmla="*/ 0 h 1709"/>
                  <a:gd name="T34" fmla="*/ 1089 w 1089"/>
                  <a:gd name="T35" fmla="*/ 142 h 1709"/>
                  <a:gd name="T36" fmla="*/ 0 w 1089"/>
                  <a:gd name="T37" fmla="*/ 583 h 1709"/>
                  <a:gd name="T38" fmla="*/ 0 w 1089"/>
                  <a:gd name="T39" fmla="*/ 441 h 1709"/>
                  <a:gd name="T40" fmla="*/ 0 w 1089"/>
                  <a:gd name="T41" fmla="*/ 748 h 1709"/>
                  <a:gd name="T42" fmla="*/ 1089 w 1089"/>
                  <a:gd name="T43" fmla="*/ 394 h 1709"/>
                  <a:gd name="T44" fmla="*/ 1089 w 1089"/>
                  <a:gd name="T45" fmla="*/ 535 h 1709"/>
                  <a:gd name="T46" fmla="*/ 0 w 1089"/>
                  <a:gd name="T47" fmla="*/ 889 h 1709"/>
                  <a:gd name="T48" fmla="*/ 0 w 1089"/>
                  <a:gd name="T49" fmla="*/ 748 h 1709"/>
                  <a:gd name="T50" fmla="*/ 0 w 1089"/>
                  <a:gd name="T51" fmla="*/ 1036 h 1709"/>
                  <a:gd name="T52" fmla="*/ 1089 w 1089"/>
                  <a:gd name="T53" fmla="*/ 771 h 1709"/>
                  <a:gd name="T54" fmla="*/ 1089 w 1089"/>
                  <a:gd name="T55" fmla="*/ 911 h 1709"/>
                  <a:gd name="T56" fmla="*/ 0 w 1089"/>
                  <a:gd name="T57" fmla="*/ 1178 h 1709"/>
                  <a:gd name="T58" fmla="*/ 0 w 1089"/>
                  <a:gd name="T59" fmla="*/ 1036 h 1709"/>
                  <a:gd name="T60" fmla="*/ 0 w 1089"/>
                  <a:gd name="T61" fmla="*/ 1317 h 1709"/>
                  <a:gd name="T62" fmla="*/ 1089 w 1089"/>
                  <a:gd name="T63" fmla="*/ 1147 h 1709"/>
                  <a:gd name="T64" fmla="*/ 1089 w 1089"/>
                  <a:gd name="T65" fmla="*/ 1288 h 1709"/>
                  <a:gd name="T66" fmla="*/ 0 w 1089"/>
                  <a:gd name="T67" fmla="*/ 1457 h 1709"/>
                  <a:gd name="T68" fmla="*/ 0 w 1089"/>
                  <a:gd name="T69" fmla="*/ 1317 h 1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9" h="1709">
                    <a:moveTo>
                      <a:pt x="0" y="1589"/>
                    </a:moveTo>
                    <a:lnTo>
                      <a:pt x="238" y="1573"/>
                    </a:lnTo>
                    <a:lnTo>
                      <a:pt x="238" y="1697"/>
                    </a:lnTo>
                    <a:lnTo>
                      <a:pt x="0" y="1709"/>
                    </a:lnTo>
                    <a:lnTo>
                      <a:pt x="0" y="1589"/>
                    </a:lnTo>
                    <a:close/>
                    <a:moveTo>
                      <a:pt x="296" y="1568"/>
                    </a:moveTo>
                    <a:lnTo>
                      <a:pt x="626" y="1546"/>
                    </a:lnTo>
                    <a:lnTo>
                      <a:pt x="626" y="1678"/>
                    </a:lnTo>
                    <a:lnTo>
                      <a:pt x="296" y="1694"/>
                    </a:lnTo>
                    <a:lnTo>
                      <a:pt x="296" y="1568"/>
                    </a:lnTo>
                    <a:close/>
                    <a:moveTo>
                      <a:pt x="684" y="1542"/>
                    </a:moveTo>
                    <a:lnTo>
                      <a:pt x="1089" y="1515"/>
                    </a:lnTo>
                    <a:lnTo>
                      <a:pt x="1089" y="1655"/>
                    </a:lnTo>
                    <a:lnTo>
                      <a:pt x="684" y="1675"/>
                    </a:lnTo>
                    <a:lnTo>
                      <a:pt x="684" y="1542"/>
                    </a:lnTo>
                    <a:close/>
                    <a:moveTo>
                      <a:pt x="0" y="441"/>
                    </a:moveTo>
                    <a:lnTo>
                      <a:pt x="1089" y="0"/>
                    </a:lnTo>
                    <a:lnTo>
                      <a:pt x="1089" y="142"/>
                    </a:lnTo>
                    <a:lnTo>
                      <a:pt x="0" y="583"/>
                    </a:lnTo>
                    <a:lnTo>
                      <a:pt x="0" y="441"/>
                    </a:lnTo>
                    <a:close/>
                    <a:moveTo>
                      <a:pt x="0" y="748"/>
                    </a:moveTo>
                    <a:lnTo>
                      <a:pt x="1089" y="394"/>
                    </a:lnTo>
                    <a:lnTo>
                      <a:pt x="1089" y="535"/>
                    </a:lnTo>
                    <a:lnTo>
                      <a:pt x="0" y="889"/>
                    </a:lnTo>
                    <a:lnTo>
                      <a:pt x="0" y="748"/>
                    </a:lnTo>
                    <a:close/>
                    <a:moveTo>
                      <a:pt x="0" y="1036"/>
                    </a:moveTo>
                    <a:lnTo>
                      <a:pt x="1089" y="771"/>
                    </a:lnTo>
                    <a:lnTo>
                      <a:pt x="1089" y="911"/>
                    </a:lnTo>
                    <a:lnTo>
                      <a:pt x="0" y="1178"/>
                    </a:lnTo>
                    <a:lnTo>
                      <a:pt x="0" y="1036"/>
                    </a:lnTo>
                    <a:close/>
                    <a:moveTo>
                      <a:pt x="0" y="1317"/>
                    </a:moveTo>
                    <a:lnTo>
                      <a:pt x="1089" y="1147"/>
                    </a:lnTo>
                    <a:lnTo>
                      <a:pt x="1089" y="1288"/>
                    </a:lnTo>
                    <a:lnTo>
                      <a:pt x="0" y="1457"/>
                    </a:lnTo>
                    <a:lnTo>
                      <a:pt x="0" y="1317"/>
                    </a:lnTo>
                    <a:close/>
                  </a:path>
                </a:pathLst>
              </a:custGeom>
              <a:solidFill>
                <a:schemeClr val="bg1">
                  <a:lumMod val="75000"/>
                </a:schemeClr>
              </a:solidFill>
              <a:ln>
                <a:noFill/>
              </a:ln>
              <a:effectLst>
                <a:innerShdw blurRad="25400">
                  <a:prstClr val="black">
                    <a:alpha val="28000"/>
                  </a:prstClr>
                </a:innerShdw>
              </a:effectLst>
            </p:spPr>
            <p:txBody>
              <a:bodyPr vert="horz" wrap="square" lIns="91440" tIns="45720" rIns="91440" bIns="45720" numCol="1" anchor="t" anchorCtr="0" compatLnSpc="1">
                <a:prstTxWarp prst="textNoShape">
                  <a:avLst/>
                </a:prstTxWarp>
              </a:bodyPr>
              <a:lstStyle/>
              <a:p>
                <a:endParaRPr lang="en-US"/>
              </a:p>
            </p:txBody>
          </p:sp>
        </p:grpSp>
      </p:grpSp>
      <p:grpSp>
        <p:nvGrpSpPr>
          <p:cNvPr id="43" name="Group 42"/>
          <p:cNvGrpSpPr/>
          <p:nvPr/>
        </p:nvGrpSpPr>
        <p:grpSpPr>
          <a:xfrm>
            <a:off x="2980776" y="1926761"/>
            <a:ext cx="2993776" cy="3001587"/>
            <a:chOff x="2982172" y="1924063"/>
            <a:chExt cx="2993776" cy="3001587"/>
          </a:xfrm>
          <a:effectLst>
            <a:outerShdw blurRad="101600" sx="101000" sy="101000" algn="ctr" rotWithShape="0">
              <a:prstClr val="black">
                <a:alpha val="18000"/>
              </a:prstClr>
            </a:outerShdw>
          </a:effectLst>
        </p:grpSpPr>
        <p:sp>
          <p:nvSpPr>
            <p:cNvPr id="6" name="Freeform 6"/>
            <p:cNvSpPr>
              <a:spLocks/>
            </p:cNvSpPr>
            <p:nvPr>
              <p:custDataLst>
                <p:tags r:id="rId4"/>
              </p:custDataLst>
            </p:nvPr>
          </p:nvSpPr>
          <p:spPr bwMode="auto">
            <a:xfrm>
              <a:off x="2982172" y="1929458"/>
              <a:ext cx="2990981" cy="2996192"/>
            </a:xfrm>
            <a:custGeom>
              <a:avLst/>
              <a:gdLst>
                <a:gd name="T0" fmla="*/ 1899 w 3447"/>
                <a:gd name="T1" fmla="*/ 9 h 3447"/>
                <a:gd name="T2" fmla="*/ 2154 w 3447"/>
                <a:gd name="T3" fmla="*/ 54 h 3447"/>
                <a:gd name="T4" fmla="*/ 2394 w 3447"/>
                <a:gd name="T5" fmla="*/ 136 h 3447"/>
                <a:gd name="T6" fmla="*/ 2617 w 3447"/>
                <a:gd name="T7" fmla="*/ 249 h 3447"/>
                <a:gd name="T8" fmla="*/ 2819 w 3447"/>
                <a:gd name="T9" fmla="*/ 394 h 3447"/>
                <a:gd name="T10" fmla="*/ 2999 w 3447"/>
                <a:gd name="T11" fmla="*/ 565 h 3447"/>
                <a:gd name="T12" fmla="*/ 3152 w 3447"/>
                <a:gd name="T13" fmla="*/ 761 h 3447"/>
                <a:gd name="T14" fmla="*/ 3277 w 3447"/>
                <a:gd name="T15" fmla="*/ 976 h 3447"/>
                <a:gd name="T16" fmla="*/ 3369 w 3447"/>
                <a:gd name="T17" fmla="*/ 1211 h 3447"/>
                <a:gd name="T18" fmla="*/ 3427 w 3447"/>
                <a:gd name="T19" fmla="*/ 1462 h 3447"/>
                <a:gd name="T20" fmla="*/ 3447 w 3447"/>
                <a:gd name="T21" fmla="*/ 1723 h 3447"/>
                <a:gd name="T22" fmla="*/ 3427 w 3447"/>
                <a:gd name="T23" fmla="*/ 1986 h 3447"/>
                <a:gd name="T24" fmla="*/ 3369 w 3447"/>
                <a:gd name="T25" fmla="*/ 2236 h 3447"/>
                <a:gd name="T26" fmla="*/ 3277 w 3447"/>
                <a:gd name="T27" fmla="*/ 2470 h 3447"/>
                <a:gd name="T28" fmla="*/ 3152 w 3447"/>
                <a:gd name="T29" fmla="*/ 2687 h 3447"/>
                <a:gd name="T30" fmla="*/ 2999 w 3447"/>
                <a:gd name="T31" fmla="*/ 2882 h 3447"/>
                <a:gd name="T32" fmla="*/ 2819 w 3447"/>
                <a:gd name="T33" fmla="*/ 3053 h 3447"/>
                <a:gd name="T34" fmla="*/ 2617 w 3447"/>
                <a:gd name="T35" fmla="*/ 3198 h 3447"/>
                <a:gd name="T36" fmla="*/ 2394 w 3447"/>
                <a:gd name="T37" fmla="*/ 3312 h 3447"/>
                <a:gd name="T38" fmla="*/ 2154 w 3447"/>
                <a:gd name="T39" fmla="*/ 3393 h 3447"/>
                <a:gd name="T40" fmla="*/ 1899 w 3447"/>
                <a:gd name="T41" fmla="*/ 3438 h 3447"/>
                <a:gd name="T42" fmla="*/ 1634 w 3447"/>
                <a:gd name="T43" fmla="*/ 3445 h 3447"/>
                <a:gd name="T44" fmla="*/ 1376 w 3447"/>
                <a:gd name="T45" fmla="*/ 3411 h 3447"/>
                <a:gd name="T46" fmla="*/ 1131 w 3447"/>
                <a:gd name="T47" fmla="*/ 3342 h 3447"/>
                <a:gd name="T48" fmla="*/ 902 w 3447"/>
                <a:gd name="T49" fmla="*/ 3238 h 3447"/>
                <a:gd name="T50" fmla="*/ 692 w 3447"/>
                <a:gd name="T51" fmla="*/ 3104 h 3447"/>
                <a:gd name="T52" fmla="*/ 505 w 3447"/>
                <a:gd name="T53" fmla="*/ 2942 h 3447"/>
                <a:gd name="T54" fmla="*/ 342 w 3447"/>
                <a:gd name="T55" fmla="*/ 2754 h 3447"/>
                <a:gd name="T56" fmla="*/ 208 w 3447"/>
                <a:gd name="T57" fmla="*/ 2545 h 3447"/>
                <a:gd name="T58" fmla="*/ 104 w 3447"/>
                <a:gd name="T59" fmla="*/ 2316 h 3447"/>
                <a:gd name="T60" fmla="*/ 35 w 3447"/>
                <a:gd name="T61" fmla="*/ 2071 h 3447"/>
                <a:gd name="T62" fmla="*/ 2 w 3447"/>
                <a:gd name="T63" fmla="*/ 1813 h 3447"/>
                <a:gd name="T64" fmla="*/ 9 w 3447"/>
                <a:gd name="T65" fmla="*/ 1547 h 3447"/>
                <a:gd name="T66" fmla="*/ 54 w 3447"/>
                <a:gd name="T67" fmla="*/ 1293 h 3447"/>
                <a:gd name="T68" fmla="*/ 136 w 3447"/>
                <a:gd name="T69" fmla="*/ 1053 h 3447"/>
                <a:gd name="T70" fmla="*/ 249 w 3447"/>
                <a:gd name="T71" fmla="*/ 830 h 3447"/>
                <a:gd name="T72" fmla="*/ 394 w 3447"/>
                <a:gd name="T73" fmla="*/ 628 h 3447"/>
                <a:gd name="T74" fmla="*/ 564 w 3447"/>
                <a:gd name="T75" fmla="*/ 448 h 3447"/>
                <a:gd name="T76" fmla="*/ 760 w 3447"/>
                <a:gd name="T77" fmla="*/ 294 h 3447"/>
                <a:gd name="T78" fmla="*/ 976 w 3447"/>
                <a:gd name="T79" fmla="*/ 171 h 3447"/>
                <a:gd name="T80" fmla="*/ 1211 w 3447"/>
                <a:gd name="T81" fmla="*/ 77 h 3447"/>
                <a:gd name="T82" fmla="*/ 1461 w 3447"/>
                <a:gd name="T83" fmla="*/ 20 h 3447"/>
                <a:gd name="T84" fmla="*/ 1723 w 3447"/>
                <a:gd name="T85" fmla="*/ 0 h 3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47" h="3447">
                  <a:moveTo>
                    <a:pt x="1723" y="0"/>
                  </a:moveTo>
                  <a:lnTo>
                    <a:pt x="1812" y="2"/>
                  </a:lnTo>
                  <a:lnTo>
                    <a:pt x="1899" y="9"/>
                  </a:lnTo>
                  <a:lnTo>
                    <a:pt x="1986" y="20"/>
                  </a:lnTo>
                  <a:lnTo>
                    <a:pt x="2071" y="36"/>
                  </a:lnTo>
                  <a:lnTo>
                    <a:pt x="2154" y="54"/>
                  </a:lnTo>
                  <a:lnTo>
                    <a:pt x="2235" y="77"/>
                  </a:lnTo>
                  <a:lnTo>
                    <a:pt x="2316" y="105"/>
                  </a:lnTo>
                  <a:lnTo>
                    <a:pt x="2394" y="136"/>
                  </a:lnTo>
                  <a:lnTo>
                    <a:pt x="2470" y="171"/>
                  </a:lnTo>
                  <a:lnTo>
                    <a:pt x="2545" y="208"/>
                  </a:lnTo>
                  <a:lnTo>
                    <a:pt x="2617" y="249"/>
                  </a:lnTo>
                  <a:lnTo>
                    <a:pt x="2687" y="294"/>
                  </a:lnTo>
                  <a:lnTo>
                    <a:pt x="2754" y="343"/>
                  </a:lnTo>
                  <a:lnTo>
                    <a:pt x="2819" y="394"/>
                  </a:lnTo>
                  <a:lnTo>
                    <a:pt x="2882" y="448"/>
                  </a:lnTo>
                  <a:lnTo>
                    <a:pt x="2942" y="505"/>
                  </a:lnTo>
                  <a:lnTo>
                    <a:pt x="2999" y="565"/>
                  </a:lnTo>
                  <a:lnTo>
                    <a:pt x="3053" y="628"/>
                  </a:lnTo>
                  <a:lnTo>
                    <a:pt x="3104" y="692"/>
                  </a:lnTo>
                  <a:lnTo>
                    <a:pt x="3152" y="761"/>
                  </a:lnTo>
                  <a:lnTo>
                    <a:pt x="3197" y="830"/>
                  </a:lnTo>
                  <a:lnTo>
                    <a:pt x="3238" y="902"/>
                  </a:lnTo>
                  <a:lnTo>
                    <a:pt x="3277" y="976"/>
                  </a:lnTo>
                  <a:lnTo>
                    <a:pt x="3312" y="1053"/>
                  </a:lnTo>
                  <a:lnTo>
                    <a:pt x="3342" y="1131"/>
                  </a:lnTo>
                  <a:lnTo>
                    <a:pt x="3369" y="1211"/>
                  </a:lnTo>
                  <a:lnTo>
                    <a:pt x="3392" y="1293"/>
                  </a:lnTo>
                  <a:lnTo>
                    <a:pt x="3411" y="1377"/>
                  </a:lnTo>
                  <a:lnTo>
                    <a:pt x="3427" y="1462"/>
                  </a:lnTo>
                  <a:lnTo>
                    <a:pt x="3437" y="1547"/>
                  </a:lnTo>
                  <a:lnTo>
                    <a:pt x="3445" y="1634"/>
                  </a:lnTo>
                  <a:lnTo>
                    <a:pt x="3447" y="1723"/>
                  </a:lnTo>
                  <a:lnTo>
                    <a:pt x="3445" y="1813"/>
                  </a:lnTo>
                  <a:lnTo>
                    <a:pt x="3437" y="1899"/>
                  </a:lnTo>
                  <a:lnTo>
                    <a:pt x="3427" y="1986"/>
                  </a:lnTo>
                  <a:lnTo>
                    <a:pt x="3411" y="2071"/>
                  </a:lnTo>
                  <a:lnTo>
                    <a:pt x="3392" y="2154"/>
                  </a:lnTo>
                  <a:lnTo>
                    <a:pt x="3369" y="2236"/>
                  </a:lnTo>
                  <a:lnTo>
                    <a:pt x="3342" y="2316"/>
                  </a:lnTo>
                  <a:lnTo>
                    <a:pt x="3312" y="2394"/>
                  </a:lnTo>
                  <a:lnTo>
                    <a:pt x="3277" y="2470"/>
                  </a:lnTo>
                  <a:lnTo>
                    <a:pt x="3238" y="2545"/>
                  </a:lnTo>
                  <a:lnTo>
                    <a:pt x="3197" y="2617"/>
                  </a:lnTo>
                  <a:lnTo>
                    <a:pt x="3152" y="2687"/>
                  </a:lnTo>
                  <a:lnTo>
                    <a:pt x="3104" y="2754"/>
                  </a:lnTo>
                  <a:lnTo>
                    <a:pt x="3053" y="2819"/>
                  </a:lnTo>
                  <a:lnTo>
                    <a:pt x="2999" y="2882"/>
                  </a:lnTo>
                  <a:lnTo>
                    <a:pt x="2942" y="2942"/>
                  </a:lnTo>
                  <a:lnTo>
                    <a:pt x="2882" y="3000"/>
                  </a:lnTo>
                  <a:lnTo>
                    <a:pt x="2819" y="3053"/>
                  </a:lnTo>
                  <a:lnTo>
                    <a:pt x="2754" y="3104"/>
                  </a:lnTo>
                  <a:lnTo>
                    <a:pt x="2687" y="3153"/>
                  </a:lnTo>
                  <a:lnTo>
                    <a:pt x="2617" y="3198"/>
                  </a:lnTo>
                  <a:lnTo>
                    <a:pt x="2545" y="3238"/>
                  </a:lnTo>
                  <a:lnTo>
                    <a:pt x="2470" y="3277"/>
                  </a:lnTo>
                  <a:lnTo>
                    <a:pt x="2394" y="3312"/>
                  </a:lnTo>
                  <a:lnTo>
                    <a:pt x="2316" y="3342"/>
                  </a:lnTo>
                  <a:lnTo>
                    <a:pt x="2235" y="3369"/>
                  </a:lnTo>
                  <a:lnTo>
                    <a:pt x="2154" y="3393"/>
                  </a:lnTo>
                  <a:lnTo>
                    <a:pt x="2071" y="3411"/>
                  </a:lnTo>
                  <a:lnTo>
                    <a:pt x="1986" y="3427"/>
                  </a:lnTo>
                  <a:lnTo>
                    <a:pt x="1899" y="3438"/>
                  </a:lnTo>
                  <a:lnTo>
                    <a:pt x="1812" y="3445"/>
                  </a:lnTo>
                  <a:lnTo>
                    <a:pt x="1723" y="3447"/>
                  </a:lnTo>
                  <a:lnTo>
                    <a:pt x="1634" y="3445"/>
                  </a:lnTo>
                  <a:lnTo>
                    <a:pt x="1547" y="3438"/>
                  </a:lnTo>
                  <a:lnTo>
                    <a:pt x="1461" y="3427"/>
                  </a:lnTo>
                  <a:lnTo>
                    <a:pt x="1376" y="3411"/>
                  </a:lnTo>
                  <a:lnTo>
                    <a:pt x="1292" y="3393"/>
                  </a:lnTo>
                  <a:lnTo>
                    <a:pt x="1211" y="3369"/>
                  </a:lnTo>
                  <a:lnTo>
                    <a:pt x="1131" y="3342"/>
                  </a:lnTo>
                  <a:lnTo>
                    <a:pt x="1053" y="3312"/>
                  </a:lnTo>
                  <a:lnTo>
                    <a:pt x="976" y="3277"/>
                  </a:lnTo>
                  <a:lnTo>
                    <a:pt x="902" y="3238"/>
                  </a:lnTo>
                  <a:lnTo>
                    <a:pt x="829" y="3198"/>
                  </a:lnTo>
                  <a:lnTo>
                    <a:pt x="760" y="3153"/>
                  </a:lnTo>
                  <a:lnTo>
                    <a:pt x="692" y="3104"/>
                  </a:lnTo>
                  <a:lnTo>
                    <a:pt x="627" y="3053"/>
                  </a:lnTo>
                  <a:lnTo>
                    <a:pt x="564" y="3000"/>
                  </a:lnTo>
                  <a:lnTo>
                    <a:pt x="505" y="2942"/>
                  </a:lnTo>
                  <a:lnTo>
                    <a:pt x="448" y="2882"/>
                  </a:lnTo>
                  <a:lnTo>
                    <a:pt x="394" y="2819"/>
                  </a:lnTo>
                  <a:lnTo>
                    <a:pt x="342" y="2754"/>
                  </a:lnTo>
                  <a:lnTo>
                    <a:pt x="294" y="2687"/>
                  </a:lnTo>
                  <a:lnTo>
                    <a:pt x="249" y="2617"/>
                  </a:lnTo>
                  <a:lnTo>
                    <a:pt x="208" y="2545"/>
                  </a:lnTo>
                  <a:lnTo>
                    <a:pt x="169" y="2470"/>
                  </a:lnTo>
                  <a:lnTo>
                    <a:pt x="136" y="2394"/>
                  </a:lnTo>
                  <a:lnTo>
                    <a:pt x="104" y="2316"/>
                  </a:lnTo>
                  <a:lnTo>
                    <a:pt x="77" y="2236"/>
                  </a:lnTo>
                  <a:lnTo>
                    <a:pt x="54" y="2154"/>
                  </a:lnTo>
                  <a:lnTo>
                    <a:pt x="35" y="2071"/>
                  </a:lnTo>
                  <a:lnTo>
                    <a:pt x="19" y="1986"/>
                  </a:lnTo>
                  <a:lnTo>
                    <a:pt x="9" y="1899"/>
                  </a:lnTo>
                  <a:lnTo>
                    <a:pt x="2" y="1813"/>
                  </a:lnTo>
                  <a:lnTo>
                    <a:pt x="0" y="1723"/>
                  </a:lnTo>
                  <a:lnTo>
                    <a:pt x="2" y="1634"/>
                  </a:lnTo>
                  <a:lnTo>
                    <a:pt x="9" y="1547"/>
                  </a:lnTo>
                  <a:lnTo>
                    <a:pt x="19" y="1462"/>
                  </a:lnTo>
                  <a:lnTo>
                    <a:pt x="35" y="1377"/>
                  </a:lnTo>
                  <a:lnTo>
                    <a:pt x="54" y="1293"/>
                  </a:lnTo>
                  <a:lnTo>
                    <a:pt x="77" y="1211"/>
                  </a:lnTo>
                  <a:lnTo>
                    <a:pt x="104" y="1131"/>
                  </a:lnTo>
                  <a:lnTo>
                    <a:pt x="136" y="1053"/>
                  </a:lnTo>
                  <a:lnTo>
                    <a:pt x="169" y="976"/>
                  </a:lnTo>
                  <a:lnTo>
                    <a:pt x="208" y="902"/>
                  </a:lnTo>
                  <a:lnTo>
                    <a:pt x="249" y="830"/>
                  </a:lnTo>
                  <a:lnTo>
                    <a:pt x="294" y="761"/>
                  </a:lnTo>
                  <a:lnTo>
                    <a:pt x="342" y="692"/>
                  </a:lnTo>
                  <a:lnTo>
                    <a:pt x="394" y="628"/>
                  </a:lnTo>
                  <a:lnTo>
                    <a:pt x="448" y="565"/>
                  </a:lnTo>
                  <a:lnTo>
                    <a:pt x="505" y="505"/>
                  </a:lnTo>
                  <a:lnTo>
                    <a:pt x="564" y="448"/>
                  </a:lnTo>
                  <a:lnTo>
                    <a:pt x="627" y="394"/>
                  </a:lnTo>
                  <a:lnTo>
                    <a:pt x="692" y="343"/>
                  </a:lnTo>
                  <a:lnTo>
                    <a:pt x="760" y="294"/>
                  </a:lnTo>
                  <a:lnTo>
                    <a:pt x="829" y="249"/>
                  </a:lnTo>
                  <a:lnTo>
                    <a:pt x="902" y="208"/>
                  </a:lnTo>
                  <a:lnTo>
                    <a:pt x="976" y="171"/>
                  </a:lnTo>
                  <a:lnTo>
                    <a:pt x="1053" y="136"/>
                  </a:lnTo>
                  <a:lnTo>
                    <a:pt x="1131" y="105"/>
                  </a:lnTo>
                  <a:lnTo>
                    <a:pt x="1211" y="77"/>
                  </a:lnTo>
                  <a:lnTo>
                    <a:pt x="1292" y="54"/>
                  </a:lnTo>
                  <a:lnTo>
                    <a:pt x="1376" y="36"/>
                  </a:lnTo>
                  <a:lnTo>
                    <a:pt x="1461" y="20"/>
                  </a:lnTo>
                  <a:lnTo>
                    <a:pt x="1547" y="9"/>
                  </a:lnTo>
                  <a:lnTo>
                    <a:pt x="1634" y="2"/>
                  </a:lnTo>
                  <a:lnTo>
                    <a:pt x="1723" y="0"/>
                  </a:lnTo>
                  <a:close/>
                </a:path>
              </a:pathLst>
            </a:custGeom>
            <a:gradFill flip="none" rotWithShape="1">
              <a:gsLst>
                <a:gs pos="0">
                  <a:schemeClr val="bg1"/>
                </a:gs>
                <a:gs pos="87000">
                  <a:schemeClr val="bg1">
                    <a:lumMod val="75000"/>
                  </a:schemeClr>
                </a:gs>
                <a:gs pos="52000">
                  <a:schemeClr val="bg1">
                    <a:lumMod val="85000"/>
                  </a:schemeClr>
                </a:gs>
              </a:gsLst>
              <a:path path="circle">
                <a:fillToRect l="50000" t="50000" r="50000" b="50000"/>
              </a:path>
              <a:tileRect/>
            </a:gradFill>
            <a:ln w="9525">
              <a:noFill/>
              <a:round/>
              <a:headEnd/>
              <a:tailEnd/>
            </a:ln>
            <a:effectLst>
              <a:innerShdw blurRad="165100" dist="139700" dir="5400000">
                <a:prstClr val="black">
                  <a:alpha val="12000"/>
                </a:prstClr>
              </a:innerShdw>
            </a:effectLst>
          </p:spPr>
          <p:txBody>
            <a:bodyPr anchor="ctr"/>
            <a:lstStyle/>
            <a:p>
              <a:pPr algn="ctr"/>
              <a:endParaRPr lang="en-US">
                <a:solidFill>
                  <a:srgbClr val="FFFFFF"/>
                </a:solidFill>
                <a:latin typeface="Calibri" charset="0"/>
                <a:ea typeface="ＭＳ Ｐゴシック" charset="-128"/>
              </a:endParaRPr>
            </a:p>
          </p:txBody>
        </p:sp>
        <p:sp>
          <p:nvSpPr>
            <p:cNvPr id="42" name="Freeform 14"/>
            <p:cNvSpPr>
              <a:spLocks noEditPoints="1"/>
            </p:cNvSpPr>
            <p:nvPr>
              <p:custDataLst>
                <p:tags r:id="rId5"/>
              </p:custDataLst>
            </p:nvPr>
          </p:nvSpPr>
          <p:spPr bwMode="auto">
            <a:xfrm>
              <a:off x="2986002" y="1924063"/>
              <a:ext cx="2989946" cy="2989946"/>
            </a:xfrm>
            <a:custGeom>
              <a:avLst/>
              <a:gdLst>
                <a:gd name="T0" fmla="*/ 2511 w 2815"/>
                <a:gd name="T1" fmla="*/ 2234 h 2815"/>
                <a:gd name="T2" fmla="*/ 2654 w 2815"/>
                <a:gd name="T3" fmla="*/ 1402 h 2815"/>
                <a:gd name="T4" fmla="*/ 2286 w 2815"/>
                <a:gd name="T5" fmla="*/ 832 h 2815"/>
                <a:gd name="T6" fmla="*/ 1815 w 2815"/>
                <a:gd name="T7" fmla="*/ 592 h 2815"/>
                <a:gd name="T8" fmla="*/ 1124 w 2815"/>
                <a:gd name="T9" fmla="*/ 318 h 2815"/>
                <a:gd name="T10" fmla="*/ 453 w 2815"/>
                <a:gd name="T11" fmla="*/ 510 h 2815"/>
                <a:gd name="T12" fmla="*/ 75 w 2815"/>
                <a:gd name="T13" fmla="*/ 1061 h 2815"/>
                <a:gd name="T14" fmla="*/ 411 w 2815"/>
                <a:gd name="T15" fmla="*/ 454 h 2815"/>
                <a:gd name="T16" fmla="*/ 1292 w 2815"/>
                <a:gd name="T17" fmla="*/ 303 h 2815"/>
                <a:gd name="T18" fmla="*/ 2133 w 2815"/>
                <a:gd name="T19" fmla="*/ 663 h 2815"/>
                <a:gd name="T20" fmla="*/ 2604 w 2815"/>
                <a:gd name="T21" fmla="*/ 887 h 2815"/>
                <a:gd name="T22" fmla="*/ 2629 w 2815"/>
                <a:gd name="T23" fmla="*/ 924 h 2815"/>
                <a:gd name="T24" fmla="*/ 2430 w 2815"/>
                <a:gd name="T25" fmla="*/ 2304 h 2815"/>
                <a:gd name="T26" fmla="*/ 2408 w 2815"/>
                <a:gd name="T27" fmla="*/ 1822 h 2815"/>
                <a:gd name="T28" fmla="*/ 2271 w 2815"/>
                <a:gd name="T29" fmla="*/ 1433 h 2815"/>
                <a:gd name="T30" fmla="*/ 2060 w 2815"/>
                <a:gd name="T31" fmla="*/ 1326 h 2815"/>
                <a:gd name="T32" fmla="*/ 1753 w 2815"/>
                <a:gd name="T33" fmla="*/ 576 h 2815"/>
                <a:gd name="T34" fmla="*/ 991 w 2815"/>
                <a:gd name="T35" fmla="*/ 209 h 2815"/>
                <a:gd name="T36" fmla="*/ 2053 w 2815"/>
                <a:gd name="T37" fmla="*/ 2625 h 2815"/>
                <a:gd name="T38" fmla="*/ 1839 w 2815"/>
                <a:gd name="T39" fmla="*/ 2551 h 2815"/>
                <a:gd name="T40" fmla="*/ 1856 w 2815"/>
                <a:gd name="T41" fmla="*/ 2377 h 2815"/>
                <a:gd name="T42" fmla="*/ 2102 w 2815"/>
                <a:gd name="T43" fmla="*/ 1958 h 2815"/>
                <a:gd name="T44" fmla="*/ 1806 w 2815"/>
                <a:gd name="T45" fmla="*/ 841 h 2815"/>
                <a:gd name="T46" fmla="*/ 946 w 2815"/>
                <a:gd name="T47" fmla="*/ 116 h 2815"/>
                <a:gd name="T48" fmla="*/ 1173 w 2815"/>
                <a:gd name="T49" fmla="*/ 157 h 2815"/>
                <a:gd name="T50" fmla="*/ 813 w 2815"/>
                <a:gd name="T51" fmla="*/ 2683 h 2815"/>
                <a:gd name="T52" fmla="*/ 29 w 2815"/>
                <a:gd name="T53" fmla="*/ 1125 h 2815"/>
                <a:gd name="T54" fmla="*/ 1056 w 2815"/>
                <a:gd name="T55" fmla="*/ 45 h 2815"/>
                <a:gd name="T56" fmla="*/ 2493 w 2815"/>
                <a:gd name="T57" fmla="*/ 513 h 2815"/>
                <a:gd name="T58" fmla="*/ 2675 w 2815"/>
                <a:gd name="T59" fmla="*/ 2017 h 2815"/>
                <a:gd name="T60" fmla="*/ 1724 w 2815"/>
                <a:gd name="T61" fmla="*/ 2750 h 2815"/>
                <a:gd name="T62" fmla="*/ 1473 w 2815"/>
                <a:gd name="T63" fmla="*/ 2113 h 2815"/>
                <a:gd name="T64" fmla="*/ 1682 w 2815"/>
                <a:gd name="T65" fmla="*/ 1188 h 2815"/>
                <a:gd name="T66" fmla="*/ 1341 w 2815"/>
                <a:gd name="T67" fmla="*/ 33 h 2815"/>
                <a:gd name="T68" fmla="*/ 2143 w 2815"/>
                <a:gd name="T69" fmla="*/ 484 h 2815"/>
                <a:gd name="T70" fmla="*/ 659 w 2815"/>
                <a:gd name="T71" fmla="*/ 680 h 2815"/>
                <a:gd name="T72" fmla="*/ 445 w 2815"/>
                <a:gd name="T73" fmla="*/ 878 h 2815"/>
                <a:gd name="T74" fmla="*/ 36 w 2815"/>
                <a:gd name="T75" fmla="*/ 1313 h 2815"/>
                <a:gd name="T76" fmla="*/ 1803 w 2815"/>
                <a:gd name="T77" fmla="*/ 322 h 2815"/>
                <a:gd name="T78" fmla="*/ 2678 w 2815"/>
                <a:gd name="T79" fmla="*/ 951 h 2815"/>
                <a:gd name="T80" fmla="*/ 1826 w 2815"/>
                <a:gd name="T81" fmla="*/ 252 h 2815"/>
                <a:gd name="T82" fmla="*/ 2480 w 2815"/>
                <a:gd name="T83" fmla="*/ 540 h 2815"/>
                <a:gd name="T84" fmla="*/ 1300 w 2815"/>
                <a:gd name="T85" fmla="*/ 378 h 2815"/>
                <a:gd name="T86" fmla="*/ 318 w 2815"/>
                <a:gd name="T87" fmla="*/ 1083 h 2815"/>
                <a:gd name="T88" fmla="*/ 305 w 2815"/>
                <a:gd name="T89" fmla="*/ 1673 h 2815"/>
                <a:gd name="T90" fmla="*/ 278 w 2815"/>
                <a:gd name="T91" fmla="*/ 1812 h 2815"/>
                <a:gd name="T92" fmla="*/ 1984 w 2815"/>
                <a:gd name="T93" fmla="*/ 171 h 2815"/>
                <a:gd name="T94" fmla="*/ 1513 w 2815"/>
                <a:gd name="T95" fmla="*/ 278 h 2815"/>
                <a:gd name="T96" fmla="*/ 822 w 2815"/>
                <a:gd name="T97" fmla="*/ 804 h 2815"/>
                <a:gd name="T98" fmla="*/ 737 w 2815"/>
                <a:gd name="T99" fmla="*/ 1379 h 2815"/>
                <a:gd name="T100" fmla="*/ 687 w 2815"/>
                <a:gd name="T101" fmla="*/ 1539 h 2815"/>
                <a:gd name="T102" fmla="*/ 439 w 2815"/>
                <a:gd name="T103" fmla="*/ 1843 h 2815"/>
                <a:gd name="T104" fmla="*/ 1778 w 2815"/>
                <a:gd name="T105" fmla="*/ 84 h 2815"/>
                <a:gd name="T106" fmla="*/ 1563 w 2815"/>
                <a:gd name="T107" fmla="*/ 131 h 2815"/>
                <a:gd name="T108" fmla="*/ 1061 w 2815"/>
                <a:gd name="T109" fmla="*/ 1105 h 2815"/>
                <a:gd name="T110" fmla="*/ 1025 w 2815"/>
                <a:gd name="T111" fmla="*/ 1122 h 2815"/>
                <a:gd name="T112" fmla="*/ 623 w 2815"/>
                <a:gd name="T113" fmla="*/ 2043 h 2815"/>
                <a:gd name="T114" fmla="*/ 687 w 2815"/>
                <a:gd name="T115" fmla="*/ 2537 h 2815"/>
                <a:gd name="T116" fmla="*/ 976 w 2815"/>
                <a:gd name="T117" fmla="*/ 2672 h 2815"/>
                <a:gd name="T118" fmla="*/ 1361 w 2815"/>
                <a:gd name="T119" fmla="*/ 466 h 2815"/>
                <a:gd name="T120" fmla="*/ 1050 w 2815"/>
                <a:gd name="T121" fmla="*/ 1598 h 2815"/>
                <a:gd name="T122" fmla="*/ 988 w 2815"/>
                <a:gd name="T123" fmla="*/ 2150 h 2815"/>
                <a:gd name="T124" fmla="*/ 1341 w 2815"/>
                <a:gd name="T125" fmla="*/ 2479 h 28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15" h="2815">
                  <a:moveTo>
                    <a:pt x="1421" y="1150"/>
                  </a:moveTo>
                  <a:lnTo>
                    <a:pt x="1453" y="1150"/>
                  </a:lnTo>
                  <a:lnTo>
                    <a:pt x="1484" y="1148"/>
                  </a:lnTo>
                  <a:lnTo>
                    <a:pt x="1517" y="1146"/>
                  </a:lnTo>
                  <a:lnTo>
                    <a:pt x="1548" y="1143"/>
                  </a:lnTo>
                  <a:lnTo>
                    <a:pt x="1578" y="1140"/>
                  </a:lnTo>
                  <a:lnTo>
                    <a:pt x="1608" y="1135"/>
                  </a:lnTo>
                  <a:lnTo>
                    <a:pt x="1637" y="1130"/>
                  </a:lnTo>
                  <a:lnTo>
                    <a:pt x="1667" y="1125"/>
                  </a:lnTo>
                  <a:lnTo>
                    <a:pt x="1655" y="1074"/>
                  </a:lnTo>
                  <a:lnTo>
                    <a:pt x="1641" y="1022"/>
                  </a:lnTo>
                  <a:lnTo>
                    <a:pt x="1627" y="972"/>
                  </a:lnTo>
                  <a:lnTo>
                    <a:pt x="1613" y="922"/>
                  </a:lnTo>
                  <a:lnTo>
                    <a:pt x="1598" y="872"/>
                  </a:lnTo>
                  <a:lnTo>
                    <a:pt x="1584" y="824"/>
                  </a:lnTo>
                  <a:lnTo>
                    <a:pt x="1570" y="777"/>
                  </a:lnTo>
                  <a:lnTo>
                    <a:pt x="1553" y="729"/>
                  </a:lnTo>
                  <a:lnTo>
                    <a:pt x="1521" y="736"/>
                  </a:lnTo>
                  <a:lnTo>
                    <a:pt x="1489" y="741"/>
                  </a:lnTo>
                  <a:lnTo>
                    <a:pt x="1455" y="743"/>
                  </a:lnTo>
                  <a:lnTo>
                    <a:pt x="1421" y="745"/>
                  </a:lnTo>
                  <a:lnTo>
                    <a:pt x="1421" y="1150"/>
                  </a:lnTo>
                  <a:close/>
                  <a:moveTo>
                    <a:pt x="2574" y="2144"/>
                  </a:moveTo>
                  <a:lnTo>
                    <a:pt x="2587" y="2122"/>
                  </a:lnTo>
                  <a:lnTo>
                    <a:pt x="2598" y="2100"/>
                  </a:lnTo>
                  <a:lnTo>
                    <a:pt x="2610" y="2077"/>
                  </a:lnTo>
                  <a:lnTo>
                    <a:pt x="2621" y="2055"/>
                  </a:lnTo>
                  <a:lnTo>
                    <a:pt x="2630" y="2032"/>
                  </a:lnTo>
                  <a:lnTo>
                    <a:pt x="2640" y="2011"/>
                  </a:lnTo>
                  <a:lnTo>
                    <a:pt x="2649" y="1987"/>
                  </a:lnTo>
                  <a:lnTo>
                    <a:pt x="2657" y="1966"/>
                  </a:lnTo>
                  <a:lnTo>
                    <a:pt x="2628" y="2001"/>
                  </a:lnTo>
                  <a:lnTo>
                    <a:pt x="2598" y="2036"/>
                  </a:lnTo>
                  <a:lnTo>
                    <a:pt x="2566" y="2069"/>
                  </a:lnTo>
                  <a:lnTo>
                    <a:pt x="2531" y="2102"/>
                  </a:lnTo>
                  <a:lnTo>
                    <a:pt x="2527" y="2125"/>
                  </a:lnTo>
                  <a:lnTo>
                    <a:pt x="2522" y="2146"/>
                  </a:lnTo>
                  <a:lnTo>
                    <a:pt x="2516" y="2169"/>
                  </a:lnTo>
                  <a:lnTo>
                    <a:pt x="2510" y="2191"/>
                  </a:lnTo>
                  <a:lnTo>
                    <a:pt x="2503" y="2212"/>
                  </a:lnTo>
                  <a:lnTo>
                    <a:pt x="2495" y="2234"/>
                  </a:lnTo>
                  <a:lnTo>
                    <a:pt x="2485" y="2255"/>
                  </a:lnTo>
                  <a:lnTo>
                    <a:pt x="2476" y="2275"/>
                  </a:lnTo>
                  <a:lnTo>
                    <a:pt x="2488" y="2262"/>
                  </a:lnTo>
                  <a:lnTo>
                    <a:pt x="2499" y="2248"/>
                  </a:lnTo>
                  <a:lnTo>
                    <a:pt x="2511" y="2234"/>
                  </a:lnTo>
                  <a:lnTo>
                    <a:pt x="2521" y="2220"/>
                  </a:lnTo>
                  <a:lnTo>
                    <a:pt x="2521" y="2221"/>
                  </a:lnTo>
                  <a:lnTo>
                    <a:pt x="2535" y="2202"/>
                  </a:lnTo>
                  <a:lnTo>
                    <a:pt x="2549" y="2183"/>
                  </a:lnTo>
                  <a:lnTo>
                    <a:pt x="2561" y="2164"/>
                  </a:lnTo>
                  <a:lnTo>
                    <a:pt x="2574" y="2144"/>
                  </a:lnTo>
                  <a:close/>
                  <a:moveTo>
                    <a:pt x="2680" y="1881"/>
                  </a:moveTo>
                  <a:lnTo>
                    <a:pt x="2685" y="1860"/>
                  </a:lnTo>
                  <a:lnTo>
                    <a:pt x="2688" y="1837"/>
                  </a:lnTo>
                  <a:lnTo>
                    <a:pt x="2692" y="1815"/>
                  </a:lnTo>
                  <a:lnTo>
                    <a:pt x="2695" y="1793"/>
                  </a:lnTo>
                  <a:lnTo>
                    <a:pt x="2697" y="1770"/>
                  </a:lnTo>
                  <a:lnTo>
                    <a:pt x="2698" y="1748"/>
                  </a:lnTo>
                  <a:lnTo>
                    <a:pt x="2700" y="1726"/>
                  </a:lnTo>
                  <a:lnTo>
                    <a:pt x="2701" y="1703"/>
                  </a:lnTo>
                  <a:lnTo>
                    <a:pt x="2700" y="1659"/>
                  </a:lnTo>
                  <a:lnTo>
                    <a:pt x="2697" y="1614"/>
                  </a:lnTo>
                  <a:lnTo>
                    <a:pt x="2692" y="1570"/>
                  </a:lnTo>
                  <a:lnTo>
                    <a:pt x="2685" y="1525"/>
                  </a:lnTo>
                  <a:lnTo>
                    <a:pt x="2669" y="1552"/>
                  </a:lnTo>
                  <a:lnTo>
                    <a:pt x="2651" y="1578"/>
                  </a:lnTo>
                  <a:lnTo>
                    <a:pt x="2632" y="1605"/>
                  </a:lnTo>
                  <a:lnTo>
                    <a:pt x="2612" y="1630"/>
                  </a:lnTo>
                  <a:lnTo>
                    <a:pt x="2591" y="1656"/>
                  </a:lnTo>
                  <a:lnTo>
                    <a:pt x="2569" y="1680"/>
                  </a:lnTo>
                  <a:lnTo>
                    <a:pt x="2546" y="1704"/>
                  </a:lnTo>
                  <a:lnTo>
                    <a:pt x="2522" y="1727"/>
                  </a:lnTo>
                  <a:lnTo>
                    <a:pt x="2530" y="1770"/>
                  </a:lnTo>
                  <a:lnTo>
                    <a:pt x="2536" y="1812"/>
                  </a:lnTo>
                  <a:lnTo>
                    <a:pt x="2541" y="1855"/>
                  </a:lnTo>
                  <a:lnTo>
                    <a:pt x="2544" y="1896"/>
                  </a:lnTo>
                  <a:lnTo>
                    <a:pt x="2545" y="1938"/>
                  </a:lnTo>
                  <a:lnTo>
                    <a:pt x="2544" y="1978"/>
                  </a:lnTo>
                  <a:lnTo>
                    <a:pt x="2543" y="2019"/>
                  </a:lnTo>
                  <a:lnTo>
                    <a:pt x="2538" y="2058"/>
                  </a:lnTo>
                  <a:lnTo>
                    <a:pt x="2559" y="2037"/>
                  </a:lnTo>
                  <a:lnTo>
                    <a:pt x="2579" y="2016"/>
                  </a:lnTo>
                  <a:lnTo>
                    <a:pt x="2598" y="1994"/>
                  </a:lnTo>
                  <a:lnTo>
                    <a:pt x="2617" y="1972"/>
                  </a:lnTo>
                  <a:lnTo>
                    <a:pt x="2634" y="1951"/>
                  </a:lnTo>
                  <a:lnTo>
                    <a:pt x="2650" y="1928"/>
                  </a:lnTo>
                  <a:lnTo>
                    <a:pt x="2665" y="1905"/>
                  </a:lnTo>
                  <a:lnTo>
                    <a:pt x="2680" y="1881"/>
                  </a:lnTo>
                  <a:close/>
                  <a:moveTo>
                    <a:pt x="2677" y="1485"/>
                  </a:moveTo>
                  <a:lnTo>
                    <a:pt x="2666" y="1444"/>
                  </a:lnTo>
                  <a:lnTo>
                    <a:pt x="2654" y="1402"/>
                  </a:lnTo>
                  <a:lnTo>
                    <a:pt x="2640" y="1362"/>
                  </a:lnTo>
                  <a:lnTo>
                    <a:pt x="2625" y="1322"/>
                  </a:lnTo>
                  <a:lnTo>
                    <a:pt x="2607" y="1281"/>
                  </a:lnTo>
                  <a:lnTo>
                    <a:pt x="2589" y="1242"/>
                  </a:lnTo>
                  <a:lnTo>
                    <a:pt x="2568" y="1203"/>
                  </a:lnTo>
                  <a:lnTo>
                    <a:pt x="2548" y="1164"/>
                  </a:lnTo>
                  <a:lnTo>
                    <a:pt x="2531" y="1188"/>
                  </a:lnTo>
                  <a:lnTo>
                    <a:pt x="2515" y="1211"/>
                  </a:lnTo>
                  <a:lnTo>
                    <a:pt x="2497" y="1235"/>
                  </a:lnTo>
                  <a:lnTo>
                    <a:pt x="2478" y="1257"/>
                  </a:lnTo>
                  <a:lnTo>
                    <a:pt x="2458" y="1280"/>
                  </a:lnTo>
                  <a:lnTo>
                    <a:pt x="2437" y="1302"/>
                  </a:lnTo>
                  <a:lnTo>
                    <a:pt x="2414" y="1323"/>
                  </a:lnTo>
                  <a:lnTo>
                    <a:pt x="2391" y="1343"/>
                  </a:lnTo>
                  <a:lnTo>
                    <a:pt x="2410" y="1386"/>
                  </a:lnTo>
                  <a:lnTo>
                    <a:pt x="2429" y="1430"/>
                  </a:lnTo>
                  <a:lnTo>
                    <a:pt x="2446" y="1472"/>
                  </a:lnTo>
                  <a:lnTo>
                    <a:pt x="2462" y="1515"/>
                  </a:lnTo>
                  <a:lnTo>
                    <a:pt x="2470" y="1538"/>
                  </a:lnTo>
                  <a:lnTo>
                    <a:pt x="2478" y="1560"/>
                  </a:lnTo>
                  <a:lnTo>
                    <a:pt x="2485" y="1583"/>
                  </a:lnTo>
                  <a:lnTo>
                    <a:pt x="2492" y="1606"/>
                  </a:lnTo>
                  <a:lnTo>
                    <a:pt x="2498" y="1628"/>
                  </a:lnTo>
                  <a:lnTo>
                    <a:pt x="2505" y="1651"/>
                  </a:lnTo>
                  <a:lnTo>
                    <a:pt x="2511" y="1673"/>
                  </a:lnTo>
                  <a:lnTo>
                    <a:pt x="2515" y="1696"/>
                  </a:lnTo>
                  <a:lnTo>
                    <a:pt x="2539" y="1672"/>
                  </a:lnTo>
                  <a:lnTo>
                    <a:pt x="2563" y="1646"/>
                  </a:lnTo>
                  <a:lnTo>
                    <a:pt x="2586" y="1621"/>
                  </a:lnTo>
                  <a:lnTo>
                    <a:pt x="2606" y="1595"/>
                  </a:lnTo>
                  <a:lnTo>
                    <a:pt x="2625" y="1568"/>
                  </a:lnTo>
                  <a:lnTo>
                    <a:pt x="2643" y="1540"/>
                  </a:lnTo>
                  <a:lnTo>
                    <a:pt x="2660" y="1513"/>
                  </a:lnTo>
                  <a:lnTo>
                    <a:pt x="2677" y="1485"/>
                  </a:lnTo>
                  <a:close/>
                  <a:moveTo>
                    <a:pt x="2531" y="1137"/>
                  </a:moveTo>
                  <a:lnTo>
                    <a:pt x="2523" y="1123"/>
                  </a:lnTo>
                  <a:lnTo>
                    <a:pt x="2514" y="1110"/>
                  </a:lnTo>
                  <a:lnTo>
                    <a:pt x="2506" y="1096"/>
                  </a:lnTo>
                  <a:lnTo>
                    <a:pt x="2497" y="1083"/>
                  </a:lnTo>
                  <a:lnTo>
                    <a:pt x="2470" y="1045"/>
                  </a:lnTo>
                  <a:lnTo>
                    <a:pt x="2443" y="1008"/>
                  </a:lnTo>
                  <a:lnTo>
                    <a:pt x="2414" y="971"/>
                  </a:lnTo>
                  <a:lnTo>
                    <a:pt x="2384" y="936"/>
                  </a:lnTo>
                  <a:lnTo>
                    <a:pt x="2353" y="900"/>
                  </a:lnTo>
                  <a:lnTo>
                    <a:pt x="2321" y="865"/>
                  </a:lnTo>
                  <a:lnTo>
                    <a:pt x="2286" y="832"/>
                  </a:lnTo>
                  <a:lnTo>
                    <a:pt x="2251" y="798"/>
                  </a:lnTo>
                  <a:lnTo>
                    <a:pt x="2241" y="817"/>
                  </a:lnTo>
                  <a:lnTo>
                    <a:pt x="2228" y="834"/>
                  </a:lnTo>
                  <a:lnTo>
                    <a:pt x="2216" y="853"/>
                  </a:lnTo>
                  <a:lnTo>
                    <a:pt x="2202" y="870"/>
                  </a:lnTo>
                  <a:lnTo>
                    <a:pt x="2187" y="886"/>
                  </a:lnTo>
                  <a:lnTo>
                    <a:pt x="2172" y="903"/>
                  </a:lnTo>
                  <a:lnTo>
                    <a:pt x="2156" y="919"/>
                  </a:lnTo>
                  <a:lnTo>
                    <a:pt x="2139" y="936"/>
                  </a:lnTo>
                  <a:lnTo>
                    <a:pt x="2173" y="982"/>
                  </a:lnTo>
                  <a:lnTo>
                    <a:pt x="2207" y="1028"/>
                  </a:lnTo>
                  <a:lnTo>
                    <a:pt x="2239" y="1075"/>
                  </a:lnTo>
                  <a:lnTo>
                    <a:pt x="2269" y="1123"/>
                  </a:lnTo>
                  <a:lnTo>
                    <a:pt x="2299" y="1172"/>
                  </a:lnTo>
                  <a:lnTo>
                    <a:pt x="2326" y="1220"/>
                  </a:lnTo>
                  <a:lnTo>
                    <a:pt x="2354" y="1269"/>
                  </a:lnTo>
                  <a:lnTo>
                    <a:pt x="2378" y="1318"/>
                  </a:lnTo>
                  <a:lnTo>
                    <a:pt x="2401" y="1297"/>
                  </a:lnTo>
                  <a:lnTo>
                    <a:pt x="2424" y="1275"/>
                  </a:lnTo>
                  <a:lnTo>
                    <a:pt x="2445" y="1254"/>
                  </a:lnTo>
                  <a:lnTo>
                    <a:pt x="2465" y="1232"/>
                  </a:lnTo>
                  <a:lnTo>
                    <a:pt x="2483" y="1209"/>
                  </a:lnTo>
                  <a:lnTo>
                    <a:pt x="2500" y="1184"/>
                  </a:lnTo>
                  <a:lnTo>
                    <a:pt x="2516" y="1161"/>
                  </a:lnTo>
                  <a:lnTo>
                    <a:pt x="2531" y="1137"/>
                  </a:lnTo>
                  <a:close/>
                  <a:moveTo>
                    <a:pt x="2231" y="779"/>
                  </a:moveTo>
                  <a:lnTo>
                    <a:pt x="2209" y="760"/>
                  </a:lnTo>
                  <a:lnTo>
                    <a:pt x="2187" y="741"/>
                  </a:lnTo>
                  <a:lnTo>
                    <a:pt x="2164" y="722"/>
                  </a:lnTo>
                  <a:lnTo>
                    <a:pt x="2142" y="704"/>
                  </a:lnTo>
                  <a:lnTo>
                    <a:pt x="2118" y="686"/>
                  </a:lnTo>
                  <a:lnTo>
                    <a:pt x="2095" y="668"/>
                  </a:lnTo>
                  <a:lnTo>
                    <a:pt x="2071" y="650"/>
                  </a:lnTo>
                  <a:lnTo>
                    <a:pt x="2046" y="634"/>
                  </a:lnTo>
                  <a:lnTo>
                    <a:pt x="2025" y="619"/>
                  </a:lnTo>
                  <a:lnTo>
                    <a:pt x="2003" y="604"/>
                  </a:lnTo>
                  <a:lnTo>
                    <a:pt x="1980" y="589"/>
                  </a:lnTo>
                  <a:lnTo>
                    <a:pt x="1957" y="575"/>
                  </a:lnTo>
                  <a:lnTo>
                    <a:pt x="1935" y="561"/>
                  </a:lnTo>
                  <a:lnTo>
                    <a:pt x="1910" y="547"/>
                  </a:lnTo>
                  <a:lnTo>
                    <a:pt x="1887" y="535"/>
                  </a:lnTo>
                  <a:lnTo>
                    <a:pt x="1864" y="522"/>
                  </a:lnTo>
                  <a:lnTo>
                    <a:pt x="1854" y="540"/>
                  </a:lnTo>
                  <a:lnTo>
                    <a:pt x="1843" y="558"/>
                  </a:lnTo>
                  <a:lnTo>
                    <a:pt x="1830" y="575"/>
                  </a:lnTo>
                  <a:lnTo>
                    <a:pt x="1815" y="592"/>
                  </a:lnTo>
                  <a:lnTo>
                    <a:pt x="1856" y="629"/>
                  </a:lnTo>
                  <a:lnTo>
                    <a:pt x="1897" y="666"/>
                  </a:lnTo>
                  <a:lnTo>
                    <a:pt x="1936" y="705"/>
                  </a:lnTo>
                  <a:lnTo>
                    <a:pt x="1975" y="745"/>
                  </a:lnTo>
                  <a:lnTo>
                    <a:pt x="2013" y="786"/>
                  </a:lnTo>
                  <a:lnTo>
                    <a:pt x="2050" y="827"/>
                  </a:lnTo>
                  <a:lnTo>
                    <a:pt x="2087" y="870"/>
                  </a:lnTo>
                  <a:lnTo>
                    <a:pt x="2121" y="914"/>
                  </a:lnTo>
                  <a:lnTo>
                    <a:pt x="2139" y="898"/>
                  </a:lnTo>
                  <a:lnTo>
                    <a:pt x="2154" y="883"/>
                  </a:lnTo>
                  <a:lnTo>
                    <a:pt x="2169" y="865"/>
                  </a:lnTo>
                  <a:lnTo>
                    <a:pt x="2184" y="849"/>
                  </a:lnTo>
                  <a:lnTo>
                    <a:pt x="2196" y="832"/>
                  </a:lnTo>
                  <a:lnTo>
                    <a:pt x="2209" y="815"/>
                  </a:lnTo>
                  <a:lnTo>
                    <a:pt x="2220" y="797"/>
                  </a:lnTo>
                  <a:lnTo>
                    <a:pt x="2231" y="779"/>
                  </a:lnTo>
                  <a:close/>
                  <a:moveTo>
                    <a:pt x="1840" y="508"/>
                  </a:moveTo>
                  <a:lnTo>
                    <a:pt x="1801" y="489"/>
                  </a:lnTo>
                  <a:lnTo>
                    <a:pt x="1761" y="470"/>
                  </a:lnTo>
                  <a:lnTo>
                    <a:pt x="1720" y="452"/>
                  </a:lnTo>
                  <a:lnTo>
                    <a:pt x="1680" y="436"/>
                  </a:lnTo>
                  <a:lnTo>
                    <a:pt x="1640" y="419"/>
                  </a:lnTo>
                  <a:lnTo>
                    <a:pt x="1598" y="404"/>
                  </a:lnTo>
                  <a:lnTo>
                    <a:pt x="1557" y="391"/>
                  </a:lnTo>
                  <a:lnTo>
                    <a:pt x="1515" y="378"/>
                  </a:lnTo>
                  <a:lnTo>
                    <a:pt x="1540" y="393"/>
                  </a:lnTo>
                  <a:lnTo>
                    <a:pt x="1564" y="407"/>
                  </a:lnTo>
                  <a:lnTo>
                    <a:pt x="1587" y="422"/>
                  </a:lnTo>
                  <a:lnTo>
                    <a:pt x="1611" y="437"/>
                  </a:lnTo>
                  <a:lnTo>
                    <a:pt x="1634" y="453"/>
                  </a:lnTo>
                  <a:lnTo>
                    <a:pt x="1657" y="469"/>
                  </a:lnTo>
                  <a:lnTo>
                    <a:pt x="1681" y="486"/>
                  </a:lnTo>
                  <a:lnTo>
                    <a:pt x="1703" y="502"/>
                  </a:lnTo>
                  <a:lnTo>
                    <a:pt x="1726" y="520"/>
                  </a:lnTo>
                  <a:lnTo>
                    <a:pt x="1749" y="538"/>
                  </a:lnTo>
                  <a:lnTo>
                    <a:pt x="1771" y="555"/>
                  </a:lnTo>
                  <a:lnTo>
                    <a:pt x="1794" y="575"/>
                  </a:lnTo>
                  <a:lnTo>
                    <a:pt x="1808" y="559"/>
                  </a:lnTo>
                  <a:lnTo>
                    <a:pt x="1819" y="543"/>
                  </a:lnTo>
                  <a:lnTo>
                    <a:pt x="1831" y="525"/>
                  </a:lnTo>
                  <a:lnTo>
                    <a:pt x="1840" y="508"/>
                  </a:lnTo>
                  <a:close/>
                  <a:moveTo>
                    <a:pt x="1276" y="328"/>
                  </a:moveTo>
                  <a:lnTo>
                    <a:pt x="1238" y="325"/>
                  </a:lnTo>
                  <a:lnTo>
                    <a:pt x="1200" y="322"/>
                  </a:lnTo>
                  <a:lnTo>
                    <a:pt x="1162" y="319"/>
                  </a:lnTo>
                  <a:lnTo>
                    <a:pt x="1124" y="318"/>
                  </a:lnTo>
                  <a:lnTo>
                    <a:pt x="1087" y="318"/>
                  </a:lnTo>
                  <a:lnTo>
                    <a:pt x="1049" y="319"/>
                  </a:lnTo>
                  <a:lnTo>
                    <a:pt x="1011" y="322"/>
                  </a:lnTo>
                  <a:lnTo>
                    <a:pt x="974" y="325"/>
                  </a:lnTo>
                  <a:lnTo>
                    <a:pt x="967" y="339"/>
                  </a:lnTo>
                  <a:lnTo>
                    <a:pt x="962" y="353"/>
                  </a:lnTo>
                  <a:lnTo>
                    <a:pt x="959" y="366"/>
                  </a:lnTo>
                  <a:lnTo>
                    <a:pt x="955" y="381"/>
                  </a:lnTo>
                  <a:lnTo>
                    <a:pt x="994" y="372"/>
                  </a:lnTo>
                  <a:lnTo>
                    <a:pt x="1033" y="363"/>
                  </a:lnTo>
                  <a:lnTo>
                    <a:pt x="1072" y="355"/>
                  </a:lnTo>
                  <a:lnTo>
                    <a:pt x="1112" y="348"/>
                  </a:lnTo>
                  <a:lnTo>
                    <a:pt x="1152" y="342"/>
                  </a:lnTo>
                  <a:lnTo>
                    <a:pt x="1193" y="336"/>
                  </a:lnTo>
                  <a:lnTo>
                    <a:pt x="1234" y="333"/>
                  </a:lnTo>
                  <a:lnTo>
                    <a:pt x="1276" y="328"/>
                  </a:lnTo>
                  <a:close/>
                  <a:moveTo>
                    <a:pt x="942" y="328"/>
                  </a:moveTo>
                  <a:lnTo>
                    <a:pt x="893" y="335"/>
                  </a:lnTo>
                  <a:lnTo>
                    <a:pt x="845" y="345"/>
                  </a:lnTo>
                  <a:lnTo>
                    <a:pt x="797" y="356"/>
                  </a:lnTo>
                  <a:lnTo>
                    <a:pt x="748" y="370"/>
                  </a:lnTo>
                  <a:lnTo>
                    <a:pt x="701" y="386"/>
                  </a:lnTo>
                  <a:lnTo>
                    <a:pt x="655" y="403"/>
                  </a:lnTo>
                  <a:lnTo>
                    <a:pt x="608" y="423"/>
                  </a:lnTo>
                  <a:lnTo>
                    <a:pt x="563" y="446"/>
                  </a:lnTo>
                  <a:lnTo>
                    <a:pt x="552" y="474"/>
                  </a:lnTo>
                  <a:lnTo>
                    <a:pt x="543" y="501"/>
                  </a:lnTo>
                  <a:lnTo>
                    <a:pt x="541" y="516"/>
                  </a:lnTo>
                  <a:lnTo>
                    <a:pt x="537" y="530"/>
                  </a:lnTo>
                  <a:lnTo>
                    <a:pt x="535" y="545"/>
                  </a:lnTo>
                  <a:lnTo>
                    <a:pt x="534" y="559"/>
                  </a:lnTo>
                  <a:lnTo>
                    <a:pt x="579" y="532"/>
                  </a:lnTo>
                  <a:lnTo>
                    <a:pt x="624" y="508"/>
                  </a:lnTo>
                  <a:lnTo>
                    <a:pt x="671" y="484"/>
                  </a:lnTo>
                  <a:lnTo>
                    <a:pt x="720" y="462"/>
                  </a:lnTo>
                  <a:lnTo>
                    <a:pt x="770" y="441"/>
                  </a:lnTo>
                  <a:lnTo>
                    <a:pt x="821" y="423"/>
                  </a:lnTo>
                  <a:lnTo>
                    <a:pt x="874" y="406"/>
                  </a:lnTo>
                  <a:lnTo>
                    <a:pt x="927" y="389"/>
                  </a:lnTo>
                  <a:lnTo>
                    <a:pt x="929" y="373"/>
                  </a:lnTo>
                  <a:lnTo>
                    <a:pt x="932" y="358"/>
                  </a:lnTo>
                  <a:lnTo>
                    <a:pt x="937" y="343"/>
                  </a:lnTo>
                  <a:lnTo>
                    <a:pt x="942" y="328"/>
                  </a:lnTo>
                  <a:close/>
                  <a:moveTo>
                    <a:pt x="526" y="466"/>
                  </a:moveTo>
                  <a:lnTo>
                    <a:pt x="489" y="487"/>
                  </a:lnTo>
                  <a:lnTo>
                    <a:pt x="453" y="510"/>
                  </a:lnTo>
                  <a:lnTo>
                    <a:pt x="419" y="535"/>
                  </a:lnTo>
                  <a:lnTo>
                    <a:pt x="383" y="561"/>
                  </a:lnTo>
                  <a:lnTo>
                    <a:pt x="350" y="589"/>
                  </a:lnTo>
                  <a:lnTo>
                    <a:pt x="316" y="619"/>
                  </a:lnTo>
                  <a:lnTo>
                    <a:pt x="283" y="650"/>
                  </a:lnTo>
                  <a:lnTo>
                    <a:pt x="250" y="683"/>
                  </a:lnTo>
                  <a:lnTo>
                    <a:pt x="248" y="689"/>
                  </a:lnTo>
                  <a:lnTo>
                    <a:pt x="246" y="696"/>
                  </a:lnTo>
                  <a:lnTo>
                    <a:pt x="239" y="713"/>
                  </a:lnTo>
                  <a:lnTo>
                    <a:pt x="233" y="731"/>
                  </a:lnTo>
                  <a:lnTo>
                    <a:pt x="227" y="749"/>
                  </a:lnTo>
                  <a:lnTo>
                    <a:pt x="223" y="767"/>
                  </a:lnTo>
                  <a:lnTo>
                    <a:pt x="219" y="786"/>
                  </a:lnTo>
                  <a:lnTo>
                    <a:pt x="216" y="804"/>
                  </a:lnTo>
                  <a:lnTo>
                    <a:pt x="214" y="823"/>
                  </a:lnTo>
                  <a:lnTo>
                    <a:pt x="212" y="841"/>
                  </a:lnTo>
                  <a:lnTo>
                    <a:pt x="233" y="815"/>
                  </a:lnTo>
                  <a:lnTo>
                    <a:pt x="256" y="788"/>
                  </a:lnTo>
                  <a:lnTo>
                    <a:pt x="280" y="763"/>
                  </a:lnTo>
                  <a:lnTo>
                    <a:pt x="305" y="737"/>
                  </a:lnTo>
                  <a:lnTo>
                    <a:pt x="330" y="713"/>
                  </a:lnTo>
                  <a:lnTo>
                    <a:pt x="356" y="689"/>
                  </a:lnTo>
                  <a:lnTo>
                    <a:pt x="383" y="666"/>
                  </a:lnTo>
                  <a:lnTo>
                    <a:pt x="412" y="644"/>
                  </a:lnTo>
                  <a:lnTo>
                    <a:pt x="434" y="627"/>
                  </a:lnTo>
                  <a:lnTo>
                    <a:pt x="458" y="610"/>
                  </a:lnTo>
                  <a:lnTo>
                    <a:pt x="481" y="593"/>
                  </a:lnTo>
                  <a:lnTo>
                    <a:pt x="505" y="577"/>
                  </a:lnTo>
                  <a:lnTo>
                    <a:pt x="507" y="548"/>
                  </a:lnTo>
                  <a:lnTo>
                    <a:pt x="512" y="521"/>
                  </a:lnTo>
                  <a:lnTo>
                    <a:pt x="518" y="493"/>
                  </a:lnTo>
                  <a:lnTo>
                    <a:pt x="526" y="466"/>
                  </a:lnTo>
                  <a:close/>
                  <a:moveTo>
                    <a:pt x="203" y="737"/>
                  </a:moveTo>
                  <a:lnTo>
                    <a:pt x="200" y="741"/>
                  </a:lnTo>
                  <a:lnTo>
                    <a:pt x="181" y="774"/>
                  </a:lnTo>
                  <a:lnTo>
                    <a:pt x="165" y="807"/>
                  </a:lnTo>
                  <a:lnTo>
                    <a:pt x="149" y="841"/>
                  </a:lnTo>
                  <a:lnTo>
                    <a:pt x="134" y="875"/>
                  </a:lnTo>
                  <a:lnTo>
                    <a:pt x="120" y="909"/>
                  </a:lnTo>
                  <a:lnTo>
                    <a:pt x="108" y="945"/>
                  </a:lnTo>
                  <a:lnTo>
                    <a:pt x="95" y="981"/>
                  </a:lnTo>
                  <a:lnTo>
                    <a:pt x="85" y="1016"/>
                  </a:lnTo>
                  <a:lnTo>
                    <a:pt x="87" y="1016"/>
                  </a:lnTo>
                  <a:lnTo>
                    <a:pt x="82" y="1031"/>
                  </a:lnTo>
                  <a:lnTo>
                    <a:pt x="79" y="1046"/>
                  </a:lnTo>
                  <a:lnTo>
                    <a:pt x="75" y="1061"/>
                  </a:lnTo>
                  <a:lnTo>
                    <a:pt x="73" y="1076"/>
                  </a:lnTo>
                  <a:lnTo>
                    <a:pt x="83" y="1050"/>
                  </a:lnTo>
                  <a:lnTo>
                    <a:pt x="96" y="1024"/>
                  </a:lnTo>
                  <a:lnTo>
                    <a:pt x="109" y="1000"/>
                  </a:lnTo>
                  <a:lnTo>
                    <a:pt x="123" y="975"/>
                  </a:lnTo>
                  <a:lnTo>
                    <a:pt x="136" y="951"/>
                  </a:lnTo>
                  <a:lnTo>
                    <a:pt x="151" y="926"/>
                  </a:lnTo>
                  <a:lnTo>
                    <a:pt x="166" y="902"/>
                  </a:lnTo>
                  <a:lnTo>
                    <a:pt x="184" y="879"/>
                  </a:lnTo>
                  <a:lnTo>
                    <a:pt x="184" y="878"/>
                  </a:lnTo>
                  <a:lnTo>
                    <a:pt x="184" y="878"/>
                  </a:lnTo>
                  <a:lnTo>
                    <a:pt x="184" y="860"/>
                  </a:lnTo>
                  <a:lnTo>
                    <a:pt x="185" y="841"/>
                  </a:lnTo>
                  <a:lnTo>
                    <a:pt x="186" y="824"/>
                  </a:lnTo>
                  <a:lnTo>
                    <a:pt x="188" y="807"/>
                  </a:lnTo>
                  <a:lnTo>
                    <a:pt x="191" y="789"/>
                  </a:lnTo>
                  <a:lnTo>
                    <a:pt x="194" y="771"/>
                  </a:lnTo>
                  <a:lnTo>
                    <a:pt x="199" y="754"/>
                  </a:lnTo>
                  <a:lnTo>
                    <a:pt x="203" y="737"/>
                  </a:lnTo>
                  <a:close/>
                  <a:moveTo>
                    <a:pt x="292" y="604"/>
                  </a:moveTo>
                  <a:lnTo>
                    <a:pt x="322" y="576"/>
                  </a:lnTo>
                  <a:lnTo>
                    <a:pt x="352" y="551"/>
                  </a:lnTo>
                  <a:lnTo>
                    <a:pt x="383" y="528"/>
                  </a:lnTo>
                  <a:lnTo>
                    <a:pt x="414" y="505"/>
                  </a:lnTo>
                  <a:lnTo>
                    <a:pt x="445" y="483"/>
                  </a:lnTo>
                  <a:lnTo>
                    <a:pt x="476" y="463"/>
                  </a:lnTo>
                  <a:lnTo>
                    <a:pt x="509" y="444"/>
                  </a:lnTo>
                  <a:lnTo>
                    <a:pt x="541" y="425"/>
                  </a:lnTo>
                  <a:lnTo>
                    <a:pt x="549" y="409"/>
                  </a:lnTo>
                  <a:lnTo>
                    <a:pt x="558" y="393"/>
                  </a:lnTo>
                  <a:lnTo>
                    <a:pt x="567" y="377"/>
                  </a:lnTo>
                  <a:lnTo>
                    <a:pt x="578" y="361"/>
                  </a:lnTo>
                  <a:lnTo>
                    <a:pt x="588" y="345"/>
                  </a:lnTo>
                  <a:lnTo>
                    <a:pt x="600" y="330"/>
                  </a:lnTo>
                  <a:lnTo>
                    <a:pt x="612" y="313"/>
                  </a:lnTo>
                  <a:lnTo>
                    <a:pt x="625" y="298"/>
                  </a:lnTo>
                  <a:lnTo>
                    <a:pt x="595" y="312"/>
                  </a:lnTo>
                  <a:lnTo>
                    <a:pt x="566" y="327"/>
                  </a:lnTo>
                  <a:lnTo>
                    <a:pt x="537" y="343"/>
                  </a:lnTo>
                  <a:lnTo>
                    <a:pt x="509" y="361"/>
                  </a:lnTo>
                  <a:lnTo>
                    <a:pt x="509" y="361"/>
                  </a:lnTo>
                  <a:lnTo>
                    <a:pt x="489" y="378"/>
                  </a:lnTo>
                  <a:lnTo>
                    <a:pt x="469" y="396"/>
                  </a:lnTo>
                  <a:lnTo>
                    <a:pt x="451" y="414"/>
                  </a:lnTo>
                  <a:lnTo>
                    <a:pt x="431" y="432"/>
                  </a:lnTo>
                  <a:lnTo>
                    <a:pt x="411" y="454"/>
                  </a:lnTo>
                  <a:lnTo>
                    <a:pt x="390" y="477"/>
                  </a:lnTo>
                  <a:lnTo>
                    <a:pt x="369" y="500"/>
                  </a:lnTo>
                  <a:lnTo>
                    <a:pt x="348" y="523"/>
                  </a:lnTo>
                  <a:lnTo>
                    <a:pt x="350" y="524"/>
                  </a:lnTo>
                  <a:lnTo>
                    <a:pt x="335" y="544"/>
                  </a:lnTo>
                  <a:lnTo>
                    <a:pt x="320" y="563"/>
                  </a:lnTo>
                  <a:lnTo>
                    <a:pt x="306" y="583"/>
                  </a:lnTo>
                  <a:lnTo>
                    <a:pt x="292" y="604"/>
                  </a:lnTo>
                  <a:close/>
                  <a:moveTo>
                    <a:pt x="582" y="406"/>
                  </a:moveTo>
                  <a:lnTo>
                    <a:pt x="627" y="385"/>
                  </a:lnTo>
                  <a:lnTo>
                    <a:pt x="673" y="366"/>
                  </a:lnTo>
                  <a:lnTo>
                    <a:pt x="719" y="350"/>
                  </a:lnTo>
                  <a:lnTo>
                    <a:pt x="765" y="336"/>
                  </a:lnTo>
                  <a:lnTo>
                    <a:pt x="813" y="324"/>
                  </a:lnTo>
                  <a:lnTo>
                    <a:pt x="860" y="313"/>
                  </a:lnTo>
                  <a:lnTo>
                    <a:pt x="908" y="305"/>
                  </a:lnTo>
                  <a:lnTo>
                    <a:pt x="957" y="298"/>
                  </a:lnTo>
                  <a:lnTo>
                    <a:pt x="966" y="282"/>
                  </a:lnTo>
                  <a:lnTo>
                    <a:pt x="976" y="267"/>
                  </a:lnTo>
                  <a:lnTo>
                    <a:pt x="989" y="252"/>
                  </a:lnTo>
                  <a:lnTo>
                    <a:pt x="1002" y="237"/>
                  </a:lnTo>
                  <a:lnTo>
                    <a:pt x="961" y="235"/>
                  </a:lnTo>
                  <a:lnTo>
                    <a:pt x="921" y="235"/>
                  </a:lnTo>
                  <a:lnTo>
                    <a:pt x="882" y="237"/>
                  </a:lnTo>
                  <a:lnTo>
                    <a:pt x="841" y="241"/>
                  </a:lnTo>
                  <a:lnTo>
                    <a:pt x="802" y="247"/>
                  </a:lnTo>
                  <a:lnTo>
                    <a:pt x="763" y="254"/>
                  </a:lnTo>
                  <a:lnTo>
                    <a:pt x="724" y="264"/>
                  </a:lnTo>
                  <a:lnTo>
                    <a:pt x="686" y="275"/>
                  </a:lnTo>
                  <a:lnTo>
                    <a:pt x="670" y="290"/>
                  </a:lnTo>
                  <a:lnTo>
                    <a:pt x="655" y="307"/>
                  </a:lnTo>
                  <a:lnTo>
                    <a:pt x="641" y="322"/>
                  </a:lnTo>
                  <a:lnTo>
                    <a:pt x="627" y="338"/>
                  </a:lnTo>
                  <a:lnTo>
                    <a:pt x="614" y="354"/>
                  </a:lnTo>
                  <a:lnTo>
                    <a:pt x="603" y="371"/>
                  </a:lnTo>
                  <a:lnTo>
                    <a:pt x="593" y="388"/>
                  </a:lnTo>
                  <a:lnTo>
                    <a:pt x="582" y="406"/>
                  </a:lnTo>
                  <a:close/>
                  <a:moveTo>
                    <a:pt x="990" y="295"/>
                  </a:moveTo>
                  <a:lnTo>
                    <a:pt x="1028" y="293"/>
                  </a:lnTo>
                  <a:lnTo>
                    <a:pt x="1065" y="292"/>
                  </a:lnTo>
                  <a:lnTo>
                    <a:pt x="1103" y="290"/>
                  </a:lnTo>
                  <a:lnTo>
                    <a:pt x="1141" y="292"/>
                  </a:lnTo>
                  <a:lnTo>
                    <a:pt x="1179" y="293"/>
                  </a:lnTo>
                  <a:lnTo>
                    <a:pt x="1217" y="295"/>
                  </a:lnTo>
                  <a:lnTo>
                    <a:pt x="1255" y="298"/>
                  </a:lnTo>
                  <a:lnTo>
                    <a:pt x="1292" y="303"/>
                  </a:lnTo>
                  <a:lnTo>
                    <a:pt x="1261" y="293"/>
                  </a:lnTo>
                  <a:lnTo>
                    <a:pt x="1229" y="281"/>
                  </a:lnTo>
                  <a:lnTo>
                    <a:pt x="1196" y="272"/>
                  </a:lnTo>
                  <a:lnTo>
                    <a:pt x="1165" y="264"/>
                  </a:lnTo>
                  <a:lnTo>
                    <a:pt x="1133" y="257"/>
                  </a:lnTo>
                  <a:lnTo>
                    <a:pt x="1101" y="250"/>
                  </a:lnTo>
                  <a:lnTo>
                    <a:pt x="1068" y="244"/>
                  </a:lnTo>
                  <a:lnTo>
                    <a:pt x="1037" y="241"/>
                  </a:lnTo>
                  <a:lnTo>
                    <a:pt x="1023" y="254"/>
                  </a:lnTo>
                  <a:lnTo>
                    <a:pt x="1012" y="267"/>
                  </a:lnTo>
                  <a:lnTo>
                    <a:pt x="1000" y="281"/>
                  </a:lnTo>
                  <a:lnTo>
                    <a:pt x="990" y="295"/>
                  </a:lnTo>
                  <a:close/>
                  <a:moveTo>
                    <a:pt x="1536" y="356"/>
                  </a:moveTo>
                  <a:lnTo>
                    <a:pt x="1576" y="369"/>
                  </a:lnTo>
                  <a:lnTo>
                    <a:pt x="1617" y="383"/>
                  </a:lnTo>
                  <a:lnTo>
                    <a:pt x="1656" y="396"/>
                  </a:lnTo>
                  <a:lnTo>
                    <a:pt x="1696" y="413"/>
                  </a:lnTo>
                  <a:lnTo>
                    <a:pt x="1735" y="429"/>
                  </a:lnTo>
                  <a:lnTo>
                    <a:pt x="1773" y="446"/>
                  </a:lnTo>
                  <a:lnTo>
                    <a:pt x="1813" y="464"/>
                  </a:lnTo>
                  <a:lnTo>
                    <a:pt x="1851" y="484"/>
                  </a:lnTo>
                  <a:lnTo>
                    <a:pt x="1855" y="467"/>
                  </a:lnTo>
                  <a:lnTo>
                    <a:pt x="1859" y="451"/>
                  </a:lnTo>
                  <a:lnTo>
                    <a:pt x="1861" y="433"/>
                  </a:lnTo>
                  <a:lnTo>
                    <a:pt x="1862" y="416"/>
                  </a:lnTo>
                  <a:lnTo>
                    <a:pt x="1862" y="410"/>
                  </a:lnTo>
                  <a:lnTo>
                    <a:pt x="1823" y="401"/>
                  </a:lnTo>
                  <a:lnTo>
                    <a:pt x="1784" y="392"/>
                  </a:lnTo>
                  <a:lnTo>
                    <a:pt x="1743" y="384"/>
                  </a:lnTo>
                  <a:lnTo>
                    <a:pt x="1703" y="376"/>
                  </a:lnTo>
                  <a:lnTo>
                    <a:pt x="1662" y="370"/>
                  </a:lnTo>
                  <a:lnTo>
                    <a:pt x="1620" y="364"/>
                  </a:lnTo>
                  <a:lnTo>
                    <a:pt x="1579" y="360"/>
                  </a:lnTo>
                  <a:lnTo>
                    <a:pt x="1536" y="356"/>
                  </a:lnTo>
                  <a:close/>
                  <a:moveTo>
                    <a:pt x="1875" y="497"/>
                  </a:moveTo>
                  <a:lnTo>
                    <a:pt x="1899" y="509"/>
                  </a:lnTo>
                  <a:lnTo>
                    <a:pt x="1923" y="523"/>
                  </a:lnTo>
                  <a:lnTo>
                    <a:pt x="1947" y="537"/>
                  </a:lnTo>
                  <a:lnTo>
                    <a:pt x="1970" y="551"/>
                  </a:lnTo>
                  <a:lnTo>
                    <a:pt x="1993" y="566"/>
                  </a:lnTo>
                  <a:lnTo>
                    <a:pt x="2016" y="581"/>
                  </a:lnTo>
                  <a:lnTo>
                    <a:pt x="2040" y="596"/>
                  </a:lnTo>
                  <a:lnTo>
                    <a:pt x="2063" y="611"/>
                  </a:lnTo>
                  <a:lnTo>
                    <a:pt x="2086" y="628"/>
                  </a:lnTo>
                  <a:lnTo>
                    <a:pt x="2110" y="645"/>
                  </a:lnTo>
                  <a:lnTo>
                    <a:pt x="2133" y="663"/>
                  </a:lnTo>
                  <a:lnTo>
                    <a:pt x="2156" y="680"/>
                  </a:lnTo>
                  <a:lnTo>
                    <a:pt x="2178" y="698"/>
                  </a:lnTo>
                  <a:lnTo>
                    <a:pt x="2201" y="717"/>
                  </a:lnTo>
                  <a:lnTo>
                    <a:pt x="2223" y="735"/>
                  </a:lnTo>
                  <a:lnTo>
                    <a:pt x="2245" y="755"/>
                  </a:lnTo>
                  <a:lnTo>
                    <a:pt x="2253" y="735"/>
                  </a:lnTo>
                  <a:lnTo>
                    <a:pt x="2261" y="716"/>
                  </a:lnTo>
                  <a:lnTo>
                    <a:pt x="2266" y="695"/>
                  </a:lnTo>
                  <a:lnTo>
                    <a:pt x="2272" y="675"/>
                  </a:lnTo>
                  <a:lnTo>
                    <a:pt x="2277" y="654"/>
                  </a:lnTo>
                  <a:lnTo>
                    <a:pt x="2280" y="634"/>
                  </a:lnTo>
                  <a:lnTo>
                    <a:pt x="2281" y="613"/>
                  </a:lnTo>
                  <a:lnTo>
                    <a:pt x="2283" y="592"/>
                  </a:lnTo>
                  <a:lnTo>
                    <a:pt x="2238" y="565"/>
                  </a:lnTo>
                  <a:lnTo>
                    <a:pt x="2193" y="539"/>
                  </a:lnTo>
                  <a:lnTo>
                    <a:pt x="2146" y="515"/>
                  </a:lnTo>
                  <a:lnTo>
                    <a:pt x="2097" y="493"/>
                  </a:lnTo>
                  <a:lnTo>
                    <a:pt x="2046" y="471"/>
                  </a:lnTo>
                  <a:lnTo>
                    <a:pt x="1996" y="452"/>
                  </a:lnTo>
                  <a:lnTo>
                    <a:pt x="1943" y="434"/>
                  </a:lnTo>
                  <a:lnTo>
                    <a:pt x="1890" y="418"/>
                  </a:lnTo>
                  <a:lnTo>
                    <a:pt x="1889" y="438"/>
                  </a:lnTo>
                  <a:lnTo>
                    <a:pt x="1885" y="457"/>
                  </a:lnTo>
                  <a:lnTo>
                    <a:pt x="1881" y="477"/>
                  </a:lnTo>
                  <a:lnTo>
                    <a:pt x="1875" y="497"/>
                  </a:lnTo>
                  <a:close/>
                  <a:moveTo>
                    <a:pt x="2265" y="773"/>
                  </a:moveTo>
                  <a:lnTo>
                    <a:pt x="2301" y="808"/>
                  </a:lnTo>
                  <a:lnTo>
                    <a:pt x="2337" y="842"/>
                  </a:lnTo>
                  <a:lnTo>
                    <a:pt x="2370" y="878"/>
                  </a:lnTo>
                  <a:lnTo>
                    <a:pt x="2402" y="915"/>
                  </a:lnTo>
                  <a:lnTo>
                    <a:pt x="2434" y="952"/>
                  </a:lnTo>
                  <a:lnTo>
                    <a:pt x="2463" y="990"/>
                  </a:lnTo>
                  <a:lnTo>
                    <a:pt x="2492" y="1029"/>
                  </a:lnTo>
                  <a:lnTo>
                    <a:pt x="2520" y="1068"/>
                  </a:lnTo>
                  <a:lnTo>
                    <a:pt x="2527" y="1078"/>
                  </a:lnTo>
                  <a:lnTo>
                    <a:pt x="2533" y="1089"/>
                  </a:lnTo>
                  <a:lnTo>
                    <a:pt x="2539" y="1099"/>
                  </a:lnTo>
                  <a:lnTo>
                    <a:pt x="2546" y="1110"/>
                  </a:lnTo>
                  <a:lnTo>
                    <a:pt x="2559" y="1083"/>
                  </a:lnTo>
                  <a:lnTo>
                    <a:pt x="2571" y="1057"/>
                  </a:lnTo>
                  <a:lnTo>
                    <a:pt x="2580" y="1029"/>
                  </a:lnTo>
                  <a:lnTo>
                    <a:pt x="2588" y="1001"/>
                  </a:lnTo>
                  <a:lnTo>
                    <a:pt x="2595" y="974"/>
                  </a:lnTo>
                  <a:lnTo>
                    <a:pt x="2599" y="945"/>
                  </a:lnTo>
                  <a:lnTo>
                    <a:pt x="2603" y="916"/>
                  </a:lnTo>
                  <a:lnTo>
                    <a:pt x="2604" y="887"/>
                  </a:lnTo>
                  <a:lnTo>
                    <a:pt x="2581" y="857"/>
                  </a:lnTo>
                  <a:lnTo>
                    <a:pt x="2557" y="827"/>
                  </a:lnTo>
                  <a:lnTo>
                    <a:pt x="2531" y="798"/>
                  </a:lnTo>
                  <a:lnTo>
                    <a:pt x="2505" y="771"/>
                  </a:lnTo>
                  <a:lnTo>
                    <a:pt x="2476" y="743"/>
                  </a:lnTo>
                  <a:lnTo>
                    <a:pt x="2447" y="717"/>
                  </a:lnTo>
                  <a:lnTo>
                    <a:pt x="2417" y="690"/>
                  </a:lnTo>
                  <a:lnTo>
                    <a:pt x="2386" y="665"/>
                  </a:lnTo>
                  <a:lnTo>
                    <a:pt x="2368" y="651"/>
                  </a:lnTo>
                  <a:lnTo>
                    <a:pt x="2348" y="637"/>
                  </a:lnTo>
                  <a:lnTo>
                    <a:pt x="2329" y="623"/>
                  </a:lnTo>
                  <a:lnTo>
                    <a:pt x="2309" y="610"/>
                  </a:lnTo>
                  <a:lnTo>
                    <a:pt x="2308" y="630"/>
                  </a:lnTo>
                  <a:lnTo>
                    <a:pt x="2304" y="652"/>
                  </a:lnTo>
                  <a:lnTo>
                    <a:pt x="2301" y="673"/>
                  </a:lnTo>
                  <a:lnTo>
                    <a:pt x="2296" y="694"/>
                  </a:lnTo>
                  <a:lnTo>
                    <a:pt x="2290" y="714"/>
                  </a:lnTo>
                  <a:lnTo>
                    <a:pt x="2283" y="734"/>
                  </a:lnTo>
                  <a:lnTo>
                    <a:pt x="2275" y="754"/>
                  </a:lnTo>
                  <a:lnTo>
                    <a:pt x="2265" y="773"/>
                  </a:lnTo>
                  <a:close/>
                  <a:moveTo>
                    <a:pt x="2563" y="1137"/>
                  </a:moveTo>
                  <a:lnTo>
                    <a:pt x="2584" y="1174"/>
                  </a:lnTo>
                  <a:lnTo>
                    <a:pt x="2604" y="1212"/>
                  </a:lnTo>
                  <a:lnTo>
                    <a:pt x="2624" y="1250"/>
                  </a:lnTo>
                  <a:lnTo>
                    <a:pt x="2641" y="1289"/>
                  </a:lnTo>
                  <a:lnTo>
                    <a:pt x="2656" y="1327"/>
                  </a:lnTo>
                  <a:lnTo>
                    <a:pt x="2671" y="1368"/>
                  </a:lnTo>
                  <a:lnTo>
                    <a:pt x="2683" y="1407"/>
                  </a:lnTo>
                  <a:lnTo>
                    <a:pt x="2695" y="1446"/>
                  </a:lnTo>
                  <a:lnTo>
                    <a:pt x="2708" y="1415"/>
                  </a:lnTo>
                  <a:lnTo>
                    <a:pt x="2719" y="1384"/>
                  </a:lnTo>
                  <a:lnTo>
                    <a:pt x="2730" y="1351"/>
                  </a:lnTo>
                  <a:lnTo>
                    <a:pt x="2738" y="1319"/>
                  </a:lnTo>
                  <a:lnTo>
                    <a:pt x="2743" y="1286"/>
                  </a:lnTo>
                  <a:lnTo>
                    <a:pt x="2748" y="1254"/>
                  </a:lnTo>
                  <a:lnTo>
                    <a:pt x="2751" y="1220"/>
                  </a:lnTo>
                  <a:lnTo>
                    <a:pt x="2753" y="1186"/>
                  </a:lnTo>
                  <a:lnTo>
                    <a:pt x="2753" y="1186"/>
                  </a:lnTo>
                  <a:lnTo>
                    <a:pt x="2741" y="1151"/>
                  </a:lnTo>
                  <a:lnTo>
                    <a:pt x="2730" y="1118"/>
                  </a:lnTo>
                  <a:lnTo>
                    <a:pt x="2716" y="1084"/>
                  </a:lnTo>
                  <a:lnTo>
                    <a:pt x="2701" y="1051"/>
                  </a:lnTo>
                  <a:lnTo>
                    <a:pt x="2685" y="1019"/>
                  </a:lnTo>
                  <a:lnTo>
                    <a:pt x="2667" y="986"/>
                  </a:lnTo>
                  <a:lnTo>
                    <a:pt x="2649" y="955"/>
                  </a:lnTo>
                  <a:lnTo>
                    <a:pt x="2629" y="924"/>
                  </a:lnTo>
                  <a:lnTo>
                    <a:pt x="2626" y="952"/>
                  </a:lnTo>
                  <a:lnTo>
                    <a:pt x="2621" y="979"/>
                  </a:lnTo>
                  <a:lnTo>
                    <a:pt x="2616" y="1006"/>
                  </a:lnTo>
                  <a:lnTo>
                    <a:pt x="2607" y="1032"/>
                  </a:lnTo>
                  <a:lnTo>
                    <a:pt x="2598" y="1059"/>
                  </a:lnTo>
                  <a:lnTo>
                    <a:pt x="2588" y="1085"/>
                  </a:lnTo>
                  <a:lnTo>
                    <a:pt x="2576" y="1111"/>
                  </a:lnTo>
                  <a:lnTo>
                    <a:pt x="2563" y="1137"/>
                  </a:lnTo>
                  <a:close/>
                  <a:moveTo>
                    <a:pt x="2705" y="1489"/>
                  </a:moveTo>
                  <a:lnTo>
                    <a:pt x="2712" y="1527"/>
                  </a:lnTo>
                  <a:lnTo>
                    <a:pt x="2719" y="1566"/>
                  </a:lnTo>
                  <a:lnTo>
                    <a:pt x="2724" y="1605"/>
                  </a:lnTo>
                  <a:lnTo>
                    <a:pt x="2726" y="1644"/>
                  </a:lnTo>
                  <a:lnTo>
                    <a:pt x="2727" y="1683"/>
                  </a:lnTo>
                  <a:lnTo>
                    <a:pt x="2727" y="1722"/>
                  </a:lnTo>
                  <a:lnTo>
                    <a:pt x="2725" y="1762"/>
                  </a:lnTo>
                  <a:lnTo>
                    <a:pt x="2722" y="1801"/>
                  </a:lnTo>
                  <a:lnTo>
                    <a:pt x="2731" y="1779"/>
                  </a:lnTo>
                  <a:lnTo>
                    <a:pt x="2739" y="1757"/>
                  </a:lnTo>
                  <a:lnTo>
                    <a:pt x="2746" y="1735"/>
                  </a:lnTo>
                  <a:lnTo>
                    <a:pt x="2753" y="1713"/>
                  </a:lnTo>
                  <a:lnTo>
                    <a:pt x="2753" y="1713"/>
                  </a:lnTo>
                  <a:lnTo>
                    <a:pt x="2761" y="1679"/>
                  </a:lnTo>
                  <a:lnTo>
                    <a:pt x="2766" y="1643"/>
                  </a:lnTo>
                  <a:lnTo>
                    <a:pt x="2772" y="1608"/>
                  </a:lnTo>
                  <a:lnTo>
                    <a:pt x="2777" y="1572"/>
                  </a:lnTo>
                  <a:lnTo>
                    <a:pt x="2781" y="1536"/>
                  </a:lnTo>
                  <a:lnTo>
                    <a:pt x="2784" y="1499"/>
                  </a:lnTo>
                  <a:lnTo>
                    <a:pt x="2786" y="1463"/>
                  </a:lnTo>
                  <a:lnTo>
                    <a:pt x="2787" y="1426"/>
                  </a:lnTo>
                  <a:lnTo>
                    <a:pt x="2787" y="1426"/>
                  </a:lnTo>
                  <a:lnTo>
                    <a:pt x="2786" y="1388"/>
                  </a:lnTo>
                  <a:lnTo>
                    <a:pt x="2783" y="1350"/>
                  </a:lnTo>
                  <a:lnTo>
                    <a:pt x="2779" y="1312"/>
                  </a:lnTo>
                  <a:lnTo>
                    <a:pt x="2773" y="1275"/>
                  </a:lnTo>
                  <a:lnTo>
                    <a:pt x="2769" y="1303"/>
                  </a:lnTo>
                  <a:lnTo>
                    <a:pt x="2763" y="1331"/>
                  </a:lnTo>
                  <a:lnTo>
                    <a:pt x="2756" y="1357"/>
                  </a:lnTo>
                  <a:lnTo>
                    <a:pt x="2748" y="1385"/>
                  </a:lnTo>
                  <a:lnTo>
                    <a:pt x="2739" y="1410"/>
                  </a:lnTo>
                  <a:lnTo>
                    <a:pt x="2728" y="1437"/>
                  </a:lnTo>
                  <a:lnTo>
                    <a:pt x="2717" y="1463"/>
                  </a:lnTo>
                  <a:lnTo>
                    <a:pt x="2705" y="1489"/>
                  </a:lnTo>
                  <a:close/>
                  <a:moveTo>
                    <a:pt x="2397" y="2356"/>
                  </a:moveTo>
                  <a:lnTo>
                    <a:pt x="2414" y="2331"/>
                  </a:lnTo>
                  <a:lnTo>
                    <a:pt x="2430" y="2304"/>
                  </a:lnTo>
                  <a:lnTo>
                    <a:pt x="2445" y="2277"/>
                  </a:lnTo>
                  <a:lnTo>
                    <a:pt x="2458" y="2249"/>
                  </a:lnTo>
                  <a:lnTo>
                    <a:pt x="2470" y="2220"/>
                  </a:lnTo>
                  <a:lnTo>
                    <a:pt x="2481" y="2191"/>
                  </a:lnTo>
                  <a:lnTo>
                    <a:pt x="2490" y="2161"/>
                  </a:lnTo>
                  <a:lnTo>
                    <a:pt x="2497" y="2131"/>
                  </a:lnTo>
                  <a:lnTo>
                    <a:pt x="2475" y="2150"/>
                  </a:lnTo>
                  <a:lnTo>
                    <a:pt x="2451" y="2168"/>
                  </a:lnTo>
                  <a:lnTo>
                    <a:pt x="2428" y="2186"/>
                  </a:lnTo>
                  <a:lnTo>
                    <a:pt x="2402" y="2203"/>
                  </a:lnTo>
                  <a:lnTo>
                    <a:pt x="2377" y="2220"/>
                  </a:lnTo>
                  <a:lnTo>
                    <a:pt x="2351" y="2236"/>
                  </a:lnTo>
                  <a:lnTo>
                    <a:pt x="2324" y="2252"/>
                  </a:lnTo>
                  <a:lnTo>
                    <a:pt x="2298" y="2267"/>
                  </a:lnTo>
                  <a:lnTo>
                    <a:pt x="2278" y="2278"/>
                  </a:lnTo>
                  <a:lnTo>
                    <a:pt x="2258" y="2288"/>
                  </a:lnTo>
                  <a:lnTo>
                    <a:pt x="2238" y="2299"/>
                  </a:lnTo>
                  <a:lnTo>
                    <a:pt x="2217" y="2308"/>
                  </a:lnTo>
                  <a:lnTo>
                    <a:pt x="2213" y="2338"/>
                  </a:lnTo>
                  <a:lnTo>
                    <a:pt x="2210" y="2367"/>
                  </a:lnTo>
                  <a:lnTo>
                    <a:pt x="2204" y="2393"/>
                  </a:lnTo>
                  <a:lnTo>
                    <a:pt x="2198" y="2421"/>
                  </a:lnTo>
                  <a:lnTo>
                    <a:pt x="2193" y="2446"/>
                  </a:lnTo>
                  <a:lnTo>
                    <a:pt x="2185" y="2470"/>
                  </a:lnTo>
                  <a:lnTo>
                    <a:pt x="2177" y="2493"/>
                  </a:lnTo>
                  <a:lnTo>
                    <a:pt x="2167" y="2515"/>
                  </a:lnTo>
                  <a:lnTo>
                    <a:pt x="2200" y="2498"/>
                  </a:lnTo>
                  <a:lnTo>
                    <a:pt x="2230" y="2479"/>
                  </a:lnTo>
                  <a:lnTo>
                    <a:pt x="2260" y="2461"/>
                  </a:lnTo>
                  <a:lnTo>
                    <a:pt x="2290" y="2441"/>
                  </a:lnTo>
                  <a:lnTo>
                    <a:pt x="2317" y="2421"/>
                  </a:lnTo>
                  <a:lnTo>
                    <a:pt x="2345" y="2400"/>
                  </a:lnTo>
                  <a:lnTo>
                    <a:pt x="2371" y="2378"/>
                  </a:lnTo>
                  <a:lnTo>
                    <a:pt x="2397" y="2356"/>
                  </a:lnTo>
                  <a:close/>
                  <a:moveTo>
                    <a:pt x="2506" y="2088"/>
                  </a:moveTo>
                  <a:lnTo>
                    <a:pt x="2512" y="2047"/>
                  </a:lnTo>
                  <a:lnTo>
                    <a:pt x="2515" y="2007"/>
                  </a:lnTo>
                  <a:lnTo>
                    <a:pt x="2518" y="1966"/>
                  </a:lnTo>
                  <a:lnTo>
                    <a:pt x="2518" y="1923"/>
                  </a:lnTo>
                  <a:lnTo>
                    <a:pt x="2515" y="1880"/>
                  </a:lnTo>
                  <a:lnTo>
                    <a:pt x="2512" y="1837"/>
                  </a:lnTo>
                  <a:lnTo>
                    <a:pt x="2506" y="1793"/>
                  </a:lnTo>
                  <a:lnTo>
                    <a:pt x="2498" y="1749"/>
                  </a:lnTo>
                  <a:lnTo>
                    <a:pt x="2469" y="1773"/>
                  </a:lnTo>
                  <a:lnTo>
                    <a:pt x="2439" y="1797"/>
                  </a:lnTo>
                  <a:lnTo>
                    <a:pt x="2408" y="1822"/>
                  </a:lnTo>
                  <a:lnTo>
                    <a:pt x="2376" y="1843"/>
                  </a:lnTo>
                  <a:lnTo>
                    <a:pt x="2336" y="1869"/>
                  </a:lnTo>
                  <a:lnTo>
                    <a:pt x="2295" y="1894"/>
                  </a:lnTo>
                  <a:lnTo>
                    <a:pt x="2253" y="1917"/>
                  </a:lnTo>
                  <a:lnTo>
                    <a:pt x="2209" y="1939"/>
                  </a:lnTo>
                  <a:lnTo>
                    <a:pt x="2212" y="1971"/>
                  </a:lnTo>
                  <a:lnTo>
                    <a:pt x="2216" y="2004"/>
                  </a:lnTo>
                  <a:lnTo>
                    <a:pt x="2219" y="2035"/>
                  </a:lnTo>
                  <a:lnTo>
                    <a:pt x="2220" y="2066"/>
                  </a:lnTo>
                  <a:lnTo>
                    <a:pt x="2223" y="2097"/>
                  </a:lnTo>
                  <a:lnTo>
                    <a:pt x="2224" y="2127"/>
                  </a:lnTo>
                  <a:lnTo>
                    <a:pt x="2224" y="2157"/>
                  </a:lnTo>
                  <a:lnTo>
                    <a:pt x="2224" y="2186"/>
                  </a:lnTo>
                  <a:lnTo>
                    <a:pt x="2224" y="2209"/>
                  </a:lnTo>
                  <a:lnTo>
                    <a:pt x="2223" y="2232"/>
                  </a:lnTo>
                  <a:lnTo>
                    <a:pt x="2222" y="2255"/>
                  </a:lnTo>
                  <a:lnTo>
                    <a:pt x="2220" y="2277"/>
                  </a:lnTo>
                  <a:lnTo>
                    <a:pt x="2237" y="2269"/>
                  </a:lnTo>
                  <a:lnTo>
                    <a:pt x="2253" y="2261"/>
                  </a:lnTo>
                  <a:lnTo>
                    <a:pt x="2269" y="2252"/>
                  </a:lnTo>
                  <a:lnTo>
                    <a:pt x="2284" y="2243"/>
                  </a:lnTo>
                  <a:lnTo>
                    <a:pt x="2315" y="2226"/>
                  </a:lnTo>
                  <a:lnTo>
                    <a:pt x="2345" y="2208"/>
                  </a:lnTo>
                  <a:lnTo>
                    <a:pt x="2374" y="2189"/>
                  </a:lnTo>
                  <a:lnTo>
                    <a:pt x="2402" y="2169"/>
                  </a:lnTo>
                  <a:lnTo>
                    <a:pt x="2430" y="2150"/>
                  </a:lnTo>
                  <a:lnTo>
                    <a:pt x="2457" y="2130"/>
                  </a:lnTo>
                  <a:lnTo>
                    <a:pt x="2482" y="2110"/>
                  </a:lnTo>
                  <a:lnTo>
                    <a:pt x="2506" y="2088"/>
                  </a:lnTo>
                  <a:close/>
                  <a:moveTo>
                    <a:pt x="2492" y="1718"/>
                  </a:moveTo>
                  <a:lnTo>
                    <a:pt x="2486" y="1694"/>
                  </a:lnTo>
                  <a:lnTo>
                    <a:pt x="2481" y="1669"/>
                  </a:lnTo>
                  <a:lnTo>
                    <a:pt x="2475" y="1645"/>
                  </a:lnTo>
                  <a:lnTo>
                    <a:pt x="2468" y="1621"/>
                  </a:lnTo>
                  <a:lnTo>
                    <a:pt x="2461" y="1597"/>
                  </a:lnTo>
                  <a:lnTo>
                    <a:pt x="2453" y="1573"/>
                  </a:lnTo>
                  <a:lnTo>
                    <a:pt x="2445" y="1549"/>
                  </a:lnTo>
                  <a:lnTo>
                    <a:pt x="2437" y="1524"/>
                  </a:lnTo>
                  <a:lnTo>
                    <a:pt x="2422" y="1484"/>
                  </a:lnTo>
                  <a:lnTo>
                    <a:pt x="2406" y="1443"/>
                  </a:lnTo>
                  <a:lnTo>
                    <a:pt x="2387" y="1402"/>
                  </a:lnTo>
                  <a:lnTo>
                    <a:pt x="2369" y="1362"/>
                  </a:lnTo>
                  <a:lnTo>
                    <a:pt x="2346" y="1380"/>
                  </a:lnTo>
                  <a:lnTo>
                    <a:pt x="2322" y="1399"/>
                  </a:lnTo>
                  <a:lnTo>
                    <a:pt x="2296" y="1416"/>
                  </a:lnTo>
                  <a:lnTo>
                    <a:pt x="2271" y="1433"/>
                  </a:lnTo>
                  <a:lnTo>
                    <a:pt x="2235" y="1454"/>
                  </a:lnTo>
                  <a:lnTo>
                    <a:pt x="2198" y="1475"/>
                  </a:lnTo>
                  <a:lnTo>
                    <a:pt x="2159" y="1496"/>
                  </a:lnTo>
                  <a:lnTo>
                    <a:pt x="2120" y="1514"/>
                  </a:lnTo>
                  <a:lnTo>
                    <a:pt x="2128" y="1539"/>
                  </a:lnTo>
                  <a:lnTo>
                    <a:pt x="2135" y="1566"/>
                  </a:lnTo>
                  <a:lnTo>
                    <a:pt x="2142" y="1591"/>
                  </a:lnTo>
                  <a:lnTo>
                    <a:pt x="2148" y="1618"/>
                  </a:lnTo>
                  <a:lnTo>
                    <a:pt x="2157" y="1655"/>
                  </a:lnTo>
                  <a:lnTo>
                    <a:pt x="2166" y="1693"/>
                  </a:lnTo>
                  <a:lnTo>
                    <a:pt x="2174" y="1729"/>
                  </a:lnTo>
                  <a:lnTo>
                    <a:pt x="2181" y="1766"/>
                  </a:lnTo>
                  <a:lnTo>
                    <a:pt x="2188" y="1803"/>
                  </a:lnTo>
                  <a:lnTo>
                    <a:pt x="2195" y="1839"/>
                  </a:lnTo>
                  <a:lnTo>
                    <a:pt x="2200" y="1875"/>
                  </a:lnTo>
                  <a:lnTo>
                    <a:pt x="2205" y="1910"/>
                  </a:lnTo>
                  <a:lnTo>
                    <a:pt x="2246" y="1890"/>
                  </a:lnTo>
                  <a:lnTo>
                    <a:pt x="2285" y="1868"/>
                  </a:lnTo>
                  <a:lnTo>
                    <a:pt x="2323" y="1845"/>
                  </a:lnTo>
                  <a:lnTo>
                    <a:pt x="2360" y="1822"/>
                  </a:lnTo>
                  <a:lnTo>
                    <a:pt x="2395" y="1796"/>
                  </a:lnTo>
                  <a:lnTo>
                    <a:pt x="2429" y="1771"/>
                  </a:lnTo>
                  <a:lnTo>
                    <a:pt x="2461" y="1744"/>
                  </a:lnTo>
                  <a:lnTo>
                    <a:pt x="2492" y="1718"/>
                  </a:lnTo>
                  <a:close/>
                  <a:moveTo>
                    <a:pt x="2357" y="1337"/>
                  </a:moveTo>
                  <a:lnTo>
                    <a:pt x="2332" y="1287"/>
                  </a:lnTo>
                  <a:lnTo>
                    <a:pt x="2306" y="1239"/>
                  </a:lnTo>
                  <a:lnTo>
                    <a:pt x="2278" y="1189"/>
                  </a:lnTo>
                  <a:lnTo>
                    <a:pt x="2248" y="1141"/>
                  </a:lnTo>
                  <a:lnTo>
                    <a:pt x="2218" y="1093"/>
                  </a:lnTo>
                  <a:lnTo>
                    <a:pt x="2186" y="1046"/>
                  </a:lnTo>
                  <a:lnTo>
                    <a:pt x="2152" y="999"/>
                  </a:lnTo>
                  <a:lnTo>
                    <a:pt x="2118" y="953"/>
                  </a:lnTo>
                  <a:lnTo>
                    <a:pt x="2099" y="968"/>
                  </a:lnTo>
                  <a:lnTo>
                    <a:pt x="2082" y="982"/>
                  </a:lnTo>
                  <a:lnTo>
                    <a:pt x="2063" y="994"/>
                  </a:lnTo>
                  <a:lnTo>
                    <a:pt x="2043" y="1007"/>
                  </a:lnTo>
                  <a:lnTo>
                    <a:pt x="2021" y="1021"/>
                  </a:lnTo>
                  <a:lnTo>
                    <a:pt x="1998" y="1035"/>
                  </a:lnTo>
                  <a:lnTo>
                    <a:pt x="1975" y="1047"/>
                  </a:lnTo>
                  <a:lnTo>
                    <a:pt x="1951" y="1060"/>
                  </a:lnTo>
                  <a:lnTo>
                    <a:pt x="1975" y="1112"/>
                  </a:lnTo>
                  <a:lnTo>
                    <a:pt x="1997" y="1165"/>
                  </a:lnTo>
                  <a:lnTo>
                    <a:pt x="2019" y="1218"/>
                  </a:lnTo>
                  <a:lnTo>
                    <a:pt x="2040" y="1272"/>
                  </a:lnTo>
                  <a:lnTo>
                    <a:pt x="2060" y="1326"/>
                  </a:lnTo>
                  <a:lnTo>
                    <a:pt x="2079" y="1379"/>
                  </a:lnTo>
                  <a:lnTo>
                    <a:pt x="2096" y="1433"/>
                  </a:lnTo>
                  <a:lnTo>
                    <a:pt x="2112" y="1487"/>
                  </a:lnTo>
                  <a:lnTo>
                    <a:pt x="2150" y="1469"/>
                  </a:lnTo>
                  <a:lnTo>
                    <a:pt x="2187" y="1451"/>
                  </a:lnTo>
                  <a:lnTo>
                    <a:pt x="2222" y="1431"/>
                  </a:lnTo>
                  <a:lnTo>
                    <a:pt x="2256" y="1410"/>
                  </a:lnTo>
                  <a:lnTo>
                    <a:pt x="2283" y="1392"/>
                  </a:lnTo>
                  <a:lnTo>
                    <a:pt x="2308" y="1375"/>
                  </a:lnTo>
                  <a:lnTo>
                    <a:pt x="2333" y="1356"/>
                  </a:lnTo>
                  <a:lnTo>
                    <a:pt x="2357" y="1337"/>
                  </a:lnTo>
                  <a:close/>
                  <a:moveTo>
                    <a:pt x="2101" y="932"/>
                  </a:moveTo>
                  <a:lnTo>
                    <a:pt x="2066" y="888"/>
                  </a:lnTo>
                  <a:lnTo>
                    <a:pt x="2030" y="846"/>
                  </a:lnTo>
                  <a:lnTo>
                    <a:pt x="1993" y="804"/>
                  </a:lnTo>
                  <a:lnTo>
                    <a:pt x="1955" y="764"/>
                  </a:lnTo>
                  <a:lnTo>
                    <a:pt x="1916" y="724"/>
                  </a:lnTo>
                  <a:lnTo>
                    <a:pt x="1877" y="686"/>
                  </a:lnTo>
                  <a:lnTo>
                    <a:pt x="1837" y="648"/>
                  </a:lnTo>
                  <a:lnTo>
                    <a:pt x="1795" y="612"/>
                  </a:lnTo>
                  <a:lnTo>
                    <a:pt x="1784" y="622"/>
                  </a:lnTo>
                  <a:lnTo>
                    <a:pt x="1772" y="631"/>
                  </a:lnTo>
                  <a:lnTo>
                    <a:pt x="1760" y="641"/>
                  </a:lnTo>
                  <a:lnTo>
                    <a:pt x="1746" y="650"/>
                  </a:lnTo>
                  <a:lnTo>
                    <a:pt x="1735" y="657"/>
                  </a:lnTo>
                  <a:lnTo>
                    <a:pt x="1724" y="664"/>
                  </a:lnTo>
                  <a:lnTo>
                    <a:pt x="1752" y="704"/>
                  </a:lnTo>
                  <a:lnTo>
                    <a:pt x="1778" y="744"/>
                  </a:lnTo>
                  <a:lnTo>
                    <a:pt x="1805" y="786"/>
                  </a:lnTo>
                  <a:lnTo>
                    <a:pt x="1830" y="828"/>
                  </a:lnTo>
                  <a:lnTo>
                    <a:pt x="1854" y="871"/>
                  </a:lnTo>
                  <a:lnTo>
                    <a:pt x="1878" y="915"/>
                  </a:lnTo>
                  <a:lnTo>
                    <a:pt x="1901" y="959"/>
                  </a:lnTo>
                  <a:lnTo>
                    <a:pt x="1924" y="1004"/>
                  </a:lnTo>
                  <a:lnTo>
                    <a:pt x="1931" y="1019"/>
                  </a:lnTo>
                  <a:lnTo>
                    <a:pt x="1939" y="1035"/>
                  </a:lnTo>
                  <a:lnTo>
                    <a:pt x="1962" y="1023"/>
                  </a:lnTo>
                  <a:lnTo>
                    <a:pt x="1985" y="1010"/>
                  </a:lnTo>
                  <a:lnTo>
                    <a:pt x="2007" y="998"/>
                  </a:lnTo>
                  <a:lnTo>
                    <a:pt x="2028" y="985"/>
                  </a:lnTo>
                  <a:lnTo>
                    <a:pt x="2048" y="971"/>
                  </a:lnTo>
                  <a:lnTo>
                    <a:pt x="2066" y="959"/>
                  </a:lnTo>
                  <a:lnTo>
                    <a:pt x="2083" y="946"/>
                  </a:lnTo>
                  <a:lnTo>
                    <a:pt x="2101" y="932"/>
                  </a:lnTo>
                  <a:close/>
                  <a:moveTo>
                    <a:pt x="1775" y="593"/>
                  </a:moveTo>
                  <a:lnTo>
                    <a:pt x="1753" y="576"/>
                  </a:lnTo>
                  <a:lnTo>
                    <a:pt x="1731" y="558"/>
                  </a:lnTo>
                  <a:lnTo>
                    <a:pt x="1709" y="540"/>
                  </a:lnTo>
                  <a:lnTo>
                    <a:pt x="1686" y="524"/>
                  </a:lnTo>
                  <a:lnTo>
                    <a:pt x="1664" y="507"/>
                  </a:lnTo>
                  <a:lnTo>
                    <a:pt x="1641" y="491"/>
                  </a:lnTo>
                  <a:lnTo>
                    <a:pt x="1619" y="476"/>
                  </a:lnTo>
                  <a:lnTo>
                    <a:pt x="1596" y="460"/>
                  </a:lnTo>
                  <a:lnTo>
                    <a:pt x="1572" y="445"/>
                  </a:lnTo>
                  <a:lnTo>
                    <a:pt x="1549" y="430"/>
                  </a:lnTo>
                  <a:lnTo>
                    <a:pt x="1525" y="416"/>
                  </a:lnTo>
                  <a:lnTo>
                    <a:pt x="1502" y="402"/>
                  </a:lnTo>
                  <a:lnTo>
                    <a:pt x="1529" y="429"/>
                  </a:lnTo>
                  <a:lnTo>
                    <a:pt x="1556" y="456"/>
                  </a:lnTo>
                  <a:lnTo>
                    <a:pt x="1582" y="485"/>
                  </a:lnTo>
                  <a:lnTo>
                    <a:pt x="1609" y="515"/>
                  </a:lnTo>
                  <a:lnTo>
                    <a:pt x="1634" y="546"/>
                  </a:lnTo>
                  <a:lnTo>
                    <a:pt x="1659" y="577"/>
                  </a:lnTo>
                  <a:lnTo>
                    <a:pt x="1684" y="610"/>
                  </a:lnTo>
                  <a:lnTo>
                    <a:pt x="1709" y="642"/>
                  </a:lnTo>
                  <a:lnTo>
                    <a:pt x="1720" y="635"/>
                  </a:lnTo>
                  <a:lnTo>
                    <a:pt x="1731" y="628"/>
                  </a:lnTo>
                  <a:lnTo>
                    <a:pt x="1742" y="620"/>
                  </a:lnTo>
                  <a:lnTo>
                    <a:pt x="1754" y="611"/>
                  </a:lnTo>
                  <a:lnTo>
                    <a:pt x="1764" y="603"/>
                  </a:lnTo>
                  <a:lnTo>
                    <a:pt x="1775" y="593"/>
                  </a:lnTo>
                  <a:close/>
                  <a:moveTo>
                    <a:pt x="634" y="265"/>
                  </a:moveTo>
                  <a:lnTo>
                    <a:pt x="643" y="262"/>
                  </a:lnTo>
                  <a:lnTo>
                    <a:pt x="653" y="258"/>
                  </a:lnTo>
                  <a:lnTo>
                    <a:pt x="662" y="255"/>
                  </a:lnTo>
                  <a:lnTo>
                    <a:pt x="671" y="251"/>
                  </a:lnTo>
                  <a:lnTo>
                    <a:pt x="682" y="242"/>
                  </a:lnTo>
                  <a:lnTo>
                    <a:pt x="693" y="232"/>
                  </a:lnTo>
                  <a:lnTo>
                    <a:pt x="704" y="222"/>
                  </a:lnTo>
                  <a:lnTo>
                    <a:pt x="717" y="213"/>
                  </a:lnTo>
                  <a:lnTo>
                    <a:pt x="695" y="226"/>
                  </a:lnTo>
                  <a:lnTo>
                    <a:pt x="674" y="239"/>
                  </a:lnTo>
                  <a:lnTo>
                    <a:pt x="654" y="251"/>
                  </a:lnTo>
                  <a:lnTo>
                    <a:pt x="634" y="265"/>
                  </a:lnTo>
                  <a:close/>
                  <a:moveTo>
                    <a:pt x="738" y="232"/>
                  </a:moveTo>
                  <a:lnTo>
                    <a:pt x="773" y="224"/>
                  </a:lnTo>
                  <a:lnTo>
                    <a:pt x="809" y="217"/>
                  </a:lnTo>
                  <a:lnTo>
                    <a:pt x="845" y="212"/>
                  </a:lnTo>
                  <a:lnTo>
                    <a:pt x="882" y="210"/>
                  </a:lnTo>
                  <a:lnTo>
                    <a:pt x="917" y="207"/>
                  </a:lnTo>
                  <a:lnTo>
                    <a:pt x="954" y="207"/>
                  </a:lnTo>
                  <a:lnTo>
                    <a:pt x="991" y="209"/>
                  </a:lnTo>
                  <a:lnTo>
                    <a:pt x="1028" y="212"/>
                  </a:lnTo>
                  <a:lnTo>
                    <a:pt x="1037" y="204"/>
                  </a:lnTo>
                  <a:lnTo>
                    <a:pt x="1048" y="196"/>
                  </a:lnTo>
                  <a:lnTo>
                    <a:pt x="1058" y="188"/>
                  </a:lnTo>
                  <a:lnTo>
                    <a:pt x="1068" y="181"/>
                  </a:lnTo>
                  <a:lnTo>
                    <a:pt x="1074" y="176"/>
                  </a:lnTo>
                  <a:lnTo>
                    <a:pt x="1081" y="173"/>
                  </a:lnTo>
                  <a:lnTo>
                    <a:pt x="1058" y="166"/>
                  </a:lnTo>
                  <a:lnTo>
                    <a:pt x="1035" y="160"/>
                  </a:lnTo>
                  <a:lnTo>
                    <a:pt x="1012" y="154"/>
                  </a:lnTo>
                  <a:lnTo>
                    <a:pt x="988" y="150"/>
                  </a:lnTo>
                  <a:lnTo>
                    <a:pt x="965" y="146"/>
                  </a:lnTo>
                  <a:lnTo>
                    <a:pt x="941" y="143"/>
                  </a:lnTo>
                  <a:lnTo>
                    <a:pt x="916" y="141"/>
                  </a:lnTo>
                  <a:lnTo>
                    <a:pt x="892" y="139"/>
                  </a:lnTo>
                  <a:lnTo>
                    <a:pt x="864" y="153"/>
                  </a:lnTo>
                  <a:lnTo>
                    <a:pt x="838" y="167"/>
                  </a:lnTo>
                  <a:lnTo>
                    <a:pt x="811" y="182"/>
                  </a:lnTo>
                  <a:lnTo>
                    <a:pt x="786" y="197"/>
                  </a:lnTo>
                  <a:lnTo>
                    <a:pt x="773" y="206"/>
                  </a:lnTo>
                  <a:lnTo>
                    <a:pt x="762" y="214"/>
                  </a:lnTo>
                  <a:lnTo>
                    <a:pt x="749" y="222"/>
                  </a:lnTo>
                  <a:lnTo>
                    <a:pt x="738" y="232"/>
                  </a:lnTo>
                  <a:close/>
                  <a:moveTo>
                    <a:pt x="1065" y="217"/>
                  </a:moveTo>
                  <a:lnTo>
                    <a:pt x="1095" y="221"/>
                  </a:lnTo>
                  <a:lnTo>
                    <a:pt x="1125" y="227"/>
                  </a:lnTo>
                  <a:lnTo>
                    <a:pt x="1155" y="233"/>
                  </a:lnTo>
                  <a:lnTo>
                    <a:pt x="1184" y="241"/>
                  </a:lnTo>
                  <a:lnTo>
                    <a:pt x="1214" y="249"/>
                  </a:lnTo>
                  <a:lnTo>
                    <a:pt x="1243" y="257"/>
                  </a:lnTo>
                  <a:lnTo>
                    <a:pt x="1272" y="267"/>
                  </a:lnTo>
                  <a:lnTo>
                    <a:pt x="1302" y="278"/>
                  </a:lnTo>
                  <a:lnTo>
                    <a:pt x="1279" y="264"/>
                  </a:lnTo>
                  <a:lnTo>
                    <a:pt x="1256" y="250"/>
                  </a:lnTo>
                  <a:lnTo>
                    <a:pt x="1233" y="237"/>
                  </a:lnTo>
                  <a:lnTo>
                    <a:pt x="1210" y="225"/>
                  </a:lnTo>
                  <a:lnTo>
                    <a:pt x="1187" y="214"/>
                  </a:lnTo>
                  <a:lnTo>
                    <a:pt x="1163" y="203"/>
                  </a:lnTo>
                  <a:lnTo>
                    <a:pt x="1140" y="194"/>
                  </a:lnTo>
                  <a:lnTo>
                    <a:pt x="1116" y="184"/>
                  </a:lnTo>
                  <a:lnTo>
                    <a:pt x="1099" y="194"/>
                  </a:lnTo>
                  <a:lnTo>
                    <a:pt x="1083" y="204"/>
                  </a:lnTo>
                  <a:lnTo>
                    <a:pt x="1074" y="210"/>
                  </a:lnTo>
                  <a:lnTo>
                    <a:pt x="1065" y="217"/>
                  </a:lnTo>
                  <a:close/>
                  <a:moveTo>
                    <a:pt x="2037" y="2635"/>
                  </a:moveTo>
                  <a:lnTo>
                    <a:pt x="2053" y="2625"/>
                  </a:lnTo>
                  <a:lnTo>
                    <a:pt x="2069" y="2612"/>
                  </a:lnTo>
                  <a:lnTo>
                    <a:pt x="2084" y="2597"/>
                  </a:lnTo>
                  <a:lnTo>
                    <a:pt x="2099" y="2581"/>
                  </a:lnTo>
                  <a:lnTo>
                    <a:pt x="2083" y="2588"/>
                  </a:lnTo>
                  <a:lnTo>
                    <a:pt x="2067" y="2595"/>
                  </a:lnTo>
                  <a:lnTo>
                    <a:pt x="2036" y="2607"/>
                  </a:lnTo>
                  <a:lnTo>
                    <a:pt x="2004" y="2620"/>
                  </a:lnTo>
                  <a:lnTo>
                    <a:pt x="1972" y="2631"/>
                  </a:lnTo>
                  <a:lnTo>
                    <a:pt x="1939" y="2643"/>
                  </a:lnTo>
                  <a:lnTo>
                    <a:pt x="1906" y="2653"/>
                  </a:lnTo>
                  <a:lnTo>
                    <a:pt x="1872" y="2663"/>
                  </a:lnTo>
                  <a:lnTo>
                    <a:pt x="1839" y="2672"/>
                  </a:lnTo>
                  <a:lnTo>
                    <a:pt x="1805" y="2681"/>
                  </a:lnTo>
                  <a:lnTo>
                    <a:pt x="1798" y="2696"/>
                  </a:lnTo>
                  <a:lnTo>
                    <a:pt x="1790" y="2711"/>
                  </a:lnTo>
                  <a:lnTo>
                    <a:pt x="1781" y="2726"/>
                  </a:lnTo>
                  <a:lnTo>
                    <a:pt x="1773" y="2739"/>
                  </a:lnTo>
                  <a:lnTo>
                    <a:pt x="1808" y="2728"/>
                  </a:lnTo>
                  <a:lnTo>
                    <a:pt x="1841" y="2718"/>
                  </a:lnTo>
                  <a:lnTo>
                    <a:pt x="1875" y="2706"/>
                  </a:lnTo>
                  <a:lnTo>
                    <a:pt x="1908" y="2694"/>
                  </a:lnTo>
                  <a:lnTo>
                    <a:pt x="1940" y="2680"/>
                  </a:lnTo>
                  <a:lnTo>
                    <a:pt x="1974" y="2666"/>
                  </a:lnTo>
                  <a:lnTo>
                    <a:pt x="2005" y="2651"/>
                  </a:lnTo>
                  <a:lnTo>
                    <a:pt x="2037" y="2635"/>
                  </a:lnTo>
                  <a:close/>
                  <a:moveTo>
                    <a:pt x="2128" y="2536"/>
                  </a:moveTo>
                  <a:lnTo>
                    <a:pt x="2139" y="2515"/>
                  </a:lnTo>
                  <a:lnTo>
                    <a:pt x="2149" y="2491"/>
                  </a:lnTo>
                  <a:lnTo>
                    <a:pt x="2158" y="2467"/>
                  </a:lnTo>
                  <a:lnTo>
                    <a:pt x="2166" y="2440"/>
                  </a:lnTo>
                  <a:lnTo>
                    <a:pt x="2173" y="2413"/>
                  </a:lnTo>
                  <a:lnTo>
                    <a:pt x="2179" y="2384"/>
                  </a:lnTo>
                  <a:lnTo>
                    <a:pt x="2185" y="2353"/>
                  </a:lnTo>
                  <a:lnTo>
                    <a:pt x="2188" y="2322"/>
                  </a:lnTo>
                  <a:lnTo>
                    <a:pt x="2150" y="2339"/>
                  </a:lnTo>
                  <a:lnTo>
                    <a:pt x="2110" y="2355"/>
                  </a:lnTo>
                  <a:lnTo>
                    <a:pt x="2068" y="2370"/>
                  </a:lnTo>
                  <a:lnTo>
                    <a:pt x="2027" y="2384"/>
                  </a:lnTo>
                  <a:lnTo>
                    <a:pt x="1984" y="2398"/>
                  </a:lnTo>
                  <a:lnTo>
                    <a:pt x="1942" y="2410"/>
                  </a:lnTo>
                  <a:lnTo>
                    <a:pt x="1898" y="2422"/>
                  </a:lnTo>
                  <a:lnTo>
                    <a:pt x="1853" y="2432"/>
                  </a:lnTo>
                  <a:lnTo>
                    <a:pt x="1851" y="2463"/>
                  </a:lnTo>
                  <a:lnTo>
                    <a:pt x="1847" y="2494"/>
                  </a:lnTo>
                  <a:lnTo>
                    <a:pt x="1844" y="2523"/>
                  </a:lnTo>
                  <a:lnTo>
                    <a:pt x="1839" y="2551"/>
                  </a:lnTo>
                  <a:lnTo>
                    <a:pt x="1834" y="2577"/>
                  </a:lnTo>
                  <a:lnTo>
                    <a:pt x="1829" y="2603"/>
                  </a:lnTo>
                  <a:lnTo>
                    <a:pt x="1822" y="2627"/>
                  </a:lnTo>
                  <a:lnTo>
                    <a:pt x="1816" y="2650"/>
                  </a:lnTo>
                  <a:lnTo>
                    <a:pt x="1847" y="2642"/>
                  </a:lnTo>
                  <a:lnTo>
                    <a:pt x="1878" y="2633"/>
                  </a:lnTo>
                  <a:lnTo>
                    <a:pt x="1909" y="2623"/>
                  </a:lnTo>
                  <a:lnTo>
                    <a:pt x="1939" y="2614"/>
                  </a:lnTo>
                  <a:lnTo>
                    <a:pt x="1969" y="2604"/>
                  </a:lnTo>
                  <a:lnTo>
                    <a:pt x="1998" y="2593"/>
                  </a:lnTo>
                  <a:lnTo>
                    <a:pt x="2027" y="2582"/>
                  </a:lnTo>
                  <a:lnTo>
                    <a:pt x="2056" y="2569"/>
                  </a:lnTo>
                  <a:lnTo>
                    <a:pt x="2074" y="2561"/>
                  </a:lnTo>
                  <a:lnTo>
                    <a:pt x="2093" y="2553"/>
                  </a:lnTo>
                  <a:lnTo>
                    <a:pt x="2110" y="2545"/>
                  </a:lnTo>
                  <a:lnTo>
                    <a:pt x="2128" y="2536"/>
                  </a:lnTo>
                  <a:close/>
                  <a:moveTo>
                    <a:pt x="2192" y="2290"/>
                  </a:moveTo>
                  <a:lnTo>
                    <a:pt x="2194" y="2265"/>
                  </a:lnTo>
                  <a:lnTo>
                    <a:pt x="2195" y="2239"/>
                  </a:lnTo>
                  <a:lnTo>
                    <a:pt x="2196" y="2212"/>
                  </a:lnTo>
                  <a:lnTo>
                    <a:pt x="2197" y="2186"/>
                  </a:lnTo>
                  <a:lnTo>
                    <a:pt x="2197" y="2158"/>
                  </a:lnTo>
                  <a:lnTo>
                    <a:pt x="2196" y="2129"/>
                  </a:lnTo>
                  <a:lnTo>
                    <a:pt x="2195" y="2102"/>
                  </a:lnTo>
                  <a:lnTo>
                    <a:pt x="2194" y="2072"/>
                  </a:lnTo>
                  <a:lnTo>
                    <a:pt x="2192" y="2043"/>
                  </a:lnTo>
                  <a:lnTo>
                    <a:pt x="2189" y="2013"/>
                  </a:lnTo>
                  <a:lnTo>
                    <a:pt x="2187" y="1983"/>
                  </a:lnTo>
                  <a:lnTo>
                    <a:pt x="2184" y="1952"/>
                  </a:lnTo>
                  <a:lnTo>
                    <a:pt x="2144" y="1969"/>
                  </a:lnTo>
                  <a:lnTo>
                    <a:pt x="2104" y="1985"/>
                  </a:lnTo>
                  <a:lnTo>
                    <a:pt x="2064" y="2001"/>
                  </a:lnTo>
                  <a:lnTo>
                    <a:pt x="2022" y="2015"/>
                  </a:lnTo>
                  <a:lnTo>
                    <a:pt x="1981" y="2029"/>
                  </a:lnTo>
                  <a:lnTo>
                    <a:pt x="1937" y="2042"/>
                  </a:lnTo>
                  <a:lnTo>
                    <a:pt x="1893" y="2054"/>
                  </a:lnTo>
                  <a:lnTo>
                    <a:pt x="1849" y="2065"/>
                  </a:lnTo>
                  <a:lnTo>
                    <a:pt x="1852" y="2106"/>
                  </a:lnTo>
                  <a:lnTo>
                    <a:pt x="1854" y="2145"/>
                  </a:lnTo>
                  <a:lnTo>
                    <a:pt x="1855" y="2184"/>
                  </a:lnTo>
                  <a:lnTo>
                    <a:pt x="1856" y="2224"/>
                  </a:lnTo>
                  <a:lnTo>
                    <a:pt x="1858" y="2262"/>
                  </a:lnTo>
                  <a:lnTo>
                    <a:pt x="1858" y="2297"/>
                  </a:lnTo>
                  <a:lnTo>
                    <a:pt x="1858" y="2333"/>
                  </a:lnTo>
                  <a:lnTo>
                    <a:pt x="1856" y="2369"/>
                  </a:lnTo>
                  <a:lnTo>
                    <a:pt x="1856" y="2377"/>
                  </a:lnTo>
                  <a:lnTo>
                    <a:pt x="1855" y="2386"/>
                  </a:lnTo>
                  <a:lnTo>
                    <a:pt x="1855" y="2395"/>
                  </a:lnTo>
                  <a:lnTo>
                    <a:pt x="1855" y="2403"/>
                  </a:lnTo>
                  <a:lnTo>
                    <a:pt x="1900" y="2393"/>
                  </a:lnTo>
                  <a:lnTo>
                    <a:pt x="1944" y="2381"/>
                  </a:lnTo>
                  <a:lnTo>
                    <a:pt x="1988" y="2369"/>
                  </a:lnTo>
                  <a:lnTo>
                    <a:pt x="2030" y="2355"/>
                  </a:lnTo>
                  <a:lnTo>
                    <a:pt x="2072" y="2340"/>
                  </a:lnTo>
                  <a:lnTo>
                    <a:pt x="2113" y="2324"/>
                  </a:lnTo>
                  <a:lnTo>
                    <a:pt x="2152" y="2308"/>
                  </a:lnTo>
                  <a:lnTo>
                    <a:pt x="2192" y="2290"/>
                  </a:lnTo>
                  <a:close/>
                  <a:moveTo>
                    <a:pt x="2179" y="1923"/>
                  </a:moveTo>
                  <a:lnTo>
                    <a:pt x="2174" y="1887"/>
                  </a:lnTo>
                  <a:lnTo>
                    <a:pt x="2169" y="1850"/>
                  </a:lnTo>
                  <a:lnTo>
                    <a:pt x="2163" y="1813"/>
                  </a:lnTo>
                  <a:lnTo>
                    <a:pt x="2156" y="1775"/>
                  </a:lnTo>
                  <a:lnTo>
                    <a:pt x="2148" y="1739"/>
                  </a:lnTo>
                  <a:lnTo>
                    <a:pt x="2140" y="1701"/>
                  </a:lnTo>
                  <a:lnTo>
                    <a:pt x="2131" y="1663"/>
                  </a:lnTo>
                  <a:lnTo>
                    <a:pt x="2121" y="1623"/>
                  </a:lnTo>
                  <a:lnTo>
                    <a:pt x="2116" y="1599"/>
                  </a:lnTo>
                  <a:lnTo>
                    <a:pt x="2109" y="1575"/>
                  </a:lnTo>
                  <a:lnTo>
                    <a:pt x="2102" y="1550"/>
                  </a:lnTo>
                  <a:lnTo>
                    <a:pt x="2095" y="1525"/>
                  </a:lnTo>
                  <a:lnTo>
                    <a:pt x="2060" y="1539"/>
                  </a:lnTo>
                  <a:lnTo>
                    <a:pt x="2025" y="1553"/>
                  </a:lnTo>
                  <a:lnTo>
                    <a:pt x="1989" y="1567"/>
                  </a:lnTo>
                  <a:lnTo>
                    <a:pt x="1952" y="1578"/>
                  </a:lnTo>
                  <a:lnTo>
                    <a:pt x="1914" y="1590"/>
                  </a:lnTo>
                  <a:lnTo>
                    <a:pt x="1875" y="1602"/>
                  </a:lnTo>
                  <a:lnTo>
                    <a:pt x="1836" y="1611"/>
                  </a:lnTo>
                  <a:lnTo>
                    <a:pt x="1796" y="1620"/>
                  </a:lnTo>
                  <a:lnTo>
                    <a:pt x="1805" y="1674"/>
                  </a:lnTo>
                  <a:lnTo>
                    <a:pt x="1813" y="1727"/>
                  </a:lnTo>
                  <a:lnTo>
                    <a:pt x="1819" y="1781"/>
                  </a:lnTo>
                  <a:lnTo>
                    <a:pt x="1826" y="1833"/>
                  </a:lnTo>
                  <a:lnTo>
                    <a:pt x="1832" y="1885"/>
                  </a:lnTo>
                  <a:lnTo>
                    <a:pt x="1838" y="1937"/>
                  </a:lnTo>
                  <a:lnTo>
                    <a:pt x="1843" y="1987"/>
                  </a:lnTo>
                  <a:lnTo>
                    <a:pt x="1847" y="2037"/>
                  </a:lnTo>
                  <a:lnTo>
                    <a:pt x="1891" y="2027"/>
                  </a:lnTo>
                  <a:lnTo>
                    <a:pt x="1935" y="2014"/>
                  </a:lnTo>
                  <a:lnTo>
                    <a:pt x="1977" y="2001"/>
                  </a:lnTo>
                  <a:lnTo>
                    <a:pt x="2020" y="1987"/>
                  </a:lnTo>
                  <a:lnTo>
                    <a:pt x="2061" y="1972"/>
                  </a:lnTo>
                  <a:lnTo>
                    <a:pt x="2102" y="1958"/>
                  </a:lnTo>
                  <a:lnTo>
                    <a:pt x="2141" y="1940"/>
                  </a:lnTo>
                  <a:lnTo>
                    <a:pt x="2179" y="1923"/>
                  </a:lnTo>
                  <a:close/>
                  <a:moveTo>
                    <a:pt x="2088" y="1499"/>
                  </a:moveTo>
                  <a:lnTo>
                    <a:pt x="2071" y="1445"/>
                  </a:lnTo>
                  <a:lnTo>
                    <a:pt x="2053" y="1391"/>
                  </a:lnTo>
                  <a:lnTo>
                    <a:pt x="2035" y="1338"/>
                  </a:lnTo>
                  <a:lnTo>
                    <a:pt x="2015" y="1284"/>
                  </a:lnTo>
                  <a:lnTo>
                    <a:pt x="1995" y="1229"/>
                  </a:lnTo>
                  <a:lnTo>
                    <a:pt x="1973" y="1176"/>
                  </a:lnTo>
                  <a:lnTo>
                    <a:pt x="1950" y="1123"/>
                  </a:lnTo>
                  <a:lnTo>
                    <a:pt x="1927" y="1072"/>
                  </a:lnTo>
                  <a:lnTo>
                    <a:pt x="1900" y="1083"/>
                  </a:lnTo>
                  <a:lnTo>
                    <a:pt x="1874" y="1093"/>
                  </a:lnTo>
                  <a:lnTo>
                    <a:pt x="1846" y="1104"/>
                  </a:lnTo>
                  <a:lnTo>
                    <a:pt x="1818" y="1113"/>
                  </a:lnTo>
                  <a:lnTo>
                    <a:pt x="1790" y="1122"/>
                  </a:lnTo>
                  <a:lnTo>
                    <a:pt x="1761" y="1131"/>
                  </a:lnTo>
                  <a:lnTo>
                    <a:pt x="1731" y="1138"/>
                  </a:lnTo>
                  <a:lnTo>
                    <a:pt x="1701" y="1146"/>
                  </a:lnTo>
                  <a:lnTo>
                    <a:pt x="1703" y="1158"/>
                  </a:lnTo>
                  <a:lnTo>
                    <a:pt x="1707" y="1169"/>
                  </a:lnTo>
                  <a:lnTo>
                    <a:pt x="1709" y="1182"/>
                  </a:lnTo>
                  <a:lnTo>
                    <a:pt x="1712" y="1194"/>
                  </a:lnTo>
                  <a:lnTo>
                    <a:pt x="1724" y="1243"/>
                  </a:lnTo>
                  <a:lnTo>
                    <a:pt x="1734" y="1293"/>
                  </a:lnTo>
                  <a:lnTo>
                    <a:pt x="1745" y="1343"/>
                  </a:lnTo>
                  <a:lnTo>
                    <a:pt x="1755" y="1393"/>
                  </a:lnTo>
                  <a:lnTo>
                    <a:pt x="1765" y="1444"/>
                  </a:lnTo>
                  <a:lnTo>
                    <a:pt x="1775" y="1493"/>
                  </a:lnTo>
                  <a:lnTo>
                    <a:pt x="1784" y="1543"/>
                  </a:lnTo>
                  <a:lnTo>
                    <a:pt x="1792" y="1592"/>
                  </a:lnTo>
                  <a:lnTo>
                    <a:pt x="1831" y="1584"/>
                  </a:lnTo>
                  <a:lnTo>
                    <a:pt x="1870" y="1574"/>
                  </a:lnTo>
                  <a:lnTo>
                    <a:pt x="1908" y="1563"/>
                  </a:lnTo>
                  <a:lnTo>
                    <a:pt x="1945" y="1552"/>
                  </a:lnTo>
                  <a:lnTo>
                    <a:pt x="1982" y="1540"/>
                  </a:lnTo>
                  <a:lnTo>
                    <a:pt x="2018" y="1527"/>
                  </a:lnTo>
                  <a:lnTo>
                    <a:pt x="2053" y="1513"/>
                  </a:lnTo>
                  <a:lnTo>
                    <a:pt x="2088" y="1499"/>
                  </a:lnTo>
                  <a:close/>
                  <a:moveTo>
                    <a:pt x="1914" y="1046"/>
                  </a:moveTo>
                  <a:lnTo>
                    <a:pt x="1907" y="1031"/>
                  </a:lnTo>
                  <a:lnTo>
                    <a:pt x="1899" y="1015"/>
                  </a:lnTo>
                  <a:lnTo>
                    <a:pt x="1877" y="970"/>
                  </a:lnTo>
                  <a:lnTo>
                    <a:pt x="1854" y="926"/>
                  </a:lnTo>
                  <a:lnTo>
                    <a:pt x="1830" y="884"/>
                  </a:lnTo>
                  <a:lnTo>
                    <a:pt x="1806" y="841"/>
                  </a:lnTo>
                  <a:lnTo>
                    <a:pt x="1780" y="798"/>
                  </a:lnTo>
                  <a:lnTo>
                    <a:pt x="1754" y="757"/>
                  </a:lnTo>
                  <a:lnTo>
                    <a:pt x="1727" y="717"/>
                  </a:lnTo>
                  <a:lnTo>
                    <a:pt x="1701" y="678"/>
                  </a:lnTo>
                  <a:lnTo>
                    <a:pt x="1672" y="691"/>
                  </a:lnTo>
                  <a:lnTo>
                    <a:pt x="1643" y="703"/>
                  </a:lnTo>
                  <a:lnTo>
                    <a:pt x="1612" y="714"/>
                  </a:lnTo>
                  <a:lnTo>
                    <a:pt x="1580" y="724"/>
                  </a:lnTo>
                  <a:lnTo>
                    <a:pt x="1596" y="771"/>
                  </a:lnTo>
                  <a:lnTo>
                    <a:pt x="1611" y="818"/>
                  </a:lnTo>
                  <a:lnTo>
                    <a:pt x="1626" y="866"/>
                  </a:lnTo>
                  <a:lnTo>
                    <a:pt x="1640" y="916"/>
                  </a:lnTo>
                  <a:lnTo>
                    <a:pt x="1654" y="966"/>
                  </a:lnTo>
                  <a:lnTo>
                    <a:pt x="1667" y="1016"/>
                  </a:lnTo>
                  <a:lnTo>
                    <a:pt x="1681" y="1068"/>
                  </a:lnTo>
                  <a:lnTo>
                    <a:pt x="1694" y="1120"/>
                  </a:lnTo>
                  <a:lnTo>
                    <a:pt x="1724" y="1113"/>
                  </a:lnTo>
                  <a:lnTo>
                    <a:pt x="1753" y="1105"/>
                  </a:lnTo>
                  <a:lnTo>
                    <a:pt x="1781" y="1097"/>
                  </a:lnTo>
                  <a:lnTo>
                    <a:pt x="1809" y="1088"/>
                  </a:lnTo>
                  <a:lnTo>
                    <a:pt x="1836" y="1078"/>
                  </a:lnTo>
                  <a:lnTo>
                    <a:pt x="1863" y="1068"/>
                  </a:lnTo>
                  <a:lnTo>
                    <a:pt x="1889" y="1058"/>
                  </a:lnTo>
                  <a:lnTo>
                    <a:pt x="1914" y="1046"/>
                  </a:lnTo>
                  <a:close/>
                  <a:moveTo>
                    <a:pt x="1685" y="654"/>
                  </a:moveTo>
                  <a:lnTo>
                    <a:pt x="1657" y="619"/>
                  </a:lnTo>
                  <a:lnTo>
                    <a:pt x="1629" y="582"/>
                  </a:lnTo>
                  <a:lnTo>
                    <a:pt x="1601" y="547"/>
                  </a:lnTo>
                  <a:lnTo>
                    <a:pt x="1572" y="514"/>
                  </a:lnTo>
                  <a:lnTo>
                    <a:pt x="1542" y="482"/>
                  </a:lnTo>
                  <a:lnTo>
                    <a:pt x="1511" y="449"/>
                  </a:lnTo>
                  <a:lnTo>
                    <a:pt x="1481" y="419"/>
                  </a:lnTo>
                  <a:lnTo>
                    <a:pt x="1449" y="391"/>
                  </a:lnTo>
                  <a:lnTo>
                    <a:pt x="1465" y="425"/>
                  </a:lnTo>
                  <a:lnTo>
                    <a:pt x="1481" y="461"/>
                  </a:lnTo>
                  <a:lnTo>
                    <a:pt x="1497" y="498"/>
                  </a:lnTo>
                  <a:lnTo>
                    <a:pt x="1512" y="536"/>
                  </a:lnTo>
                  <a:lnTo>
                    <a:pt x="1527" y="575"/>
                  </a:lnTo>
                  <a:lnTo>
                    <a:pt x="1542" y="614"/>
                  </a:lnTo>
                  <a:lnTo>
                    <a:pt x="1557" y="656"/>
                  </a:lnTo>
                  <a:lnTo>
                    <a:pt x="1572" y="697"/>
                  </a:lnTo>
                  <a:lnTo>
                    <a:pt x="1602" y="689"/>
                  </a:lnTo>
                  <a:lnTo>
                    <a:pt x="1631" y="679"/>
                  </a:lnTo>
                  <a:lnTo>
                    <a:pt x="1658" y="667"/>
                  </a:lnTo>
                  <a:lnTo>
                    <a:pt x="1685" y="654"/>
                  </a:lnTo>
                  <a:close/>
                  <a:moveTo>
                    <a:pt x="946" y="116"/>
                  </a:moveTo>
                  <a:lnTo>
                    <a:pt x="967" y="119"/>
                  </a:lnTo>
                  <a:lnTo>
                    <a:pt x="989" y="122"/>
                  </a:lnTo>
                  <a:lnTo>
                    <a:pt x="1010" y="127"/>
                  </a:lnTo>
                  <a:lnTo>
                    <a:pt x="1030" y="130"/>
                  </a:lnTo>
                  <a:lnTo>
                    <a:pt x="1072" y="142"/>
                  </a:lnTo>
                  <a:lnTo>
                    <a:pt x="1113" y="154"/>
                  </a:lnTo>
                  <a:lnTo>
                    <a:pt x="1140" y="142"/>
                  </a:lnTo>
                  <a:lnTo>
                    <a:pt x="1169" y="129"/>
                  </a:lnTo>
                  <a:lnTo>
                    <a:pt x="1197" y="119"/>
                  </a:lnTo>
                  <a:lnTo>
                    <a:pt x="1229" y="110"/>
                  </a:lnTo>
                  <a:lnTo>
                    <a:pt x="1217" y="99"/>
                  </a:lnTo>
                  <a:lnTo>
                    <a:pt x="1204" y="91"/>
                  </a:lnTo>
                  <a:lnTo>
                    <a:pt x="1193" y="83"/>
                  </a:lnTo>
                  <a:lnTo>
                    <a:pt x="1181" y="76"/>
                  </a:lnTo>
                  <a:lnTo>
                    <a:pt x="1169" y="70"/>
                  </a:lnTo>
                  <a:lnTo>
                    <a:pt x="1157" y="66"/>
                  </a:lnTo>
                  <a:lnTo>
                    <a:pt x="1146" y="62"/>
                  </a:lnTo>
                  <a:lnTo>
                    <a:pt x="1134" y="60"/>
                  </a:lnTo>
                  <a:lnTo>
                    <a:pt x="1109" y="66"/>
                  </a:lnTo>
                  <a:lnTo>
                    <a:pt x="1085" y="72"/>
                  </a:lnTo>
                  <a:lnTo>
                    <a:pt x="1060" y="77"/>
                  </a:lnTo>
                  <a:lnTo>
                    <a:pt x="1037" y="84"/>
                  </a:lnTo>
                  <a:lnTo>
                    <a:pt x="1013" y="92"/>
                  </a:lnTo>
                  <a:lnTo>
                    <a:pt x="990" y="99"/>
                  </a:lnTo>
                  <a:lnTo>
                    <a:pt x="968" y="107"/>
                  </a:lnTo>
                  <a:lnTo>
                    <a:pt x="946" y="116"/>
                  </a:lnTo>
                  <a:close/>
                  <a:moveTo>
                    <a:pt x="1148" y="167"/>
                  </a:moveTo>
                  <a:lnTo>
                    <a:pt x="1177" y="179"/>
                  </a:lnTo>
                  <a:lnTo>
                    <a:pt x="1204" y="191"/>
                  </a:lnTo>
                  <a:lnTo>
                    <a:pt x="1232" y="205"/>
                  </a:lnTo>
                  <a:lnTo>
                    <a:pt x="1258" y="220"/>
                  </a:lnTo>
                  <a:lnTo>
                    <a:pt x="1286" y="235"/>
                  </a:lnTo>
                  <a:lnTo>
                    <a:pt x="1313" y="252"/>
                  </a:lnTo>
                  <a:lnTo>
                    <a:pt x="1339" y="270"/>
                  </a:lnTo>
                  <a:lnTo>
                    <a:pt x="1364" y="288"/>
                  </a:lnTo>
                  <a:lnTo>
                    <a:pt x="1351" y="264"/>
                  </a:lnTo>
                  <a:lnTo>
                    <a:pt x="1336" y="241"/>
                  </a:lnTo>
                  <a:lnTo>
                    <a:pt x="1322" y="219"/>
                  </a:lnTo>
                  <a:lnTo>
                    <a:pt x="1307" y="198"/>
                  </a:lnTo>
                  <a:lnTo>
                    <a:pt x="1293" y="180"/>
                  </a:lnTo>
                  <a:lnTo>
                    <a:pt x="1279" y="163"/>
                  </a:lnTo>
                  <a:lnTo>
                    <a:pt x="1265" y="146"/>
                  </a:lnTo>
                  <a:lnTo>
                    <a:pt x="1252" y="131"/>
                  </a:lnTo>
                  <a:lnTo>
                    <a:pt x="1225" y="139"/>
                  </a:lnTo>
                  <a:lnTo>
                    <a:pt x="1199" y="148"/>
                  </a:lnTo>
                  <a:lnTo>
                    <a:pt x="1173" y="157"/>
                  </a:lnTo>
                  <a:lnTo>
                    <a:pt x="1148" y="167"/>
                  </a:lnTo>
                  <a:close/>
                  <a:moveTo>
                    <a:pt x="2147" y="2558"/>
                  </a:moveTo>
                  <a:lnTo>
                    <a:pt x="2140" y="2569"/>
                  </a:lnTo>
                  <a:lnTo>
                    <a:pt x="2132" y="2582"/>
                  </a:lnTo>
                  <a:lnTo>
                    <a:pt x="2163" y="2562"/>
                  </a:lnTo>
                  <a:lnTo>
                    <a:pt x="2194" y="2542"/>
                  </a:lnTo>
                  <a:lnTo>
                    <a:pt x="2224" y="2520"/>
                  </a:lnTo>
                  <a:lnTo>
                    <a:pt x="2253" y="2498"/>
                  </a:lnTo>
                  <a:lnTo>
                    <a:pt x="2227" y="2513"/>
                  </a:lnTo>
                  <a:lnTo>
                    <a:pt x="2201" y="2528"/>
                  </a:lnTo>
                  <a:lnTo>
                    <a:pt x="2174" y="2543"/>
                  </a:lnTo>
                  <a:lnTo>
                    <a:pt x="2147" y="2558"/>
                  </a:lnTo>
                  <a:close/>
                  <a:moveTo>
                    <a:pt x="2042" y="2664"/>
                  </a:moveTo>
                  <a:lnTo>
                    <a:pt x="2038" y="2666"/>
                  </a:lnTo>
                  <a:lnTo>
                    <a:pt x="2038" y="2666"/>
                  </a:lnTo>
                  <a:lnTo>
                    <a:pt x="2003" y="2683"/>
                  </a:lnTo>
                  <a:lnTo>
                    <a:pt x="1966" y="2699"/>
                  </a:lnTo>
                  <a:lnTo>
                    <a:pt x="1929" y="2714"/>
                  </a:lnTo>
                  <a:lnTo>
                    <a:pt x="1891" y="2729"/>
                  </a:lnTo>
                  <a:lnTo>
                    <a:pt x="1853" y="2742"/>
                  </a:lnTo>
                  <a:lnTo>
                    <a:pt x="1815" y="2755"/>
                  </a:lnTo>
                  <a:lnTo>
                    <a:pt x="1776" y="2766"/>
                  </a:lnTo>
                  <a:lnTo>
                    <a:pt x="1737" y="2776"/>
                  </a:lnTo>
                  <a:lnTo>
                    <a:pt x="1697" y="2785"/>
                  </a:lnTo>
                  <a:lnTo>
                    <a:pt x="1657" y="2793"/>
                  </a:lnTo>
                  <a:lnTo>
                    <a:pt x="1616" y="2800"/>
                  </a:lnTo>
                  <a:lnTo>
                    <a:pt x="1575" y="2804"/>
                  </a:lnTo>
                  <a:lnTo>
                    <a:pt x="1534" y="2809"/>
                  </a:lnTo>
                  <a:lnTo>
                    <a:pt x="1492" y="2812"/>
                  </a:lnTo>
                  <a:lnTo>
                    <a:pt x="1450" y="2814"/>
                  </a:lnTo>
                  <a:lnTo>
                    <a:pt x="1407" y="2815"/>
                  </a:lnTo>
                  <a:lnTo>
                    <a:pt x="1364" y="2814"/>
                  </a:lnTo>
                  <a:lnTo>
                    <a:pt x="1323" y="2812"/>
                  </a:lnTo>
                  <a:lnTo>
                    <a:pt x="1282" y="2809"/>
                  </a:lnTo>
                  <a:lnTo>
                    <a:pt x="1240" y="2804"/>
                  </a:lnTo>
                  <a:lnTo>
                    <a:pt x="1199" y="2800"/>
                  </a:lnTo>
                  <a:lnTo>
                    <a:pt x="1158" y="2793"/>
                  </a:lnTo>
                  <a:lnTo>
                    <a:pt x="1118" y="2785"/>
                  </a:lnTo>
                  <a:lnTo>
                    <a:pt x="1078" y="2776"/>
                  </a:lnTo>
                  <a:lnTo>
                    <a:pt x="1038" y="2766"/>
                  </a:lnTo>
                  <a:lnTo>
                    <a:pt x="999" y="2755"/>
                  </a:lnTo>
                  <a:lnTo>
                    <a:pt x="961" y="2742"/>
                  </a:lnTo>
                  <a:lnTo>
                    <a:pt x="923" y="2729"/>
                  </a:lnTo>
                  <a:lnTo>
                    <a:pt x="885" y="2714"/>
                  </a:lnTo>
                  <a:lnTo>
                    <a:pt x="848" y="2699"/>
                  </a:lnTo>
                  <a:lnTo>
                    <a:pt x="813" y="2683"/>
                  </a:lnTo>
                  <a:lnTo>
                    <a:pt x="777" y="2666"/>
                  </a:lnTo>
                  <a:lnTo>
                    <a:pt x="777" y="2666"/>
                  </a:lnTo>
                  <a:lnTo>
                    <a:pt x="773" y="2664"/>
                  </a:lnTo>
                  <a:lnTo>
                    <a:pt x="724" y="2637"/>
                  </a:lnTo>
                  <a:lnTo>
                    <a:pt x="676" y="2610"/>
                  </a:lnTo>
                  <a:lnTo>
                    <a:pt x="628" y="2580"/>
                  </a:lnTo>
                  <a:lnTo>
                    <a:pt x="582" y="2547"/>
                  </a:lnTo>
                  <a:lnTo>
                    <a:pt x="537" y="2514"/>
                  </a:lnTo>
                  <a:lnTo>
                    <a:pt x="495" y="2478"/>
                  </a:lnTo>
                  <a:lnTo>
                    <a:pt x="453" y="2441"/>
                  </a:lnTo>
                  <a:lnTo>
                    <a:pt x="413" y="2402"/>
                  </a:lnTo>
                  <a:lnTo>
                    <a:pt x="378" y="2367"/>
                  </a:lnTo>
                  <a:lnTo>
                    <a:pt x="345" y="2331"/>
                  </a:lnTo>
                  <a:lnTo>
                    <a:pt x="314" y="2293"/>
                  </a:lnTo>
                  <a:lnTo>
                    <a:pt x="283" y="2254"/>
                  </a:lnTo>
                  <a:lnTo>
                    <a:pt x="254" y="2213"/>
                  </a:lnTo>
                  <a:lnTo>
                    <a:pt x="226" y="2173"/>
                  </a:lnTo>
                  <a:lnTo>
                    <a:pt x="200" y="2130"/>
                  </a:lnTo>
                  <a:lnTo>
                    <a:pt x="176" y="2088"/>
                  </a:lnTo>
                  <a:lnTo>
                    <a:pt x="153" y="2044"/>
                  </a:lnTo>
                  <a:lnTo>
                    <a:pt x="131" y="1999"/>
                  </a:lnTo>
                  <a:lnTo>
                    <a:pt x="110" y="1953"/>
                  </a:lnTo>
                  <a:lnTo>
                    <a:pt x="91" y="1907"/>
                  </a:lnTo>
                  <a:lnTo>
                    <a:pt x="74" y="1860"/>
                  </a:lnTo>
                  <a:lnTo>
                    <a:pt x="59" y="1811"/>
                  </a:lnTo>
                  <a:lnTo>
                    <a:pt x="45" y="1762"/>
                  </a:lnTo>
                  <a:lnTo>
                    <a:pt x="34" y="1712"/>
                  </a:lnTo>
                  <a:lnTo>
                    <a:pt x="30" y="1701"/>
                  </a:lnTo>
                  <a:lnTo>
                    <a:pt x="28" y="1689"/>
                  </a:lnTo>
                  <a:lnTo>
                    <a:pt x="28" y="1689"/>
                  </a:lnTo>
                  <a:lnTo>
                    <a:pt x="22" y="1655"/>
                  </a:lnTo>
                  <a:lnTo>
                    <a:pt x="17" y="1620"/>
                  </a:lnTo>
                  <a:lnTo>
                    <a:pt x="12" y="1585"/>
                  </a:lnTo>
                  <a:lnTo>
                    <a:pt x="7" y="1551"/>
                  </a:lnTo>
                  <a:lnTo>
                    <a:pt x="4" y="1515"/>
                  </a:lnTo>
                  <a:lnTo>
                    <a:pt x="2" y="1479"/>
                  </a:lnTo>
                  <a:lnTo>
                    <a:pt x="0" y="1444"/>
                  </a:lnTo>
                  <a:lnTo>
                    <a:pt x="0" y="1408"/>
                  </a:lnTo>
                  <a:lnTo>
                    <a:pt x="0" y="1371"/>
                  </a:lnTo>
                  <a:lnTo>
                    <a:pt x="3" y="1335"/>
                  </a:lnTo>
                  <a:lnTo>
                    <a:pt x="4" y="1300"/>
                  </a:lnTo>
                  <a:lnTo>
                    <a:pt x="7" y="1264"/>
                  </a:lnTo>
                  <a:lnTo>
                    <a:pt x="12" y="1228"/>
                  </a:lnTo>
                  <a:lnTo>
                    <a:pt x="17" y="1194"/>
                  </a:lnTo>
                  <a:lnTo>
                    <a:pt x="22" y="1159"/>
                  </a:lnTo>
                  <a:lnTo>
                    <a:pt x="29" y="1125"/>
                  </a:lnTo>
                  <a:lnTo>
                    <a:pt x="36" y="1090"/>
                  </a:lnTo>
                  <a:lnTo>
                    <a:pt x="44" y="1057"/>
                  </a:lnTo>
                  <a:lnTo>
                    <a:pt x="53" y="1022"/>
                  </a:lnTo>
                  <a:lnTo>
                    <a:pt x="64" y="990"/>
                  </a:lnTo>
                  <a:lnTo>
                    <a:pt x="74" y="956"/>
                  </a:lnTo>
                  <a:lnTo>
                    <a:pt x="86" y="924"/>
                  </a:lnTo>
                  <a:lnTo>
                    <a:pt x="98" y="892"/>
                  </a:lnTo>
                  <a:lnTo>
                    <a:pt x="111" y="860"/>
                  </a:lnTo>
                  <a:lnTo>
                    <a:pt x="125" y="828"/>
                  </a:lnTo>
                  <a:lnTo>
                    <a:pt x="139" y="797"/>
                  </a:lnTo>
                  <a:lnTo>
                    <a:pt x="155" y="767"/>
                  </a:lnTo>
                  <a:lnTo>
                    <a:pt x="170" y="737"/>
                  </a:lnTo>
                  <a:lnTo>
                    <a:pt x="187" y="707"/>
                  </a:lnTo>
                  <a:lnTo>
                    <a:pt x="204" y="679"/>
                  </a:lnTo>
                  <a:lnTo>
                    <a:pt x="222" y="650"/>
                  </a:lnTo>
                  <a:lnTo>
                    <a:pt x="241" y="621"/>
                  </a:lnTo>
                  <a:lnTo>
                    <a:pt x="260" y="593"/>
                  </a:lnTo>
                  <a:lnTo>
                    <a:pt x="280" y="566"/>
                  </a:lnTo>
                  <a:lnTo>
                    <a:pt x="300" y="539"/>
                  </a:lnTo>
                  <a:lnTo>
                    <a:pt x="322" y="513"/>
                  </a:lnTo>
                  <a:lnTo>
                    <a:pt x="344" y="487"/>
                  </a:lnTo>
                  <a:lnTo>
                    <a:pt x="366" y="462"/>
                  </a:lnTo>
                  <a:lnTo>
                    <a:pt x="389" y="437"/>
                  </a:lnTo>
                  <a:lnTo>
                    <a:pt x="413" y="413"/>
                  </a:lnTo>
                  <a:lnTo>
                    <a:pt x="437" y="389"/>
                  </a:lnTo>
                  <a:lnTo>
                    <a:pt x="461" y="366"/>
                  </a:lnTo>
                  <a:lnTo>
                    <a:pt x="487" y="343"/>
                  </a:lnTo>
                  <a:lnTo>
                    <a:pt x="512" y="322"/>
                  </a:lnTo>
                  <a:lnTo>
                    <a:pt x="538" y="301"/>
                  </a:lnTo>
                  <a:lnTo>
                    <a:pt x="566" y="280"/>
                  </a:lnTo>
                  <a:lnTo>
                    <a:pt x="593" y="260"/>
                  </a:lnTo>
                  <a:lnTo>
                    <a:pt x="620" y="241"/>
                  </a:lnTo>
                  <a:lnTo>
                    <a:pt x="649" y="222"/>
                  </a:lnTo>
                  <a:lnTo>
                    <a:pt x="678" y="204"/>
                  </a:lnTo>
                  <a:lnTo>
                    <a:pt x="707" y="187"/>
                  </a:lnTo>
                  <a:lnTo>
                    <a:pt x="737" y="171"/>
                  </a:lnTo>
                  <a:lnTo>
                    <a:pt x="767" y="154"/>
                  </a:lnTo>
                  <a:lnTo>
                    <a:pt x="798" y="139"/>
                  </a:lnTo>
                  <a:lnTo>
                    <a:pt x="829" y="125"/>
                  </a:lnTo>
                  <a:lnTo>
                    <a:pt x="860" y="111"/>
                  </a:lnTo>
                  <a:lnTo>
                    <a:pt x="891" y="98"/>
                  </a:lnTo>
                  <a:lnTo>
                    <a:pt x="923" y="86"/>
                  </a:lnTo>
                  <a:lnTo>
                    <a:pt x="957" y="75"/>
                  </a:lnTo>
                  <a:lnTo>
                    <a:pt x="989" y="63"/>
                  </a:lnTo>
                  <a:lnTo>
                    <a:pt x="1022" y="54"/>
                  </a:lnTo>
                  <a:lnTo>
                    <a:pt x="1056" y="45"/>
                  </a:lnTo>
                  <a:lnTo>
                    <a:pt x="1089" y="37"/>
                  </a:lnTo>
                  <a:lnTo>
                    <a:pt x="1124" y="29"/>
                  </a:lnTo>
                  <a:lnTo>
                    <a:pt x="1158" y="23"/>
                  </a:lnTo>
                  <a:lnTo>
                    <a:pt x="1193" y="17"/>
                  </a:lnTo>
                  <a:lnTo>
                    <a:pt x="1229" y="12"/>
                  </a:lnTo>
                  <a:lnTo>
                    <a:pt x="1263" y="8"/>
                  </a:lnTo>
                  <a:lnTo>
                    <a:pt x="1299" y="5"/>
                  </a:lnTo>
                  <a:lnTo>
                    <a:pt x="1334" y="2"/>
                  </a:lnTo>
                  <a:lnTo>
                    <a:pt x="1371" y="1"/>
                  </a:lnTo>
                  <a:lnTo>
                    <a:pt x="1407" y="0"/>
                  </a:lnTo>
                  <a:lnTo>
                    <a:pt x="1444" y="1"/>
                  </a:lnTo>
                  <a:lnTo>
                    <a:pt x="1480" y="2"/>
                  </a:lnTo>
                  <a:lnTo>
                    <a:pt x="1515" y="5"/>
                  </a:lnTo>
                  <a:lnTo>
                    <a:pt x="1551" y="8"/>
                  </a:lnTo>
                  <a:lnTo>
                    <a:pt x="1587" y="12"/>
                  </a:lnTo>
                  <a:lnTo>
                    <a:pt x="1621" y="17"/>
                  </a:lnTo>
                  <a:lnTo>
                    <a:pt x="1656" y="23"/>
                  </a:lnTo>
                  <a:lnTo>
                    <a:pt x="1690" y="29"/>
                  </a:lnTo>
                  <a:lnTo>
                    <a:pt x="1725" y="37"/>
                  </a:lnTo>
                  <a:lnTo>
                    <a:pt x="1758" y="45"/>
                  </a:lnTo>
                  <a:lnTo>
                    <a:pt x="1793" y="54"/>
                  </a:lnTo>
                  <a:lnTo>
                    <a:pt x="1825" y="63"/>
                  </a:lnTo>
                  <a:lnTo>
                    <a:pt x="1859" y="75"/>
                  </a:lnTo>
                  <a:lnTo>
                    <a:pt x="1891" y="86"/>
                  </a:lnTo>
                  <a:lnTo>
                    <a:pt x="1923" y="98"/>
                  </a:lnTo>
                  <a:lnTo>
                    <a:pt x="1955" y="111"/>
                  </a:lnTo>
                  <a:lnTo>
                    <a:pt x="1987" y="125"/>
                  </a:lnTo>
                  <a:lnTo>
                    <a:pt x="2018" y="139"/>
                  </a:lnTo>
                  <a:lnTo>
                    <a:pt x="2048" y="154"/>
                  </a:lnTo>
                  <a:lnTo>
                    <a:pt x="2078" y="171"/>
                  </a:lnTo>
                  <a:lnTo>
                    <a:pt x="2107" y="187"/>
                  </a:lnTo>
                  <a:lnTo>
                    <a:pt x="2136" y="204"/>
                  </a:lnTo>
                  <a:lnTo>
                    <a:pt x="2165" y="222"/>
                  </a:lnTo>
                  <a:lnTo>
                    <a:pt x="2194" y="241"/>
                  </a:lnTo>
                  <a:lnTo>
                    <a:pt x="2222" y="260"/>
                  </a:lnTo>
                  <a:lnTo>
                    <a:pt x="2249" y="280"/>
                  </a:lnTo>
                  <a:lnTo>
                    <a:pt x="2276" y="301"/>
                  </a:lnTo>
                  <a:lnTo>
                    <a:pt x="2302" y="322"/>
                  </a:lnTo>
                  <a:lnTo>
                    <a:pt x="2328" y="343"/>
                  </a:lnTo>
                  <a:lnTo>
                    <a:pt x="2353" y="366"/>
                  </a:lnTo>
                  <a:lnTo>
                    <a:pt x="2378" y="389"/>
                  </a:lnTo>
                  <a:lnTo>
                    <a:pt x="2402" y="413"/>
                  </a:lnTo>
                  <a:lnTo>
                    <a:pt x="2425" y="437"/>
                  </a:lnTo>
                  <a:lnTo>
                    <a:pt x="2448" y="462"/>
                  </a:lnTo>
                  <a:lnTo>
                    <a:pt x="2472" y="487"/>
                  </a:lnTo>
                  <a:lnTo>
                    <a:pt x="2493" y="513"/>
                  </a:lnTo>
                  <a:lnTo>
                    <a:pt x="2514" y="539"/>
                  </a:lnTo>
                  <a:lnTo>
                    <a:pt x="2535" y="566"/>
                  </a:lnTo>
                  <a:lnTo>
                    <a:pt x="2554" y="593"/>
                  </a:lnTo>
                  <a:lnTo>
                    <a:pt x="2574" y="621"/>
                  </a:lnTo>
                  <a:lnTo>
                    <a:pt x="2592" y="650"/>
                  </a:lnTo>
                  <a:lnTo>
                    <a:pt x="2611" y="679"/>
                  </a:lnTo>
                  <a:lnTo>
                    <a:pt x="2628" y="707"/>
                  </a:lnTo>
                  <a:lnTo>
                    <a:pt x="2644" y="737"/>
                  </a:lnTo>
                  <a:lnTo>
                    <a:pt x="2660" y="767"/>
                  </a:lnTo>
                  <a:lnTo>
                    <a:pt x="2675" y="797"/>
                  </a:lnTo>
                  <a:lnTo>
                    <a:pt x="2690" y="828"/>
                  </a:lnTo>
                  <a:lnTo>
                    <a:pt x="2704" y="860"/>
                  </a:lnTo>
                  <a:lnTo>
                    <a:pt x="2717" y="892"/>
                  </a:lnTo>
                  <a:lnTo>
                    <a:pt x="2728" y="924"/>
                  </a:lnTo>
                  <a:lnTo>
                    <a:pt x="2740" y="956"/>
                  </a:lnTo>
                  <a:lnTo>
                    <a:pt x="2751" y="990"/>
                  </a:lnTo>
                  <a:lnTo>
                    <a:pt x="2761" y="1022"/>
                  </a:lnTo>
                  <a:lnTo>
                    <a:pt x="2770" y="1057"/>
                  </a:lnTo>
                  <a:lnTo>
                    <a:pt x="2778" y="1090"/>
                  </a:lnTo>
                  <a:lnTo>
                    <a:pt x="2786" y="1125"/>
                  </a:lnTo>
                  <a:lnTo>
                    <a:pt x="2792" y="1159"/>
                  </a:lnTo>
                  <a:lnTo>
                    <a:pt x="2798" y="1194"/>
                  </a:lnTo>
                  <a:lnTo>
                    <a:pt x="2803" y="1228"/>
                  </a:lnTo>
                  <a:lnTo>
                    <a:pt x="2807" y="1264"/>
                  </a:lnTo>
                  <a:lnTo>
                    <a:pt x="2810" y="1300"/>
                  </a:lnTo>
                  <a:lnTo>
                    <a:pt x="2813" y="1335"/>
                  </a:lnTo>
                  <a:lnTo>
                    <a:pt x="2814" y="1371"/>
                  </a:lnTo>
                  <a:lnTo>
                    <a:pt x="2815" y="1408"/>
                  </a:lnTo>
                  <a:lnTo>
                    <a:pt x="2814" y="1444"/>
                  </a:lnTo>
                  <a:lnTo>
                    <a:pt x="2813" y="1481"/>
                  </a:lnTo>
                  <a:lnTo>
                    <a:pt x="2810" y="1516"/>
                  </a:lnTo>
                  <a:lnTo>
                    <a:pt x="2807" y="1552"/>
                  </a:lnTo>
                  <a:lnTo>
                    <a:pt x="2803" y="1587"/>
                  </a:lnTo>
                  <a:lnTo>
                    <a:pt x="2798" y="1622"/>
                  </a:lnTo>
                  <a:lnTo>
                    <a:pt x="2792" y="1657"/>
                  </a:lnTo>
                  <a:lnTo>
                    <a:pt x="2786" y="1691"/>
                  </a:lnTo>
                  <a:lnTo>
                    <a:pt x="2778" y="1726"/>
                  </a:lnTo>
                  <a:lnTo>
                    <a:pt x="2770" y="1759"/>
                  </a:lnTo>
                  <a:lnTo>
                    <a:pt x="2761" y="1793"/>
                  </a:lnTo>
                  <a:lnTo>
                    <a:pt x="2751" y="1826"/>
                  </a:lnTo>
                  <a:lnTo>
                    <a:pt x="2740" y="1858"/>
                  </a:lnTo>
                  <a:lnTo>
                    <a:pt x="2728" y="1892"/>
                  </a:lnTo>
                  <a:lnTo>
                    <a:pt x="2717" y="1924"/>
                  </a:lnTo>
                  <a:lnTo>
                    <a:pt x="2704" y="1955"/>
                  </a:lnTo>
                  <a:lnTo>
                    <a:pt x="2690" y="1986"/>
                  </a:lnTo>
                  <a:lnTo>
                    <a:pt x="2675" y="2017"/>
                  </a:lnTo>
                  <a:lnTo>
                    <a:pt x="2660" y="2049"/>
                  </a:lnTo>
                  <a:lnTo>
                    <a:pt x="2644" y="2078"/>
                  </a:lnTo>
                  <a:lnTo>
                    <a:pt x="2628" y="2108"/>
                  </a:lnTo>
                  <a:lnTo>
                    <a:pt x="2611" y="2137"/>
                  </a:lnTo>
                  <a:lnTo>
                    <a:pt x="2592" y="2166"/>
                  </a:lnTo>
                  <a:lnTo>
                    <a:pt x="2574" y="2195"/>
                  </a:lnTo>
                  <a:lnTo>
                    <a:pt x="2554" y="2222"/>
                  </a:lnTo>
                  <a:lnTo>
                    <a:pt x="2535" y="2249"/>
                  </a:lnTo>
                  <a:lnTo>
                    <a:pt x="2514" y="2277"/>
                  </a:lnTo>
                  <a:lnTo>
                    <a:pt x="2493" y="2303"/>
                  </a:lnTo>
                  <a:lnTo>
                    <a:pt x="2472" y="2328"/>
                  </a:lnTo>
                  <a:lnTo>
                    <a:pt x="2448" y="2354"/>
                  </a:lnTo>
                  <a:lnTo>
                    <a:pt x="2425" y="2378"/>
                  </a:lnTo>
                  <a:lnTo>
                    <a:pt x="2402" y="2402"/>
                  </a:lnTo>
                  <a:lnTo>
                    <a:pt x="2362" y="2441"/>
                  </a:lnTo>
                  <a:lnTo>
                    <a:pt x="2321" y="2478"/>
                  </a:lnTo>
                  <a:lnTo>
                    <a:pt x="2277" y="2514"/>
                  </a:lnTo>
                  <a:lnTo>
                    <a:pt x="2233" y="2547"/>
                  </a:lnTo>
                  <a:lnTo>
                    <a:pt x="2187" y="2580"/>
                  </a:lnTo>
                  <a:lnTo>
                    <a:pt x="2140" y="2610"/>
                  </a:lnTo>
                  <a:lnTo>
                    <a:pt x="2091" y="2637"/>
                  </a:lnTo>
                  <a:lnTo>
                    <a:pt x="2042" y="2664"/>
                  </a:lnTo>
                  <a:close/>
                  <a:moveTo>
                    <a:pt x="1724" y="2750"/>
                  </a:moveTo>
                  <a:lnTo>
                    <a:pt x="1731" y="2746"/>
                  </a:lnTo>
                  <a:lnTo>
                    <a:pt x="1738" y="2739"/>
                  </a:lnTo>
                  <a:lnTo>
                    <a:pt x="1743" y="2732"/>
                  </a:lnTo>
                  <a:lnTo>
                    <a:pt x="1749" y="2725"/>
                  </a:lnTo>
                  <a:lnTo>
                    <a:pt x="1761" y="2708"/>
                  </a:lnTo>
                  <a:lnTo>
                    <a:pt x="1771" y="2688"/>
                  </a:lnTo>
                  <a:lnTo>
                    <a:pt x="1730" y="2696"/>
                  </a:lnTo>
                  <a:lnTo>
                    <a:pt x="1687" y="2703"/>
                  </a:lnTo>
                  <a:lnTo>
                    <a:pt x="1644" y="2710"/>
                  </a:lnTo>
                  <a:lnTo>
                    <a:pt x="1601" y="2714"/>
                  </a:lnTo>
                  <a:lnTo>
                    <a:pt x="1556" y="2719"/>
                  </a:lnTo>
                  <a:lnTo>
                    <a:pt x="1512" y="2723"/>
                  </a:lnTo>
                  <a:lnTo>
                    <a:pt x="1467" y="2725"/>
                  </a:lnTo>
                  <a:lnTo>
                    <a:pt x="1421" y="2725"/>
                  </a:lnTo>
                  <a:lnTo>
                    <a:pt x="1421" y="2787"/>
                  </a:lnTo>
                  <a:lnTo>
                    <a:pt x="1460" y="2786"/>
                  </a:lnTo>
                  <a:lnTo>
                    <a:pt x="1498" y="2785"/>
                  </a:lnTo>
                  <a:lnTo>
                    <a:pt x="1537" y="2781"/>
                  </a:lnTo>
                  <a:lnTo>
                    <a:pt x="1575" y="2777"/>
                  </a:lnTo>
                  <a:lnTo>
                    <a:pt x="1613" y="2772"/>
                  </a:lnTo>
                  <a:lnTo>
                    <a:pt x="1650" y="2766"/>
                  </a:lnTo>
                  <a:lnTo>
                    <a:pt x="1687" y="2758"/>
                  </a:lnTo>
                  <a:lnTo>
                    <a:pt x="1724" y="2750"/>
                  </a:lnTo>
                  <a:close/>
                  <a:moveTo>
                    <a:pt x="1785" y="2657"/>
                  </a:moveTo>
                  <a:lnTo>
                    <a:pt x="1792" y="2635"/>
                  </a:lnTo>
                  <a:lnTo>
                    <a:pt x="1799" y="2612"/>
                  </a:lnTo>
                  <a:lnTo>
                    <a:pt x="1805" y="2587"/>
                  </a:lnTo>
                  <a:lnTo>
                    <a:pt x="1810" y="2560"/>
                  </a:lnTo>
                  <a:lnTo>
                    <a:pt x="1815" y="2531"/>
                  </a:lnTo>
                  <a:lnTo>
                    <a:pt x="1818" y="2501"/>
                  </a:lnTo>
                  <a:lnTo>
                    <a:pt x="1822" y="2471"/>
                  </a:lnTo>
                  <a:lnTo>
                    <a:pt x="1825" y="2438"/>
                  </a:lnTo>
                  <a:lnTo>
                    <a:pt x="1777" y="2448"/>
                  </a:lnTo>
                  <a:lnTo>
                    <a:pt x="1727" y="2456"/>
                  </a:lnTo>
                  <a:lnTo>
                    <a:pt x="1678" y="2463"/>
                  </a:lnTo>
                  <a:lnTo>
                    <a:pt x="1628" y="2469"/>
                  </a:lnTo>
                  <a:lnTo>
                    <a:pt x="1576" y="2474"/>
                  </a:lnTo>
                  <a:lnTo>
                    <a:pt x="1526" y="2477"/>
                  </a:lnTo>
                  <a:lnTo>
                    <a:pt x="1474" y="2479"/>
                  </a:lnTo>
                  <a:lnTo>
                    <a:pt x="1421" y="2481"/>
                  </a:lnTo>
                  <a:lnTo>
                    <a:pt x="1421" y="2698"/>
                  </a:lnTo>
                  <a:lnTo>
                    <a:pt x="1468" y="2697"/>
                  </a:lnTo>
                  <a:lnTo>
                    <a:pt x="1515" y="2695"/>
                  </a:lnTo>
                  <a:lnTo>
                    <a:pt x="1561" y="2691"/>
                  </a:lnTo>
                  <a:lnTo>
                    <a:pt x="1608" y="2687"/>
                  </a:lnTo>
                  <a:lnTo>
                    <a:pt x="1652" y="2681"/>
                  </a:lnTo>
                  <a:lnTo>
                    <a:pt x="1697" y="2674"/>
                  </a:lnTo>
                  <a:lnTo>
                    <a:pt x="1741" y="2666"/>
                  </a:lnTo>
                  <a:lnTo>
                    <a:pt x="1785" y="2657"/>
                  </a:lnTo>
                  <a:close/>
                  <a:moveTo>
                    <a:pt x="1826" y="2410"/>
                  </a:moveTo>
                  <a:lnTo>
                    <a:pt x="1828" y="2400"/>
                  </a:lnTo>
                  <a:lnTo>
                    <a:pt x="1828" y="2390"/>
                  </a:lnTo>
                  <a:lnTo>
                    <a:pt x="1829" y="2378"/>
                  </a:lnTo>
                  <a:lnTo>
                    <a:pt x="1829" y="2368"/>
                  </a:lnTo>
                  <a:lnTo>
                    <a:pt x="1830" y="2333"/>
                  </a:lnTo>
                  <a:lnTo>
                    <a:pt x="1830" y="2299"/>
                  </a:lnTo>
                  <a:lnTo>
                    <a:pt x="1830" y="2263"/>
                  </a:lnTo>
                  <a:lnTo>
                    <a:pt x="1830" y="2226"/>
                  </a:lnTo>
                  <a:lnTo>
                    <a:pt x="1829" y="2188"/>
                  </a:lnTo>
                  <a:lnTo>
                    <a:pt x="1826" y="2150"/>
                  </a:lnTo>
                  <a:lnTo>
                    <a:pt x="1825" y="2111"/>
                  </a:lnTo>
                  <a:lnTo>
                    <a:pt x="1822" y="2070"/>
                  </a:lnTo>
                  <a:lnTo>
                    <a:pt x="1775" y="2081"/>
                  </a:lnTo>
                  <a:lnTo>
                    <a:pt x="1726" y="2089"/>
                  </a:lnTo>
                  <a:lnTo>
                    <a:pt x="1677" y="2096"/>
                  </a:lnTo>
                  <a:lnTo>
                    <a:pt x="1626" y="2103"/>
                  </a:lnTo>
                  <a:lnTo>
                    <a:pt x="1576" y="2107"/>
                  </a:lnTo>
                  <a:lnTo>
                    <a:pt x="1525" y="2111"/>
                  </a:lnTo>
                  <a:lnTo>
                    <a:pt x="1473" y="2113"/>
                  </a:lnTo>
                  <a:lnTo>
                    <a:pt x="1421" y="2114"/>
                  </a:lnTo>
                  <a:lnTo>
                    <a:pt x="1421" y="2453"/>
                  </a:lnTo>
                  <a:lnTo>
                    <a:pt x="1474" y="2453"/>
                  </a:lnTo>
                  <a:lnTo>
                    <a:pt x="1526" y="2451"/>
                  </a:lnTo>
                  <a:lnTo>
                    <a:pt x="1578" y="2446"/>
                  </a:lnTo>
                  <a:lnTo>
                    <a:pt x="1629" y="2441"/>
                  </a:lnTo>
                  <a:lnTo>
                    <a:pt x="1679" y="2436"/>
                  </a:lnTo>
                  <a:lnTo>
                    <a:pt x="1730" y="2429"/>
                  </a:lnTo>
                  <a:lnTo>
                    <a:pt x="1778" y="2420"/>
                  </a:lnTo>
                  <a:lnTo>
                    <a:pt x="1826" y="2410"/>
                  </a:lnTo>
                  <a:close/>
                  <a:moveTo>
                    <a:pt x="1821" y="2043"/>
                  </a:moveTo>
                  <a:lnTo>
                    <a:pt x="1816" y="1993"/>
                  </a:lnTo>
                  <a:lnTo>
                    <a:pt x="1811" y="1943"/>
                  </a:lnTo>
                  <a:lnTo>
                    <a:pt x="1806" y="1892"/>
                  </a:lnTo>
                  <a:lnTo>
                    <a:pt x="1800" y="1839"/>
                  </a:lnTo>
                  <a:lnTo>
                    <a:pt x="1793" y="1787"/>
                  </a:lnTo>
                  <a:lnTo>
                    <a:pt x="1786" y="1733"/>
                  </a:lnTo>
                  <a:lnTo>
                    <a:pt x="1778" y="1680"/>
                  </a:lnTo>
                  <a:lnTo>
                    <a:pt x="1769" y="1626"/>
                  </a:lnTo>
                  <a:lnTo>
                    <a:pt x="1727" y="1633"/>
                  </a:lnTo>
                  <a:lnTo>
                    <a:pt x="1686" y="1640"/>
                  </a:lnTo>
                  <a:lnTo>
                    <a:pt x="1642" y="1645"/>
                  </a:lnTo>
                  <a:lnTo>
                    <a:pt x="1599" y="1651"/>
                  </a:lnTo>
                  <a:lnTo>
                    <a:pt x="1556" y="1655"/>
                  </a:lnTo>
                  <a:lnTo>
                    <a:pt x="1511" y="1658"/>
                  </a:lnTo>
                  <a:lnTo>
                    <a:pt x="1466" y="1659"/>
                  </a:lnTo>
                  <a:lnTo>
                    <a:pt x="1421" y="1660"/>
                  </a:lnTo>
                  <a:lnTo>
                    <a:pt x="1421" y="2087"/>
                  </a:lnTo>
                  <a:lnTo>
                    <a:pt x="1473" y="2085"/>
                  </a:lnTo>
                  <a:lnTo>
                    <a:pt x="1525" y="2083"/>
                  </a:lnTo>
                  <a:lnTo>
                    <a:pt x="1575" y="2080"/>
                  </a:lnTo>
                  <a:lnTo>
                    <a:pt x="1626" y="2075"/>
                  </a:lnTo>
                  <a:lnTo>
                    <a:pt x="1675" y="2068"/>
                  </a:lnTo>
                  <a:lnTo>
                    <a:pt x="1724" y="2061"/>
                  </a:lnTo>
                  <a:lnTo>
                    <a:pt x="1772" y="2053"/>
                  </a:lnTo>
                  <a:lnTo>
                    <a:pt x="1821" y="2043"/>
                  </a:lnTo>
                  <a:close/>
                  <a:moveTo>
                    <a:pt x="1765" y="1598"/>
                  </a:moveTo>
                  <a:lnTo>
                    <a:pt x="1756" y="1549"/>
                  </a:lnTo>
                  <a:lnTo>
                    <a:pt x="1748" y="1499"/>
                  </a:lnTo>
                  <a:lnTo>
                    <a:pt x="1739" y="1449"/>
                  </a:lnTo>
                  <a:lnTo>
                    <a:pt x="1728" y="1399"/>
                  </a:lnTo>
                  <a:lnTo>
                    <a:pt x="1718" y="1349"/>
                  </a:lnTo>
                  <a:lnTo>
                    <a:pt x="1708" y="1300"/>
                  </a:lnTo>
                  <a:lnTo>
                    <a:pt x="1697" y="1250"/>
                  </a:lnTo>
                  <a:lnTo>
                    <a:pt x="1686" y="1201"/>
                  </a:lnTo>
                  <a:lnTo>
                    <a:pt x="1682" y="1188"/>
                  </a:lnTo>
                  <a:lnTo>
                    <a:pt x="1680" y="1175"/>
                  </a:lnTo>
                  <a:lnTo>
                    <a:pt x="1677" y="1164"/>
                  </a:lnTo>
                  <a:lnTo>
                    <a:pt x="1674" y="1151"/>
                  </a:lnTo>
                  <a:lnTo>
                    <a:pt x="1643" y="1157"/>
                  </a:lnTo>
                  <a:lnTo>
                    <a:pt x="1613" y="1163"/>
                  </a:lnTo>
                  <a:lnTo>
                    <a:pt x="1582" y="1166"/>
                  </a:lnTo>
                  <a:lnTo>
                    <a:pt x="1550" y="1171"/>
                  </a:lnTo>
                  <a:lnTo>
                    <a:pt x="1519" y="1173"/>
                  </a:lnTo>
                  <a:lnTo>
                    <a:pt x="1487" y="1175"/>
                  </a:lnTo>
                  <a:lnTo>
                    <a:pt x="1454" y="1176"/>
                  </a:lnTo>
                  <a:lnTo>
                    <a:pt x="1421" y="1178"/>
                  </a:lnTo>
                  <a:lnTo>
                    <a:pt x="1421" y="1633"/>
                  </a:lnTo>
                  <a:lnTo>
                    <a:pt x="1466" y="1631"/>
                  </a:lnTo>
                  <a:lnTo>
                    <a:pt x="1510" y="1630"/>
                  </a:lnTo>
                  <a:lnTo>
                    <a:pt x="1553" y="1627"/>
                  </a:lnTo>
                  <a:lnTo>
                    <a:pt x="1597" y="1623"/>
                  </a:lnTo>
                  <a:lnTo>
                    <a:pt x="1640" y="1619"/>
                  </a:lnTo>
                  <a:lnTo>
                    <a:pt x="1682" y="1613"/>
                  </a:lnTo>
                  <a:lnTo>
                    <a:pt x="1724" y="1606"/>
                  </a:lnTo>
                  <a:lnTo>
                    <a:pt x="1765" y="1598"/>
                  </a:lnTo>
                  <a:close/>
                  <a:moveTo>
                    <a:pt x="1545" y="704"/>
                  </a:moveTo>
                  <a:lnTo>
                    <a:pt x="1530" y="661"/>
                  </a:lnTo>
                  <a:lnTo>
                    <a:pt x="1515" y="620"/>
                  </a:lnTo>
                  <a:lnTo>
                    <a:pt x="1500" y="580"/>
                  </a:lnTo>
                  <a:lnTo>
                    <a:pt x="1484" y="540"/>
                  </a:lnTo>
                  <a:lnTo>
                    <a:pt x="1469" y="502"/>
                  </a:lnTo>
                  <a:lnTo>
                    <a:pt x="1453" y="466"/>
                  </a:lnTo>
                  <a:lnTo>
                    <a:pt x="1437" y="430"/>
                  </a:lnTo>
                  <a:lnTo>
                    <a:pt x="1421" y="395"/>
                  </a:lnTo>
                  <a:lnTo>
                    <a:pt x="1421" y="718"/>
                  </a:lnTo>
                  <a:lnTo>
                    <a:pt x="1453" y="717"/>
                  </a:lnTo>
                  <a:lnTo>
                    <a:pt x="1484" y="713"/>
                  </a:lnTo>
                  <a:lnTo>
                    <a:pt x="1515" y="710"/>
                  </a:lnTo>
                  <a:lnTo>
                    <a:pt x="1545" y="704"/>
                  </a:lnTo>
                  <a:close/>
                  <a:moveTo>
                    <a:pt x="1188" y="50"/>
                  </a:moveTo>
                  <a:lnTo>
                    <a:pt x="1207" y="60"/>
                  </a:lnTo>
                  <a:lnTo>
                    <a:pt x="1225" y="72"/>
                  </a:lnTo>
                  <a:lnTo>
                    <a:pt x="1242" y="85"/>
                  </a:lnTo>
                  <a:lnTo>
                    <a:pt x="1261" y="101"/>
                  </a:lnTo>
                  <a:lnTo>
                    <a:pt x="1293" y="96"/>
                  </a:lnTo>
                  <a:lnTo>
                    <a:pt x="1325" y="91"/>
                  </a:lnTo>
                  <a:lnTo>
                    <a:pt x="1359" y="88"/>
                  </a:lnTo>
                  <a:lnTo>
                    <a:pt x="1393" y="86"/>
                  </a:lnTo>
                  <a:lnTo>
                    <a:pt x="1393" y="32"/>
                  </a:lnTo>
                  <a:lnTo>
                    <a:pt x="1367" y="32"/>
                  </a:lnTo>
                  <a:lnTo>
                    <a:pt x="1341" y="33"/>
                  </a:lnTo>
                  <a:lnTo>
                    <a:pt x="1315" y="35"/>
                  </a:lnTo>
                  <a:lnTo>
                    <a:pt x="1290" y="37"/>
                  </a:lnTo>
                  <a:lnTo>
                    <a:pt x="1264" y="39"/>
                  </a:lnTo>
                  <a:lnTo>
                    <a:pt x="1239" y="43"/>
                  </a:lnTo>
                  <a:lnTo>
                    <a:pt x="1214" y="46"/>
                  </a:lnTo>
                  <a:lnTo>
                    <a:pt x="1188" y="50"/>
                  </a:lnTo>
                  <a:close/>
                  <a:moveTo>
                    <a:pt x="1283" y="125"/>
                  </a:moveTo>
                  <a:lnTo>
                    <a:pt x="1295" y="138"/>
                  </a:lnTo>
                  <a:lnTo>
                    <a:pt x="1307" y="152"/>
                  </a:lnTo>
                  <a:lnTo>
                    <a:pt x="1318" y="167"/>
                  </a:lnTo>
                  <a:lnTo>
                    <a:pt x="1330" y="182"/>
                  </a:lnTo>
                  <a:lnTo>
                    <a:pt x="1346" y="205"/>
                  </a:lnTo>
                  <a:lnTo>
                    <a:pt x="1362" y="230"/>
                  </a:lnTo>
                  <a:lnTo>
                    <a:pt x="1378" y="256"/>
                  </a:lnTo>
                  <a:lnTo>
                    <a:pt x="1393" y="283"/>
                  </a:lnTo>
                  <a:lnTo>
                    <a:pt x="1393" y="113"/>
                  </a:lnTo>
                  <a:lnTo>
                    <a:pt x="1366" y="114"/>
                  </a:lnTo>
                  <a:lnTo>
                    <a:pt x="1337" y="116"/>
                  </a:lnTo>
                  <a:lnTo>
                    <a:pt x="1310" y="120"/>
                  </a:lnTo>
                  <a:lnTo>
                    <a:pt x="1283" y="125"/>
                  </a:lnTo>
                  <a:close/>
                  <a:moveTo>
                    <a:pt x="2281" y="559"/>
                  </a:moveTo>
                  <a:lnTo>
                    <a:pt x="2279" y="544"/>
                  </a:lnTo>
                  <a:lnTo>
                    <a:pt x="2277" y="530"/>
                  </a:lnTo>
                  <a:lnTo>
                    <a:pt x="2275" y="515"/>
                  </a:lnTo>
                  <a:lnTo>
                    <a:pt x="2271" y="501"/>
                  </a:lnTo>
                  <a:lnTo>
                    <a:pt x="2263" y="474"/>
                  </a:lnTo>
                  <a:lnTo>
                    <a:pt x="2253" y="446"/>
                  </a:lnTo>
                  <a:lnTo>
                    <a:pt x="2230" y="434"/>
                  </a:lnTo>
                  <a:lnTo>
                    <a:pt x="2207" y="423"/>
                  </a:lnTo>
                  <a:lnTo>
                    <a:pt x="2184" y="413"/>
                  </a:lnTo>
                  <a:lnTo>
                    <a:pt x="2160" y="403"/>
                  </a:lnTo>
                  <a:lnTo>
                    <a:pt x="2113" y="386"/>
                  </a:lnTo>
                  <a:lnTo>
                    <a:pt x="2066" y="370"/>
                  </a:lnTo>
                  <a:lnTo>
                    <a:pt x="2019" y="356"/>
                  </a:lnTo>
                  <a:lnTo>
                    <a:pt x="1970" y="345"/>
                  </a:lnTo>
                  <a:lnTo>
                    <a:pt x="1922" y="335"/>
                  </a:lnTo>
                  <a:lnTo>
                    <a:pt x="1872" y="328"/>
                  </a:lnTo>
                  <a:lnTo>
                    <a:pt x="1878" y="343"/>
                  </a:lnTo>
                  <a:lnTo>
                    <a:pt x="1883" y="358"/>
                  </a:lnTo>
                  <a:lnTo>
                    <a:pt x="1885" y="373"/>
                  </a:lnTo>
                  <a:lnTo>
                    <a:pt x="1887" y="389"/>
                  </a:lnTo>
                  <a:lnTo>
                    <a:pt x="1942" y="406"/>
                  </a:lnTo>
                  <a:lnTo>
                    <a:pt x="1993" y="423"/>
                  </a:lnTo>
                  <a:lnTo>
                    <a:pt x="2045" y="441"/>
                  </a:lnTo>
                  <a:lnTo>
                    <a:pt x="2095" y="462"/>
                  </a:lnTo>
                  <a:lnTo>
                    <a:pt x="2143" y="484"/>
                  </a:lnTo>
                  <a:lnTo>
                    <a:pt x="2190" y="508"/>
                  </a:lnTo>
                  <a:lnTo>
                    <a:pt x="2237" y="532"/>
                  </a:lnTo>
                  <a:lnTo>
                    <a:pt x="2281" y="559"/>
                  </a:lnTo>
                  <a:close/>
                  <a:moveTo>
                    <a:pt x="1279" y="356"/>
                  </a:moveTo>
                  <a:lnTo>
                    <a:pt x="1237" y="360"/>
                  </a:lnTo>
                  <a:lnTo>
                    <a:pt x="1195" y="364"/>
                  </a:lnTo>
                  <a:lnTo>
                    <a:pt x="1154" y="370"/>
                  </a:lnTo>
                  <a:lnTo>
                    <a:pt x="1112" y="376"/>
                  </a:lnTo>
                  <a:lnTo>
                    <a:pt x="1072" y="384"/>
                  </a:lnTo>
                  <a:lnTo>
                    <a:pt x="1032" y="392"/>
                  </a:lnTo>
                  <a:lnTo>
                    <a:pt x="991" y="401"/>
                  </a:lnTo>
                  <a:lnTo>
                    <a:pt x="952" y="410"/>
                  </a:lnTo>
                  <a:lnTo>
                    <a:pt x="952" y="416"/>
                  </a:lnTo>
                  <a:lnTo>
                    <a:pt x="953" y="433"/>
                  </a:lnTo>
                  <a:lnTo>
                    <a:pt x="955" y="451"/>
                  </a:lnTo>
                  <a:lnTo>
                    <a:pt x="959" y="467"/>
                  </a:lnTo>
                  <a:lnTo>
                    <a:pt x="964" y="484"/>
                  </a:lnTo>
                  <a:lnTo>
                    <a:pt x="1003" y="464"/>
                  </a:lnTo>
                  <a:lnTo>
                    <a:pt x="1041" y="446"/>
                  </a:lnTo>
                  <a:lnTo>
                    <a:pt x="1080" y="429"/>
                  </a:lnTo>
                  <a:lnTo>
                    <a:pt x="1119" y="413"/>
                  </a:lnTo>
                  <a:lnTo>
                    <a:pt x="1159" y="396"/>
                  </a:lnTo>
                  <a:lnTo>
                    <a:pt x="1199" y="381"/>
                  </a:lnTo>
                  <a:lnTo>
                    <a:pt x="1239" y="369"/>
                  </a:lnTo>
                  <a:lnTo>
                    <a:pt x="1279" y="356"/>
                  </a:lnTo>
                  <a:close/>
                  <a:moveTo>
                    <a:pt x="926" y="418"/>
                  </a:moveTo>
                  <a:lnTo>
                    <a:pt x="871" y="434"/>
                  </a:lnTo>
                  <a:lnTo>
                    <a:pt x="820" y="452"/>
                  </a:lnTo>
                  <a:lnTo>
                    <a:pt x="768" y="471"/>
                  </a:lnTo>
                  <a:lnTo>
                    <a:pt x="718" y="493"/>
                  </a:lnTo>
                  <a:lnTo>
                    <a:pt x="670" y="515"/>
                  </a:lnTo>
                  <a:lnTo>
                    <a:pt x="623" y="539"/>
                  </a:lnTo>
                  <a:lnTo>
                    <a:pt x="576" y="565"/>
                  </a:lnTo>
                  <a:lnTo>
                    <a:pt x="533" y="592"/>
                  </a:lnTo>
                  <a:lnTo>
                    <a:pt x="533" y="613"/>
                  </a:lnTo>
                  <a:lnTo>
                    <a:pt x="535" y="634"/>
                  </a:lnTo>
                  <a:lnTo>
                    <a:pt x="538" y="654"/>
                  </a:lnTo>
                  <a:lnTo>
                    <a:pt x="542" y="675"/>
                  </a:lnTo>
                  <a:lnTo>
                    <a:pt x="548" y="695"/>
                  </a:lnTo>
                  <a:lnTo>
                    <a:pt x="555" y="716"/>
                  </a:lnTo>
                  <a:lnTo>
                    <a:pt x="562" y="735"/>
                  </a:lnTo>
                  <a:lnTo>
                    <a:pt x="571" y="755"/>
                  </a:lnTo>
                  <a:lnTo>
                    <a:pt x="593" y="735"/>
                  </a:lnTo>
                  <a:lnTo>
                    <a:pt x="614" y="717"/>
                  </a:lnTo>
                  <a:lnTo>
                    <a:pt x="636" y="698"/>
                  </a:lnTo>
                  <a:lnTo>
                    <a:pt x="659" y="680"/>
                  </a:lnTo>
                  <a:lnTo>
                    <a:pt x="681" y="663"/>
                  </a:lnTo>
                  <a:lnTo>
                    <a:pt x="706" y="645"/>
                  </a:lnTo>
                  <a:lnTo>
                    <a:pt x="729" y="628"/>
                  </a:lnTo>
                  <a:lnTo>
                    <a:pt x="753" y="611"/>
                  </a:lnTo>
                  <a:lnTo>
                    <a:pt x="775" y="596"/>
                  </a:lnTo>
                  <a:lnTo>
                    <a:pt x="798" y="581"/>
                  </a:lnTo>
                  <a:lnTo>
                    <a:pt x="821" y="566"/>
                  </a:lnTo>
                  <a:lnTo>
                    <a:pt x="844" y="551"/>
                  </a:lnTo>
                  <a:lnTo>
                    <a:pt x="868" y="537"/>
                  </a:lnTo>
                  <a:lnTo>
                    <a:pt x="892" y="523"/>
                  </a:lnTo>
                  <a:lnTo>
                    <a:pt x="915" y="509"/>
                  </a:lnTo>
                  <a:lnTo>
                    <a:pt x="939" y="497"/>
                  </a:lnTo>
                  <a:lnTo>
                    <a:pt x="934" y="477"/>
                  </a:lnTo>
                  <a:lnTo>
                    <a:pt x="929" y="457"/>
                  </a:lnTo>
                  <a:lnTo>
                    <a:pt x="927" y="438"/>
                  </a:lnTo>
                  <a:lnTo>
                    <a:pt x="926" y="418"/>
                  </a:lnTo>
                  <a:close/>
                  <a:moveTo>
                    <a:pt x="505" y="610"/>
                  </a:moveTo>
                  <a:lnTo>
                    <a:pt x="485" y="623"/>
                  </a:lnTo>
                  <a:lnTo>
                    <a:pt x="466" y="637"/>
                  </a:lnTo>
                  <a:lnTo>
                    <a:pt x="447" y="651"/>
                  </a:lnTo>
                  <a:lnTo>
                    <a:pt x="428" y="665"/>
                  </a:lnTo>
                  <a:lnTo>
                    <a:pt x="397" y="690"/>
                  </a:lnTo>
                  <a:lnTo>
                    <a:pt x="367" y="717"/>
                  </a:lnTo>
                  <a:lnTo>
                    <a:pt x="338" y="743"/>
                  </a:lnTo>
                  <a:lnTo>
                    <a:pt x="310" y="771"/>
                  </a:lnTo>
                  <a:lnTo>
                    <a:pt x="284" y="798"/>
                  </a:lnTo>
                  <a:lnTo>
                    <a:pt x="259" y="828"/>
                  </a:lnTo>
                  <a:lnTo>
                    <a:pt x="234" y="857"/>
                  </a:lnTo>
                  <a:lnTo>
                    <a:pt x="210" y="888"/>
                  </a:lnTo>
                  <a:lnTo>
                    <a:pt x="212" y="917"/>
                  </a:lnTo>
                  <a:lnTo>
                    <a:pt x="216" y="945"/>
                  </a:lnTo>
                  <a:lnTo>
                    <a:pt x="221" y="974"/>
                  </a:lnTo>
                  <a:lnTo>
                    <a:pt x="226" y="1001"/>
                  </a:lnTo>
                  <a:lnTo>
                    <a:pt x="234" y="1029"/>
                  </a:lnTo>
                  <a:lnTo>
                    <a:pt x="245" y="1057"/>
                  </a:lnTo>
                  <a:lnTo>
                    <a:pt x="255" y="1083"/>
                  </a:lnTo>
                  <a:lnTo>
                    <a:pt x="269" y="1110"/>
                  </a:lnTo>
                  <a:lnTo>
                    <a:pt x="275" y="1099"/>
                  </a:lnTo>
                  <a:lnTo>
                    <a:pt x="282" y="1089"/>
                  </a:lnTo>
                  <a:lnTo>
                    <a:pt x="288" y="1078"/>
                  </a:lnTo>
                  <a:lnTo>
                    <a:pt x="295" y="1068"/>
                  </a:lnTo>
                  <a:lnTo>
                    <a:pt x="322" y="1029"/>
                  </a:lnTo>
                  <a:lnTo>
                    <a:pt x="351" y="990"/>
                  </a:lnTo>
                  <a:lnTo>
                    <a:pt x="381" y="952"/>
                  </a:lnTo>
                  <a:lnTo>
                    <a:pt x="412" y="915"/>
                  </a:lnTo>
                  <a:lnTo>
                    <a:pt x="445" y="878"/>
                  </a:lnTo>
                  <a:lnTo>
                    <a:pt x="479" y="842"/>
                  </a:lnTo>
                  <a:lnTo>
                    <a:pt x="513" y="808"/>
                  </a:lnTo>
                  <a:lnTo>
                    <a:pt x="549" y="773"/>
                  </a:lnTo>
                  <a:lnTo>
                    <a:pt x="540" y="754"/>
                  </a:lnTo>
                  <a:lnTo>
                    <a:pt x="532" y="734"/>
                  </a:lnTo>
                  <a:lnTo>
                    <a:pt x="525" y="714"/>
                  </a:lnTo>
                  <a:lnTo>
                    <a:pt x="519" y="694"/>
                  </a:lnTo>
                  <a:lnTo>
                    <a:pt x="514" y="673"/>
                  </a:lnTo>
                  <a:lnTo>
                    <a:pt x="510" y="652"/>
                  </a:lnTo>
                  <a:lnTo>
                    <a:pt x="507" y="631"/>
                  </a:lnTo>
                  <a:lnTo>
                    <a:pt x="505" y="610"/>
                  </a:lnTo>
                  <a:close/>
                  <a:moveTo>
                    <a:pt x="185" y="924"/>
                  </a:moveTo>
                  <a:lnTo>
                    <a:pt x="165" y="955"/>
                  </a:lnTo>
                  <a:lnTo>
                    <a:pt x="147" y="986"/>
                  </a:lnTo>
                  <a:lnTo>
                    <a:pt x="130" y="1019"/>
                  </a:lnTo>
                  <a:lnTo>
                    <a:pt x="113" y="1051"/>
                  </a:lnTo>
                  <a:lnTo>
                    <a:pt x="98" y="1084"/>
                  </a:lnTo>
                  <a:lnTo>
                    <a:pt x="86" y="1118"/>
                  </a:lnTo>
                  <a:lnTo>
                    <a:pt x="73" y="1152"/>
                  </a:lnTo>
                  <a:lnTo>
                    <a:pt x="63" y="1187"/>
                  </a:lnTo>
                  <a:lnTo>
                    <a:pt x="64" y="1220"/>
                  </a:lnTo>
                  <a:lnTo>
                    <a:pt x="66" y="1254"/>
                  </a:lnTo>
                  <a:lnTo>
                    <a:pt x="71" y="1287"/>
                  </a:lnTo>
                  <a:lnTo>
                    <a:pt x="78" y="1319"/>
                  </a:lnTo>
                  <a:lnTo>
                    <a:pt x="86" y="1351"/>
                  </a:lnTo>
                  <a:lnTo>
                    <a:pt x="95" y="1384"/>
                  </a:lnTo>
                  <a:lnTo>
                    <a:pt x="106" y="1415"/>
                  </a:lnTo>
                  <a:lnTo>
                    <a:pt x="120" y="1446"/>
                  </a:lnTo>
                  <a:lnTo>
                    <a:pt x="131" y="1407"/>
                  </a:lnTo>
                  <a:lnTo>
                    <a:pt x="144" y="1368"/>
                  </a:lnTo>
                  <a:lnTo>
                    <a:pt x="158" y="1327"/>
                  </a:lnTo>
                  <a:lnTo>
                    <a:pt x="174" y="1289"/>
                  </a:lnTo>
                  <a:lnTo>
                    <a:pt x="192" y="1250"/>
                  </a:lnTo>
                  <a:lnTo>
                    <a:pt x="210" y="1212"/>
                  </a:lnTo>
                  <a:lnTo>
                    <a:pt x="231" y="1174"/>
                  </a:lnTo>
                  <a:lnTo>
                    <a:pt x="252" y="1137"/>
                  </a:lnTo>
                  <a:lnTo>
                    <a:pt x="239" y="1112"/>
                  </a:lnTo>
                  <a:lnTo>
                    <a:pt x="226" y="1085"/>
                  </a:lnTo>
                  <a:lnTo>
                    <a:pt x="216" y="1059"/>
                  </a:lnTo>
                  <a:lnTo>
                    <a:pt x="208" y="1034"/>
                  </a:lnTo>
                  <a:lnTo>
                    <a:pt x="200" y="1006"/>
                  </a:lnTo>
                  <a:lnTo>
                    <a:pt x="193" y="979"/>
                  </a:lnTo>
                  <a:lnTo>
                    <a:pt x="188" y="952"/>
                  </a:lnTo>
                  <a:lnTo>
                    <a:pt x="185" y="924"/>
                  </a:lnTo>
                  <a:close/>
                  <a:moveTo>
                    <a:pt x="42" y="1277"/>
                  </a:moveTo>
                  <a:lnTo>
                    <a:pt x="36" y="1313"/>
                  </a:lnTo>
                  <a:lnTo>
                    <a:pt x="32" y="1350"/>
                  </a:lnTo>
                  <a:lnTo>
                    <a:pt x="29" y="1388"/>
                  </a:lnTo>
                  <a:lnTo>
                    <a:pt x="28" y="1426"/>
                  </a:lnTo>
                  <a:lnTo>
                    <a:pt x="28" y="1426"/>
                  </a:lnTo>
                  <a:lnTo>
                    <a:pt x="29" y="1462"/>
                  </a:lnTo>
                  <a:lnTo>
                    <a:pt x="30" y="1498"/>
                  </a:lnTo>
                  <a:lnTo>
                    <a:pt x="34" y="1534"/>
                  </a:lnTo>
                  <a:lnTo>
                    <a:pt x="37" y="1569"/>
                  </a:lnTo>
                  <a:lnTo>
                    <a:pt x="42" y="1605"/>
                  </a:lnTo>
                  <a:lnTo>
                    <a:pt x="48" y="1640"/>
                  </a:lnTo>
                  <a:lnTo>
                    <a:pt x="53" y="1674"/>
                  </a:lnTo>
                  <a:lnTo>
                    <a:pt x="60" y="1709"/>
                  </a:lnTo>
                  <a:lnTo>
                    <a:pt x="67" y="1732"/>
                  </a:lnTo>
                  <a:lnTo>
                    <a:pt x="75" y="1756"/>
                  </a:lnTo>
                  <a:lnTo>
                    <a:pt x="83" y="1778"/>
                  </a:lnTo>
                  <a:lnTo>
                    <a:pt x="93" y="1801"/>
                  </a:lnTo>
                  <a:lnTo>
                    <a:pt x="89" y="1762"/>
                  </a:lnTo>
                  <a:lnTo>
                    <a:pt x="87" y="1722"/>
                  </a:lnTo>
                  <a:lnTo>
                    <a:pt x="87" y="1683"/>
                  </a:lnTo>
                  <a:lnTo>
                    <a:pt x="88" y="1644"/>
                  </a:lnTo>
                  <a:lnTo>
                    <a:pt x="91" y="1605"/>
                  </a:lnTo>
                  <a:lnTo>
                    <a:pt x="96" y="1566"/>
                  </a:lnTo>
                  <a:lnTo>
                    <a:pt x="102" y="1527"/>
                  </a:lnTo>
                  <a:lnTo>
                    <a:pt x="110" y="1489"/>
                  </a:lnTo>
                  <a:lnTo>
                    <a:pt x="97" y="1463"/>
                  </a:lnTo>
                  <a:lnTo>
                    <a:pt x="86" y="1437"/>
                  </a:lnTo>
                  <a:lnTo>
                    <a:pt x="75" y="1411"/>
                  </a:lnTo>
                  <a:lnTo>
                    <a:pt x="67" y="1385"/>
                  </a:lnTo>
                  <a:lnTo>
                    <a:pt x="59" y="1358"/>
                  </a:lnTo>
                  <a:lnTo>
                    <a:pt x="52" y="1331"/>
                  </a:lnTo>
                  <a:lnTo>
                    <a:pt x="47" y="1304"/>
                  </a:lnTo>
                  <a:lnTo>
                    <a:pt x="42" y="1277"/>
                  </a:lnTo>
                  <a:close/>
                  <a:moveTo>
                    <a:pt x="1540" y="328"/>
                  </a:moveTo>
                  <a:lnTo>
                    <a:pt x="1581" y="332"/>
                  </a:lnTo>
                  <a:lnTo>
                    <a:pt x="1622" y="336"/>
                  </a:lnTo>
                  <a:lnTo>
                    <a:pt x="1663" y="342"/>
                  </a:lnTo>
                  <a:lnTo>
                    <a:pt x="1703" y="348"/>
                  </a:lnTo>
                  <a:lnTo>
                    <a:pt x="1743" y="355"/>
                  </a:lnTo>
                  <a:lnTo>
                    <a:pt x="1783" y="363"/>
                  </a:lnTo>
                  <a:lnTo>
                    <a:pt x="1821" y="372"/>
                  </a:lnTo>
                  <a:lnTo>
                    <a:pt x="1859" y="381"/>
                  </a:lnTo>
                  <a:lnTo>
                    <a:pt x="1856" y="366"/>
                  </a:lnTo>
                  <a:lnTo>
                    <a:pt x="1852" y="353"/>
                  </a:lnTo>
                  <a:lnTo>
                    <a:pt x="1847" y="339"/>
                  </a:lnTo>
                  <a:lnTo>
                    <a:pt x="1841" y="325"/>
                  </a:lnTo>
                  <a:lnTo>
                    <a:pt x="1803" y="322"/>
                  </a:lnTo>
                  <a:lnTo>
                    <a:pt x="1766" y="319"/>
                  </a:lnTo>
                  <a:lnTo>
                    <a:pt x="1728" y="318"/>
                  </a:lnTo>
                  <a:lnTo>
                    <a:pt x="1690" y="318"/>
                  </a:lnTo>
                  <a:lnTo>
                    <a:pt x="1654" y="319"/>
                  </a:lnTo>
                  <a:lnTo>
                    <a:pt x="1616" y="322"/>
                  </a:lnTo>
                  <a:lnTo>
                    <a:pt x="1578" y="325"/>
                  </a:lnTo>
                  <a:lnTo>
                    <a:pt x="1540" y="328"/>
                  </a:lnTo>
                  <a:close/>
                  <a:moveTo>
                    <a:pt x="2309" y="577"/>
                  </a:moveTo>
                  <a:lnTo>
                    <a:pt x="2333" y="593"/>
                  </a:lnTo>
                  <a:lnTo>
                    <a:pt x="2357" y="610"/>
                  </a:lnTo>
                  <a:lnTo>
                    <a:pt x="2381" y="627"/>
                  </a:lnTo>
                  <a:lnTo>
                    <a:pt x="2404" y="644"/>
                  </a:lnTo>
                  <a:lnTo>
                    <a:pt x="2431" y="666"/>
                  </a:lnTo>
                  <a:lnTo>
                    <a:pt x="2459" y="689"/>
                  </a:lnTo>
                  <a:lnTo>
                    <a:pt x="2484" y="713"/>
                  </a:lnTo>
                  <a:lnTo>
                    <a:pt x="2510" y="737"/>
                  </a:lnTo>
                  <a:lnTo>
                    <a:pt x="2535" y="763"/>
                  </a:lnTo>
                  <a:lnTo>
                    <a:pt x="2558" y="788"/>
                  </a:lnTo>
                  <a:lnTo>
                    <a:pt x="2581" y="815"/>
                  </a:lnTo>
                  <a:lnTo>
                    <a:pt x="2603" y="841"/>
                  </a:lnTo>
                  <a:lnTo>
                    <a:pt x="2601" y="824"/>
                  </a:lnTo>
                  <a:lnTo>
                    <a:pt x="2598" y="807"/>
                  </a:lnTo>
                  <a:lnTo>
                    <a:pt x="2596" y="789"/>
                  </a:lnTo>
                  <a:lnTo>
                    <a:pt x="2592" y="772"/>
                  </a:lnTo>
                  <a:lnTo>
                    <a:pt x="2588" y="755"/>
                  </a:lnTo>
                  <a:lnTo>
                    <a:pt x="2583" y="739"/>
                  </a:lnTo>
                  <a:lnTo>
                    <a:pt x="2579" y="721"/>
                  </a:lnTo>
                  <a:lnTo>
                    <a:pt x="2573" y="705"/>
                  </a:lnTo>
                  <a:lnTo>
                    <a:pt x="2568" y="694"/>
                  </a:lnTo>
                  <a:lnTo>
                    <a:pt x="2564" y="683"/>
                  </a:lnTo>
                  <a:lnTo>
                    <a:pt x="2531" y="650"/>
                  </a:lnTo>
                  <a:lnTo>
                    <a:pt x="2498" y="619"/>
                  </a:lnTo>
                  <a:lnTo>
                    <a:pt x="2465" y="589"/>
                  </a:lnTo>
                  <a:lnTo>
                    <a:pt x="2431" y="561"/>
                  </a:lnTo>
                  <a:lnTo>
                    <a:pt x="2397" y="535"/>
                  </a:lnTo>
                  <a:lnTo>
                    <a:pt x="2361" y="510"/>
                  </a:lnTo>
                  <a:lnTo>
                    <a:pt x="2325" y="487"/>
                  </a:lnTo>
                  <a:lnTo>
                    <a:pt x="2288" y="466"/>
                  </a:lnTo>
                  <a:lnTo>
                    <a:pt x="2296" y="493"/>
                  </a:lnTo>
                  <a:lnTo>
                    <a:pt x="2303" y="521"/>
                  </a:lnTo>
                  <a:lnTo>
                    <a:pt x="2307" y="548"/>
                  </a:lnTo>
                  <a:lnTo>
                    <a:pt x="2309" y="577"/>
                  </a:lnTo>
                  <a:close/>
                  <a:moveTo>
                    <a:pt x="2632" y="879"/>
                  </a:moveTo>
                  <a:lnTo>
                    <a:pt x="2648" y="902"/>
                  </a:lnTo>
                  <a:lnTo>
                    <a:pt x="2664" y="926"/>
                  </a:lnTo>
                  <a:lnTo>
                    <a:pt x="2678" y="951"/>
                  </a:lnTo>
                  <a:lnTo>
                    <a:pt x="2693" y="975"/>
                  </a:lnTo>
                  <a:lnTo>
                    <a:pt x="2707" y="999"/>
                  </a:lnTo>
                  <a:lnTo>
                    <a:pt x="2719" y="1024"/>
                  </a:lnTo>
                  <a:lnTo>
                    <a:pt x="2731" y="1050"/>
                  </a:lnTo>
                  <a:lnTo>
                    <a:pt x="2742" y="1075"/>
                  </a:lnTo>
                  <a:lnTo>
                    <a:pt x="2739" y="1060"/>
                  </a:lnTo>
                  <a:lnTo>
                    <a:pt x="2735" y="1045"/>
                  </a:lnTo>
                  <a:lnTo>
                    <a:pt x="2732" y="1029"/>
                  </a:lnTo>
                  <a:lnTo>
                    <a:pt x="2727" y="1014"/>
                  </a:lnTo>
                  <a:lnTo>
                    <a:pt x="2730" y="1014"/>
                  </a:lnTo>
                  <a:lnTo>
                    <a:pt x="2718" y="978"/>
                  </a:lnTo>
                  <a:lnTo>
                    <a:pt x="2707" y="942"/>
                  </a:lnTo>
                  <a:lnTo>
                    <a:pt x="2694" y="908"/>
                  </a:lnTo>
                  <a:lnTo>
                    <a:pt x="2680" y="873"/>
                  </a:lnTo>
                  <a:lnTo>
                    <a:pt x="2665" y="840"/>
                  </a:lnTo>
                  <a:lnTo>
                    <a:pt x="2649" y="807"/>
                  </a:lnTo>
                  <a:lnTo>
                    <a:pt x="2633" y="773"/>
                  </a:lnTo>
                  <a:lnTo>
                    <a:pt x="2616" y="741"/>
                  </a:lnTo>
                  <a:lnTo>
                    <a:pt x="2612" y="736"/>
                  </a:lnTo>
                  <a:lnTo>
                    <a:pt x="2616" y="754"/>
                  </a:lnTo>
                  <a:lnTo>
                    <a:pt x="2620" y="771"/>
                  </a:lnTo>
                  <a:lnTo>
                    <a:pt x="2624" y="788"/>
                  </a:lnTo>
                  <a:lnTo>
                    <a:pt x="2626" y="807"/>
                  </a:lnTo>
                  <a:lnTo>
                    <a:pt x="2628" y="824"/>
                  </a:lnTo>
                  <a:lnTo>
                    <a:pt x="2630" y="841"/>
                  </a:lnTo>
                  <a:lnTo>
                    <a:pt x="2632" y="860"/>
                  </a:lnTo>
                  <a:lnTo>
                    <a:pt x="2632" y="878"/>
                  </a:lnTo>
                  <a:lnTo>
                    <a:pt x="2632" y="879"/>
                  </a:lnTo>
                  <a:close/>
                  <a:moveTo>
                    <a:pt x="2233" y="406"/>
                  </a:moveTo>
                  <a:lnTo>
                    <a:pt x="2223" y="388"/>
                  </a:lnTo>
                  <a:lnTo>
                    <a:pt x="2212" y="371"/>
                  </a:lnTo>
                  <a:lnTo>
                    <a:pt x="2200" y="354"/>
                  </a:lnTo>
                  <a:lnTo>
                    <a:pt x="2187" y="338"/>
                  </a:lnTo>
                  <a:lnTo>
                    <a:pt x="2174" y="322"/>
                  </a:lnTo>
                  <a:lnTo>
                    <a:pt x="2160" y="307"/>
                  </a:lnTo>
                  <a:lnTo>
                    <a:pt x="2146" y="290"/>
                  </a:lnTo>
                  <a:lnTo>
                    <a:pt x="2129" y="275"/>
                  </a:lnTo>
                  <a:lnTo>
                    <a:pt x="2091" y="264"/>
                  </a:lnTo>
                  <a:lnTo>
                    <a:pt x="2052" y="254"/>
                  </a:lnTo>
                  <a:lnTo>
                    <a:pt x="2013" y="247"/>
                  </a:lnTo>
                  <a:lnTo>
                    <a:pt x="1973" y="241"/>
                  </a:lnTo>
                  <a:lnTo>
                    <a:pt x="1934" y="237"/>
                  </a:lnTo>
                  <a:lnTo>
                    <a:pt x="1893" y="235"/>
                  </a:lnTo>
                  <a:lnTo>
                    <a:pt x="1854" y="235"/>
                  </a:lnTo>
                  <a:lnTo>
                    <a:pt x="1814" y="237"/>
                  </a:lnTo>
                  <a:lnTo>
                    <a:pt x="1826" y="252"/>
                  </a:lnTo>
                  <a:lnTo>
                    <a:pt x="1838" y="267"/>
                  </a:lnTo>
                  <a:lnTo>
                    <a:pt x="1849" y="282"/>
                  </a:lnTo>
                  <a:lnTo>
                    <a:pt x="1859" y="298"/>
                  </a:lnTo>
                  <a:lnTo>
                    <a:pt x="1907" y="305"/>
                  </a:lnTo>
                  <a:lnTo>
                    <a:pt x="1954" y="313"/>
                  </a:lnTo>
                  <a:lnTo>
                    <a:pt x="2002" y="324"/>
                  </a:lnTo>
                  <a:lnTo>
                    <a:pt x="2049" y="336"/>
                  </a:lnTo>
                  <a:lnTo>
                    <a:pt x="2096" y="350"/>
                  </a:lnTo>
                  <a:lnTo>
                    <a:pt x="2142" y="366"/>
                  </a:lnTo>
                  <a:lnTo>
                    <a:pt x="2188" y="385"/>
                  </a:lnTo>
                  <a:lnTo>
                    <a:pt x="2233" y="406"/>
                  </a:lnTo>
                  <a:close/>
                  <a:moveTo>
                    <a:pt x="1522" y="303"/>
                  </a:moveTo>
                  <a:lnTo>
                    <a:pt x="1560" y="298"/>
                  </a:lnTo>
                  <a:lnTo>
                    <a:pt x="1598" y="295"/>
                  </a:lnTo>
                  <a:lnTo>
                    <a:pt x="1635" y="293"/>
                  </a:lnTo>
                  <a:lnTo>
                    <a:pt x="1673" y="292"/>
                  </a:lnTo>
                  <a:lnTo>
                    <a:pt x="1711" y="290"/>
                  </a:lnTo>
                  <a:lnTo>
                    <a:pt x="1749" y="292"/>
                  </a:lnTo>
                  <a:lnTo>
                    <a:pt x="1787" y="293"/>
                  </a:lnTo>
                  <a:lnTo>
                    <a:pt x="1824" y="295"/>
                  </a:lnTo>
                  <a:lnTo>
                    <a:pt x="1815" y="281"/>
                  </a:lnTo>
                  <a:lnTo>
                    <a:pt x="1803" y="267"/>
                  </a:lnTo>
                  <a:lnTo>
                    <a:pt x="1791" y="254"/>
                  </a:lnTo>
                  <a:lnTo>
                    <a:pt x="1778" y="241"/>
                  </a:lnTo>
                  <a:lnTo>
                    <a:pt x="1746" y="244"/>
                  </a:lnTo>
                  <a:lnTo>
                    <a:pt x="1714" y="250"/>
                  </a:lnTo>
                  <a:lnTo>
                    <a:pt x="1682" y="257"/>
                  </a:lnTo>
                  <a:lnTo>
                    <a:pt x="1650" y="264"/>
                  </a:lnTo>
                  <a:lnTo>
                    <a:pt x="1618" y="272"/>
                  </a:lnTo>
                  <a:lnTo>
                    <a:pt x="1586" y="281"/>
                  </a:lnTo>
                  <a:lnTo>
                    <a:pt x="1553" y="293"/>
                  </a:lnTo>
                  <a:lnTo>
                    <a:pt x="1522" y="303"/>
                  </a:lnTo>
                  <a:close/>
                  <a:moveTo>
                    <a:pt x="2273" y="425"/>
                  </a:moveTo>
                  <a:lnTo>
                    <a:pt x="2306" y="444"/>
                  </a:lnTo>
                  <a:lnTo>
                    <a:pt x="2338" y="462"/>
                  </a:lnTo>
                  <a:lnTo>
                    <a:pt x="2369" y="483"/>
                  </a:lnTo>
                  <a:lnTo>
                    <a:pt x="2400" y="504"/>
                  </a:lnTo>
                  <a:lnTo>
                    <a:pt x="2431" y="527"/>
                  </a:lnTo>
                  <a:lnTo>
                    <a:pt x="2462" y="551"/>
                  </a:lnTo>
                  <a:lnTo>
                    <a:pt x="2492" y="576"/>
                  </a:lnTo>
                  <a:lnTo>
                    <a:pt x="2521" y="603"/>
                  </a:lnTo>
                  <a:lnTo>
                    <a:pt x="2511" y="586"/>
                  </a:lnTo>
                  <a:lnTo>
                    <a:pt x="2500" y="572"/>
                  </a:lnTo>
                  <a:lnTo>
                    <a:pt x="2490" y="557"/>
                  </a:lnTo>
                  <a:lnTo>
                    <a:pt x="2478" y="542"/>
                  </a:lnTo>
                  <a:lnTo>
                    <a:pt x="2480" y="540"/>
                  </a:lnTo>
                  <a:lnTo>
                    <a:pt x="2457" y="512"/>
                  </a:lnTo>
                  <a:lnTo>
                    <a:pt x="2432" y="485"/>
                  </a:lnTo>
                  <a:lnTo>
                    <a:pt x="2408" y="459"/>
                  </a:lnTo>
                  <a:lnTo>
                    <a:pt x="2383" y="432"/>
                  </a:lnTo>
                  <a:lnTo>
                    <a:pt x="2364" y="414"/>
                  </a:lnTo>
                  <a:lnTo>
                    <a:pt x="2345" y="396"/>
                  </a:lnTo>
                  <a:lnTo>
                    <a:pt x="2325" y="378"/>
                  </a:lnTo>
                  <a:lnTo>
                    <a:pt x="2306" y="361"/>
                  </a:lnTo>
                  <a:lnTo>
                    <a:pt x="2306" y="361"/>
                  </a:lnTo>
                  <a:lnTo>
                    <a:pt x="2277" y="343"/>
                  </a:lnTo>
                  <a:lnTo>
                    <a:pt x="2248" y="327"/>
                  </a:lnTo>
                  <a:lnTo>
                    <a:pt x="2219" y="312"/>
                  </a:lnTo>
                  <a:lnTo>
                    <a:pt x="2189" y="298"/>
                  </a:lnTo>
                  <a:lnTo>
                    <a:pt x="2202" y="313"/>
                  </a:lnTo>
                  <a:lnTo>
                    <a:pt x="2215" y="328"/>
                  </a:lnTo>
                  <a:lnTo>
                    <a:pt x="2226" y="345"/>
                  </a:lnTo>
                  <a:lnTo>
                    <a:pt x="2237" y="361"/>
                  </a:lnTo>
                  <a:lnTo>
                    <a:pt x="2247" y="376"/>
                  </a:lnTo>
                  <a:lnTo>
                    <a:pt x="2256" y="393"/>
                  </a:lnTo>
                  <a:lnTo>
                    <a:pt x="2265" y="409"/>
                  </a:lnTo>
                  <a:lnTo>
                    <a:pt x="2273" y="425"/>
                  </a:lnTo>
                  <a:close/>
                  <a:moveTo>
                    <a:pt x="1300" y="378"/>
                  </a:moveTo>
                  <a:lnTo>
                    <a:pt x="1257" y="391"/>
                  </a:lnTo>
                  <a:lnTo>
                    <a:pt x="1216" y="404"/>
                  </a:lnTo>
                  <a:lnTo>
                    <a:pt x="1176" y="419"/>
                  </a:lnTo>
                  <a:lnTo>
                    <a:pt x="1134" y="436"/>
                  </a:lnTo>
                  <a:lnTo>
                    <a:pt x="1094" y="452"/>
                  </a:lnTo>
                  <a:lnTo>
                    <a:pt x="1053" y="470"/>
                  </a:lnTo>
                  <a:lnTo>
                    <a:pt x="1014" y="489"/>
                  </a:lnTo>
                  <a:lnTo>
                    <a:pt x="975" y="508"/>
                  </a:lnTo>
                  <a:lnTo>
                    <a:pt x="984" y="525"/>
                  </a:lnTo>
                  <a:lnTo>
                    <a:pt x="995" y="543"/>
                  </a:lnTo>
                  <a:lnTo>
                    <a:pt x="1007" y="559"/>
                  </a:lnTo>
                  <a:lnTo>
                    <a:pt x="1021" y="575"/>
                  </a:lnTo>
                  <a:lnTo>
                    <a:pt x="1043" y="557"/>
                  </a:lnTo>
                  <a:lnTo>
                    <a:pt x="1065" y="538"/>
                  </a:lnTo>
                  <a:lnTo>
                    <a:pt x="1088" y="520"/>
                  </a:lnTo>
                  <a:lnTo>
                    <a:pt x="1111" y="502"/>
                  </a:lnTo>
                  <a:lnTo>
                    <a:pt x="1134" y="486"/>
                  </a:lnTo>
                  <a:lnTo>
                    <a:pt x="1157" y="469"/>
                  </a:lnTo>
                  <a:lnTo>
                    <a:pt x="1180" y="453"/>
                  </a:lnTo>
                  <a:lnTo>
                    <a:pt x="1203" y="438"/>
                  </a:lnTo>
                  <a:lnTo>
                    <a:pt x="1227" y="422"/>
                  </a:lnTo>
                  <a:lnTo>
                    <a:pt x="1252" y="407"/>
                  </a:lnTo>
                  <a:lnTo>
                    <a:pt x="1276" y="393"/>
                  </a:lnTo>
                  <a:lnTo>
                    <a:pt x="1300" y="378"/>
                  </a:lnTo>
                  <a:close/>
                  <a:moveTo>
                    <a:pt x="951" y="522"/>
                  </a:moveTo>
                  <a:lnTo>
                    <a:pt x="927" y="535"/>
                  </a:lnTo>
                  <a:lnTo>
                    <a:pt x="904" y="547"/>
                  </a:lnTo>
                  <a:lnTo>
                    <a:pt x="881" y="561"/>
                  </a:lnTo>
                  <a:lnTo>
                    <a:pt x="858" y="575"/>
                  </a:lnTo>
                  <a:lnTo>
                    <a:pt x="835" y="589"/>
                  </a:lnTo>
                  <a:lnTo>
                    <a:pt x="813" y="604"/>
                  </a:lnTo>
                  <a:lnTo>
                    <a:pt x="790" y="619"/>
                  </a:lnTo>
                  <a:lnTo>
                    <a:pt x="768" y="634"/>
                  </a:lnTo>
                  <a:lnTo>
                    <a:pt x="744" y="650"/>
                  </a:lnTo>
                  <a:lnTo>
                    <a:pt x="719" y="668"/>
                  </a:lnTo>
                  <a:lnTo>
                    <a:pt x="696" y="686"/>
                  </a:lnTo>
                  <a:lnTo>
                    <a:pt x="673" y="704"/>
                  </a:lnTo>
                  <a:lnTo>
                    <a:pt x="650" y="722"/>
                  </a:lnTo>
                  <a:lnTo>
                    <a:pt x="627" y="741"/>
                  </a:lnTo>
                  <a:lnTo>
                    <a:pt x="605" y="760"/>
                  </a:lnTo>
                  <a:lnTo>
                    <a:pt x="583" y="779"/>
                  </a:lnTo>
                  <a:lnTo>
                    <a:pt x="594" y="797"/>
                  </a:lnTo>
                  <a:lnTo>
                    <a:pt x="605" y="815"/>
                  </a:lnTo>
                  <a:lnTo>
                    <a:pt x="618" y="832"/>
                  </a:lnTo>
                  <a:lnTo>
                    <a:pt x="632" y="849"/>
                  </a:lnTo>
                  <a:lnTo>
                    <a:pt x="646" y="865"/>
                  </a:lnTo>
                  <a:lnTo>
                    <a:pt x="661" y="883"/>
                  </a:lnTo>
                  <a:lnTo>
                    <a:pt x="677" y="898"/>
                  </a:lnTo>
                  <a:lnTo>
                    <a:pt x="693" y="914"/>
                  </a:lnTo>
                  <a:lnTo>
                    <a:pt x="729" y="870"/>
                  </a:lnTo>
                  <a:lnTo>
                    <a:pt x="764" y="827"/>
                  </a:lnTo>
                  <a:lnTo>
                    <a:pt x="801" y="786"/>
                  </a:lnTo>
                  <a:lnTo>
                    <a:pt x="839" y="745"/>
                  </a:lnTo>
                  <a:lnTo>
                    <a:pt x="878" y="705"/>
                  </a:lnTo>
                  <a:lnTo>
                    <a:pt x="919" y="666"/>
                  </a:lnTo>
                  <a:lnTo>
                    <a:pt x="959" y="629"/>
                  </a:lnTo>
                  <a:lnTo>
                    <a:pt x="1000" y="592"/>
                  </a:lnTo>
                  <a:lnTo>
                    <a:pt x="985" y="575"/>
                  </a:lnTo>
                  <a:lnTo>
                    <a:pt x="972" y="558"/>
                  </a:lnTo>
                  <a:lnTo>
                    <a:pt x="960" y="540"/>
                  </a:lnTo>
                  <a:lnTo>
                    <a:pt x="951" y="522"/>
                  </a:lnTo>
                  <a:close/>
                  <a:moveTo>
                    <a:pt x="563" y="798"/>
                  </a:moveTo>
                  <a:lnTo>
                    <a:pt x="528" y="832"/>
                  </a:lnTo>
                  <a:lnTo>
                    <a:pt x="495" y="865"/>
                  </a:lnTo>
                  <a:lnTo>
                    <a:pt x="462" y="900"/>
                  </a:lnTo>
                  <a:lnTo>
                    <a:pt x="430" y="936"/>
                  </a:lnTo>
                  <a:lnTo>
                    <a:pt x="400" y="971"/>
                  </a:lnTo>
                  <a:lnTo>
                    <a:pt x="371" y="1008"/>
                  </a:lnTo>
                  <a:lnTo>
                    <a:pt x="344" y="1045"/>
                  </a:lnTo>
                  <a:lnTo>
                    <a:pt x="318" y="1083"/>
                  </a:lnTo>
                  <a:lnTo>
                    <a:pt x="309" y="1096"/>
                  </a:lnTo>
                  <a:lnTo>
                    <a:pt x="300" y="1110"/>
                  </a:lnTo>
                  <a:lnTo>
                    <a:pt x="292" y="1123"/>
                  </a:lnTo>
                  <a:lnTo>
                    <a:pt x="284" y="1137"/>
                  </a:lnTo>
                  <a:lnTo>
                    <a:pt x="298" y="1161"/>
                  </a:lnTo>
                  <a:lnTo>
                    <a:pt x="314" y="1184"/>
                  </a:lnTo>
                  <a:lnTo>
                    <a:pt x="332" y="1209"/>
                  </a:lnTo>
                  <a:lnTo>
                    <a:pt x="351" y="1232"/>
                  </a:lnTo>
                  <a:lnTo>
                    <a:pt x="370" y="1254"/>
                  </a:lnTo>
                  <a:lnTo>
                    <a:pt x="391" y="1275"/>
                  </a:lnTo>
                  <a:lnTo>
                    <a:pt x="413" y="1297"/>
                  </a:lnTo>
                  <a:lnTo>
                    <a:pt x="436" y="1318"/>
                  </a:lnTo>
                  <a:lnTo>
                    <a:pt x="461" y="1269"/>
                  </a:lnTo>
                  <a:lnTo>
                    <a:pt x="488" y="1220"/>
                  </a:lnTo>
                  <a:lnTo>
                    <a:pt x="515" y="1172"/>
                  </a:lnTo>
                  <a:lnTo>
                    <a:pt x="545" y="1123"/>
                  </a:lnTo>
                  <a:lnTo>
                    <a:pt x="576" y="1075"/>
                  </a:lnTo>
                  <a:lnTo>
                    <a:pt x="609" y="1028"/>
                  </a:lnTo>
                  <a:lnTo>
                    <a:pt x="642" y="982"/>
                  </a:lnTo>
                  <a:lnTo>
                    <a:pt x="677" y="936"/>
                  </a:lnTo>
                  <a:lnTo>
                    <a:pt x="659" y="919"/>
                  </a:lnTo>
                  <a:lnTo>
                    <a:pt x="643" y="903"/>
                  </a:lnTo>
                  <a:lnTo>
                    <a:pt x="627" y="886"/>
                  </a:lnTo>
                  <a:lnTo>
                    <a:pt x="612" y="870"/>
                  </a:lnTo>
                  <a:lnTo>
                    <a:pt x="600" y="853"/>
                  </a:lnTo>
                  <a:lnTo>
                    <a:pt x="586" y="834"/>
                  </a:lnTo>
                  <a:lnTo>
                    <a:pt x="574" y="817"/>
                  </a:lnTo>
                  <a:lnTo>
                    <a:pt x="563" y="798"/>
                  </a:lnTo>
                  <a:close/>
                  <a:moveTo>
                    <a:pt x="268" y="1164"/>
                  </a:moveTo>
                  <a:lnTo>
                    <a:pt x="246" y="1203"/>
                  </a:lnTo>
                  <a:lnTo>
                    <a:pt x="226" y="1242"/>
                  </a:lnTo>
                  <a:lnTo>
                    <a:pt x="208" y="1281"/>
                  </a:lnTo>
                  <a:lnTo>
                    <a:pt x="191" y="1322"/>
                  </a:lnTo>
                  <a:lnTo>
                    <a:pt x="174" y="1362"/>
                  </a:lnTo>
                  <a:lnTo>
                    <a:pt x="161" y="1402"/>
                  </a:lnTo>
                  <a:lnTo>
                    <a:pt x="149" y="1444"/>
                  </a:lnTo>
                  <a:lnTo>
                    <a:pt x="139" y="1485"/>
                  </a:lnTo>
                  <a:lnTo>
                    <a:pt x="154" y="1513"/>
                  </a:lnTo>
                  <a:lnTo>
                    <a:pt x="171" y="1540"/>
                  </a:lnTo>
                  <a:lnTo>
                    <a:pt x="189" y="1568"/>
                  </a:lnTo>
                  <a:lnTo>
                    <a:pt x="209" y="1595"/>
                  </a:lnTo>
                  <a:lnTo>
                    <a:pt x="230" y="1621"/>
                  </a:lnTo>
                  <a:lnTo>
                    <a:pt x="252" y="1646"/>
                  </a:lnTo>
                  <a:lnTo>
                    <a:pt x="275" y="1672"/>
                  </a:lnTo>
                  <a:lnTo>
                    <a:pt x="299" y="1696"/>
                  </a:lnTo>
                  <a:lnTo>
                    <a:pt x="305" y="1673"/>
                  </a:lnTo>
                  <a:lnTo>
                    <a:pt x="310" y="1651"/>
                  </a:lnTo>
                  <a:lnTo>
                    <a:pt x="316" y="1628"/>
                  </a:lnTo>
                  <a:lnTo>
                    <a:pt x="323" y="1606"/>
                  </a:lnTo>
                  <a:lnTo>
                    <a:pt x="330" y="1583"/>
                  </a:lnTo>
                  <a:lnTo>
                    <a:pt x="337" y="1560"/>
                  </a:lnTo>
                  <a:lnTo>
                    <a:pt x="344" y="1538"/>
                  </a:lnTo>
                  <a:lnTo>
                    <a:pt x="352" y="1515"/>
                  </a:lnTo>
                  <a:lnTo>
                    <a:pt x="368" y="1472"/>
                  </a:lnTo>
                  <a:lnTo>
                    <a:pt x="385" y="1430"/>
                  </a:lnTo>
                  <a:lnTo>
                    <a:pt x="404" y="1386"/>
                  </a:lnTo>
                  <a:lnTo>
                    <a:pt x="423" y="1343"/>
                  </a:lnTo>
                  <a:lnTo>
                    <a:pt x="400" y="1323"/>
                  </a:lnTo>
                  <a:lnTo>
                    <a:pt x="378" y="1302"/>
                  </a:lnTo>
                  <a:lnTo>
                    <a:pt x="356" y="1280"/>
                  </a:lnTo>
                  <a:lnTo>
                    <a:pt x="337" y="1257"/>
                  </a:lnTo>
                  <a:lnTo>
                    <a:pt x="317" y="1235"/>
                  </a:lnTo>
                  <a:lnTo>
                    <a:pt x="300" y="1211"/>
                  </a:lnTo>
                  <a:lnTo>
                    <a:pt x="283" y="1188"/>
                  </a:lnTo>
                  <a:lnTo>
                    <a:pt x="268" y="1164"/>
                  </a:lnTo>
                  <a:close/>
                  <a:moveTo>
                    <a:pt x="131" y="1525"/>
                  </a:moveTo>
                  <a:lnTo>
                    <a:pt x="123" y="1570"/>
                  </a:lnTo>
                  <a:lnTo>
                    <a:pt x="118" y="1614"/>
                  </a:lnTo>
                  <a:lnTo>
                    <a:pt x="115" y="1659"/>
                  </a:lnTo>
                  <a:lnTo>
                    <a:pt x="115" y="1704"/>
                  </a:lnTo>
                  <a:lnTo>
                    <a:pt x="115" y="1726"/>
                  </a:lnTo>
                  <a:lnTo>
                    <a:pt x="116" y="1748"/>
                  </a:lnTo>
                  <a:lnTo>
                    <a:pt x="118" y="1771"/>
                  </a:lnTo>
                  <a:lnTo>
                    <a:pt x="120" y="1793"/>
                  </a:lnTo>
                  <a:lnTo>
                    <a:pt x="123" y="1815"/>
                  </a:lnTo>
                  <a:lnTo>
                    <a:pt x="126" y="1838"/>
                  </a:lnTo>
                  <a:lnTo>
                    <a:pt x="131" y="1860"/>
                  </a:lnTo>
                  <a:lnTo>
                    <a:pt x="135" y="1881"/>
                  </a:lnTo>
                  <a:lnTo>
                    <a:pt x="149" y="1906"/>
                  </a:lnTo>
                  <a:lnTo>
                    <a:pt x="165" y="1928"/>
                  </a:lnTo>
                  <a:lnTo>
                    <a:pt x="181" y="1951"/>
                  </a:lnTo>
                  <a:lnTo>
                    <a:pt x="199" y="1972"/>
                  </a:lnTo>
                  <a:lnTo>
                    <a:pt x="217" y="1994"/>
                  </a:lnTo>
                  <a:lnTo>
                    <a:pt x="235" y="2016"/>
                  </a:lnTo>
                  <a:lnTo>
                    <a:pt x="255" y="2037"/>
                  </a:lnTo>
                  <a:lnTo>
                    <a:pt x="276" y="2058"/>
                  </a:lnTo>
                  <a:lnTo>
                    <a:pt x="272" y="2019"/>
                  </a:lnTo>
                  <a:lnTo>
                    <a:pt x="270" y="1978"/>
                  </a:lnTo>
                  <a:lnTo>
                    <a:pt x="270" y="1938"/>
                  </a:lnTo>
                  <a:lnTo>
                    <a:pt x="271" y="1896"/>
                  </a:lnTo>
                  <a:lnTo>
                    <a:pt x="274" y="1855"/>
                  </a:lnTo>
                  <a:lnTo>
                    <a:pt x="278" y="1812"/>
                  </a:lnTo>
                  <a:lnTo>
                    <a:pt x="285" y="1770"/>
                  </a:lnTo>
                  <a:lnTo>
                    <a:pt x="293" y="1727"/>
                  </a:lnTo>
                  <a:lnTo>
                    <a:pt x="269" y="1704"/>
                  </a:lnTo>
                  <a:lnTo>
                    <a:pt x="246" y="1680"/>
                  </a:lnTo>
                  <a:lnTo>
                    <a:pt x="223" y="1656"/>
                  </a:lnTo>
                  <a:lnTo>
                    <a:pt x="202" y="1630"/>
                  </a:lnTo>
                  <a:lnTo>
                    <a:pt x="182" y="1605"/>
                  </a:lnTo>
                  <a:lnTo>
                    <a:pt x="164" y="1578"/>
                  </a:lnTo>
                  <a:lnTo>
                    <a:pt x="147" y="1553"/>
                  </a:lnTo>
                  <a:lnTo>
                    <a:pt x="131" y="1525"/>
                  </a:lnTo>
                  <a:close/>
                  <a:moveTo>
                    <a:pt x="158" y="1966"/>
                  </a:moveTo>
                  <a:lnTo>
                    <a:pt x="166" y="1989"/>
                  </a:lnTo>
                  <a:lnTo>
                    <a:pt x="174" y="2011"/>
                  </a:lnTo>
                  <a:lnTo>
                    <a:pt x="184" y="2034"/>
                  </a:lnTo>
                  <a:lnTo>
                    <a:pt x="194" y="2055"/>
                  </a:lnTo>
                  <a:lnTo>
                    <a:pt x="204" y="2078"/>
                  </a:lnTo>
                  <a:lnTo>
                    <a:pt x="216" y="2100"/>
                  </a:lnTo>
                  <a:lnTo>
                    <a:pt x="229" y="2122"/>
                  </a:lnTo>
                  <a:lnTo>
                    <a:pt x="241" y="2145"/>
                  </a:lnTo>
                  <a:lnTo>
                    <a:pt x="255" y="2166"/>
                  </a:lnTo>
                  <a:lnTo>
                    <a:pt x="269" y="2187"/>
                  </a:lnTo>
                  <a:lnTo>
                    <a:pt x="283" y="2206"/>
                  </a:lnTo>
                  <a:lnTo>
                    <a:pt x="298" y="2227"/>
                  </a:lnTo>
                  <a:lnTo>
                    <a:pt x="298" y="2226"/>
                  </a:lnTo>
                  <a:lnTo>
                    <a:pt x="308" y="2240"/>
                  </a:lnTo>
                  <a:lnTo>
                    <a:pt x="318" y="2252"/>
                  </a:lnTo>
                  <a:lnTo>
                    <a:pt x="329" y="2265"/>
                  </a:lnTo>
                  <a:lnTo>
                    <a:pt x="339" y="2278"/>
                  </a:lnTo>
                  <a:lnTo>
                    <a:pt x="330" y="2257"/>
                  </a:lnTo>
                  <a:lnTo>
                    <a:pt x="321" y="2235"/>
                  </a:lnTo>
                  <a:lnTo>
                    <a:pt x="313" y="2214"/>
                  </a:lnTo>
                  <a:lnTo>
                    <a:pt x="306" y="2193"/>
                  </a:lnTo>
                  <a:lnTo>
                    <a:pt x="299" y="2171"/>
                  </a:lnTo>
                  <a:lnTo>
                    <a:pt x="293" y="2148"/>
                  </a:lnTo>
                  <a:lnTo>
                    <a:pt x="287" y="2125"/>
                  </a:lnTo>
                  <a:lnTo>
                    <a:pt x="283" y="2102"/>
                  </a:lnTo>
                  <a:lnTo>
                    <a:pt x="248" y="2069"/>
                  </a:lnTo>
                  <a:lnTo>
                    <a:pt x="216" y="2036"/>
                  </a:lnTo>
                  <a:lnTo>
                    <a:pt x="186" y="2001"/>
                  </a:lnTo>
                  <a:lnTo>
                    <a:pt x="158" y="1966"/>
                  </a:lnTo>
                  <a:close/>
                  <a:moveTo>
                    <a:pt x="2078" y="232"/>
                  </a:moveTo>
                  <a:lnTo>
                    <a:pt x="2060" y="219"/>
                  </a:lnTo>
                  <a:lnTo>
                    <a:pt x="2042" y="206"/>
                  </a:lnTo>
                  <a:lnTo>
                    <a:pt x="2023" y="195"/>
                  </a:lnTo>
                  <a:lnTo>
                    <a:pt x="2005" y="182"/>
                  </a:lnTo>
                  <a:lnTo>
                    <a:pt x="1984" y="171"/>
                  </a:lnTo>
                  <a:lnTo>
                    <a:pt x="1965" y="160"/>
                  </a:lnTo>
                  <a:lnTo>
                    <a:pt x="1944" y="150"/>
                  </a:lnTo>
                  <a:lnTo>
                    <a:pt x="1922" y="139"/>
                  </a:lnTo>
                  <a:lnTo>
                    <a:pt x="1898" y="141"/>
                  </a:lnTo>
                  <a:lnTo>
                    <a:pt x="1875" y="143"/>
                  </a:lnTo>
                  <a:lnTo>
                    <a:pt x="1851" y="146"/>
                  </a:lnTo>
                  <a:lnTo>
                    <a:pt x="1826" y="150"/>
                  </a:lnTo>
                  <a:lnTo>
                    <a:pt x="1803" y="154"/>
                  </a:lnTo>
                  <a:lnTo>
                    <a:pt x="1780" y="160"/>
                  </a:lnTo>
                  <a:lnTo>
                    <a:pt x="1757" y="166"/>
                  </a:lnTo>
                  <a:lnTo>
                    <a:pt x="1734" y="173"/>
                  </a:lnTo>
                  <a:lnTo>
                    <a:pt x="1740" y="176"/>
                  </a:lnTo>
                  <a:lnTo>
                    <a:pt x="1746" y="181"/>
                  </a:lnTo>
                  <a:lnTo>
                    <a:pt x="1757" y="188"/>
                  </a:lnTo>
                  <a:lnTo>
                    <a:pt x="1768" y="196"/>
                  </a:lnTo>
                  <a:lnTo>
                    <a:pt x="1777" y="204"/>
                  </a:lnTo>
                  <a:lnTo>
                    <a:pt x="1787" y="212"/>
                  </a:lnTo>
                  <a:lnTo>
                    <a:pt x="1824" y="209"/>
                  </a:lnTo>
                  <a:lnTo>
                    <a:pt x="1861" y="207"/>
                  </a:lnTo>
                  <a:lnTo>
                    <a:pt x="1897" y="207"/>
                  </a:lnTo>
                  <a:lnTo>
                    <a:pt x="1934" y="210"/>
                  </a:lnTo>
                  <a:lnTo>
                    <a:pt x="1969" y="212"/>
                  </a:lnTo>
                  <a:lnTo>
                    <a:pt x="2006" y="218"/>
                  </a:lnTo>
                  <a:lnTo>
                    <a:pt x="2042" y="224"/>
                  </a:lnTo>
                  <a:lnTo>
                    <a:pt x="2078" y="232"/>
                  </a:lnTo>
                  <a:close/>
                  <a:moveTo>
                    <a:pt x="1513" y="278"/>
                  </a:moveTo>
                  <a:lnTo>
                    <a:pt x="1542" y="267"/>
                  </a:lnTo>
                  <a:lnTo>
                    <a:pt x="1572" y="257"/>
                  </a:lnTo>
                  <a:lnTo>
                    <a:pt x="1601" y="249"/>
                  </a:lnTo>
                  <a:lnTo>
                    <a:pt x="1631" y="241"/>
                  </a:lnTo>
                  <a:lnTo>
                    <a:pt x="1661" y="233"/>
                  </a:lnTo>
                  <a:lnTo>
                    <a:pt x="1690" y="227"/>
                  </a:lnTo>
                  <a:lnTo>
                    <a:pt x="1719" y="221"/>
                  </a:lnTo>
                  <a:lnTo>
                    <a:pt x="1749" y="217"/>
                  </a:lnTo>
                  <a:lnTo>
                    <a:pt x="1740" y="210"/>
                  </a:lnTo>
                  <a:lnTo>
                    <a:pt x="1731" y="204"/>
                  </a:lnTo>
                  <a:lnTo>
                    <a:pt x="1716" y="194"/>
                  </a:lnTo>
                  <a:lnTo>
                    <a:pt x="1700" y="184"/>
                  </a:lnTo>
                  <a:lnTo>
                    <a:pt x="1675" y="194"/>
                  </a:lnTo>
                  <a:lnTo>
                    <a:pt x="1651" y="203"/>
                  </a:lnTo>
                  <a:lnTo>
                    <a:pt x="1628" y="214"/>
                  </a:lnTo>
                  <a:lnTo>
                    <a:pt x="1604" y="225"/>
                  </a:lnTo>
                  <a:lnTo>
                    <a:pt x="1581" y="237"/>
                  </a:lnTo>
                  <a:lnTo>
                    <a:pt x="1558" y="250"/>
                  </a:lnTo>
                  <a:lnTo>
                    <a:pt x="1535" y="264"/>
                  </a:lnTo>
                  <a:lnTo>
                    <a:pt x="1513" y="278"/>
                  </a:lnTo>
                  <a:close/>
                  <a:moveTo>
                    <a:pt x="2142" y="251"/>
                  </a:moveTo>
                  <a:lnTo>
                    <a:pt x="2152" y="255"/>
                  </a:lnTo>
                  <a:lnTo>
                    <a:pt x="2162" y="258"/>
                  </a:lnTo>
                  <a:lnTo>
                    <a:pt x="2171" y="262"/>
                  </a:lnTo>
                  <a:lnTo>
                    <a:pt x="2181" y="265"/>
                  </a:lnTo>
                  <a:lnTo>
                    <a:pt x="2159" y="251"/>
                  </a:lnTo>
                  <a:lnTo>
                    <a:pt x="2139" y="237"/>
                  </a:lnTo>
                  <a:lnTo>
                    <a:pt x="2118" y="225"/>
                  </a:lnTo>
                  <a:lnTo>
                    <a:pt x="2096" y="212"/>
                  </a:lnTo>
                  <a:lnTo>
                    <a:pt x="2107" y="221"/>
                  </a:lnTo>
                  <a:lnTo>
                    <a:pt x="2120" y="232"/>
                  </a:lnTo>
                  <a:lnTo>
                    <a:pt x="2132" y="241"/>
                  </a:lnTo>
                  <a:lnTo>
                    <a:pt x="2142" y="251"/>
                  </a:lnTo>
                  <a:close/>
                  <a:moveTo>
                    <a:pt x="1314" y="402"/>
                  </a:moveTo>
                  <a:lnTo>
                    <a:pt x="1290" y="416"/>
                  </a:lnTo>
                  <a:lnTo>
                    <a:pt x="1265" y="430"/>
                  </a:lnTo>
                  <a:lnTo>
                    <a:pt x="1242" y="445"/>
                  </a:lnTo>
                  <a:lnTo>
                    <a:pt x="1219" y="460"/>
                  </a:lnTo>
                  <a:lnTo>
                    <a:pt x="1196" y="476"/>
                  </a:lnTo>
                  <a:lnTo>
                    <a:pt x="1173" y="491"/>
                  </a:lnTo>
                  <a:lnTo>
                    <a:pt x="1150" y="507"/>
                  </a:lnTo>
                  <a:lnTo>
                    <a:pt x="1128" y="524"/>
                  </a:lnTo>
                  <a:lnTo>
                    <a:pt x="1106" y="540"/>
                  </a:lnTo>
                  <a:lnTo>
                    <a:pt x="1085" y="558"/>
                  </a:lnTo>
                  <a:lnTo>
                    <a:pt x="1061" y="576"/>
                  </a:lnTo>
                  <a:lnTo>
                    <a:pt x="1041" y="593"/>
                  </a:lnTo>
                  <a:lnTo>
                    <a:pt x="1050" y="603"/>
                  </a:lnTo>
                  <a:lnTo>
                    <a:pt x="1061" y="611"/>
                  </a:lnTo>
                  <a:lnTo>
                    <a:pt x="1072" y="620"/>
                  </a:lnTo>
                  <a:lnTo>
                    <a:pt x="1083" y="628"/>
                  </a:lnTo>
                  <a:lnTo>
                    <a:pt x="1095" y="635"/>
                  </a:lnTo>
                  <a:lnTo>
                    <a:pt x="1106" y="642"/>
                  </a:lnTo>
                  <a:lnTo>
                    <a:pt x="1131" y="610"/>
                  </a:lnTo>
                  <a:lnTo>
                    <a:pt x="1155" y="577"/>
                  </a:lnTo>
                  <a:lnTo>
                    <a:pt x="1180" y="546"/>
                  </a:lnTo>
                  <a:lnTo>
                    <a:pt x="1207" y="515"/>
                  </a:lnTo>
                  <a:lnTo>
                    <a:pt x="1232" y="485"/>
                  </a:lnTo>
                  <a:lnTo>
                    <a:pt x="1258" y="456"/>
                  </a:lnTo>
                  <a:lnTo>
                    <a:pt x="1286" y="429"/>
                  </a:lnTo>
                  <a:lnTo>
                    <a:pt x="1314" y="402"/>
                  </a:lnTo>
                  <a:close/>
                  <a:moveTo>
                    <a:pt x="1019" y="612"/>
                  </a:moveTo>
                  <a:lnTo>
                    <a:pt x="979" y="648"/>
                  </a:lnTo>
                  <a:lnTo>
                    <a:pt x="938" y="686"/>
                  </a:lnTo>
                  <a:lnTo>
                    <a:pt x="898" y="724"/>
                  </a:lnTo>
                  <a:lnTo>
                    <a:pt x="860" y="764"/>
                  </a:lnTo>
                  <a:lnTo>
                    <a:pt x="822" y="804"/>
                  </a:lnTo>
                  <a:lnTo>
                    <a:pt x="785" y="846"/>
                  </a:lnTo>
                  <a:lnTo>
                    <a:pt x="749" y="888"/>
                  </a:lnTo>
                  <a:lnTo>
                    <a:pt x="714" y="932"/>
                  </a:lnTo>
                  <a:lnTo>
                    <a:pt x="731" y="946"/>
                  </a:lnTo>
                  <a:lnTo>
                    <a:pt x="749" y="959"/>
                  </a:lnTo>
                  <a:lnTo>
                    <a:pt x="768" y="971"/>
                  </a:lnTo>
                  <a:lnTo>
                    <a:pt x="786" y="985"/>
                  </a:lnTo>
                  <a:lnTo>
                    <a:pt x="808" y="998"/>
                  </a:lnTo>
                  <a:lnTo>
                    <a:pt x="830" y="1010"/>
                  </a:lnTo>
                  <a:lnTo>
                    <a:pt x="852" y="1023"/>
                  </a:lnTo>
                  <a:lnTo>
                    <a:pt x="876" y="1035"/>
                  </a:lnTo>
                  <a:lnTo>
                    <a:pt x="883" y="1019"/>
                  </a:lnTo>
                  <a:lnTo>
                    <a:pt x="891" y="1004"/>
                  </a:lnTo>
                  <a:lnTo>
                    <a:pt x="913" y="959"/>
                  </a:lnTo>
                  <a:lnTo>
                    <a:pt x="936" y="915"/>
                  </a:lnTo>
                  <a:lnTo>
                    <a:pt x="960" y="871"/>
                  </a:lnTo>
                  <a:lnTo>
                    <a:pt x="985" y="828"/>
                  </a:lnTo>
                  <a:lnTo>
                    <a:pt x="1011" y="786"/>
                  </a:lnTo>
                  <a:lnTo>
                    <a:pt x="1036" y="744"/>
                  </a:lnTo>
                  <a:lnTo>
                    <a:pt x="1063" y="704"/>
                  </a:lnTo>
                  <a:lnTo>
                    <a:pt x="1090" y="664"/>
                  </a:lnTo>
                  <a:lnTo>
                    <a:pt x="1079" y="657"/>
                  </a:lnTo>
                  <a:lnTo>
                    <a:pt x="1068" y="650"/>
                  </a:lnTo>
                  <a:lnTo>
                    <a:pt x="1056" y="641"/>
                  </a:lnTo>
                  <a:lnTo>
                    <a:pt x="1043" y="631"/>
                  </a:lnTo>
                  <a:lnTo>
                    <a:pt x="1030" y="622"/>
                  </a:lnTo>
                  <a:lnTo>
                    <a:pt x="1019" y="612"/>
                  </a:lnTo>
                  <a:close/>
                  <a:moveTo>
                    <a:pt x="697" y="953"/>
                  </a:moveTo>
                  <a:lnTo>
                    <a:pt x="663" y="999"/>
                  </a:lnTo>
                  <a:lnTo>
                    <a:pt x="629" y="1046"/>
                  </a:lnTo>
                  <a:lnTo>
                    <a:pt x="597" y="1093"/>
                  </a:lnTo>
                  <a:lnTo>
                    <a:pt x="566" y="1141"/>
                  </a:lnTo>
                  <a:lnTo>
                    <a:pt x="537" y="1189"/>
                  </a:lnTo>
                  <a:lnTo>
                    <a:pt x="509" y="1239"/>
                  </a:lnTo>
                  <a:lnTo>
                    <a:pt x="482" y="1287"/>
                  </a:lnTo>
                  <a:lnTo>
                    <a:pt x="458" y="1337"/>
                  </a:lnTo>
                  <a:lnTo>
                    <a:pt x="482" y="1356"/>
                  </a:lnTo>
                  <a:lnTo>
                    <a:pt x="506" y="1375"/>
                  </a:lnTo>
                  <a:lnTo>
                    <a:pt x="532" y="1392"/>
                  </a:lnTo>
                  <a:lnTo>
                    <a:pt x="559" y="1410"/>
                  </a:lnTo>
                  <a:lnTo>
                    <a:pt x="593" y="1431"/>
                  </a:lnTo>
                  <a:lnTo>
                    <a:pt x="628" y="1451"/>
                  </a:lnTo>
                  <a:lnTo>
                    <a:pt x="664" y="1469"/>
                  </a:lnTo>
                  <a:lnTo>
                    <a:pt x="702" y="1487"/>
                  </a:lnTo>
                  <a:lnTo>
                    <a:pt x="718" y="1433"/>
                  </a:lnTo>
                  <a:lnTo>
                    <a:pt x="737" y="1379"/>
                  </a:lnTo>
                  <a:lnTo>
                    <a:pt x="755" y="1326"/>
                  </a:lnTo>
                  <a:lnTo>
                    <a:pt x="775" y="1272"/>
                  </a:lnTo>
                  <a:lnTo>
                    <a:pt x="795" y="1218"/>
                  </a:lnTo>
                  <a:lnTo>
                    <a:pt x="817" y="1165"/>
                  </a:lnTo>
                  <a:lnTo>
                    <a:pt x="840" y="1112"/>
                  </a:lnTo>
                  <a:lnTo>
                    <a:pt x="863" y="1060"/>
                  </a:lnTo>
                  <a:lnTo>
                    <a:pt x="840" y="1047"/>
                  </a:lnTo>
                  <a:lnTo>
                    <a:pt x="816" y="1035"/>
                  </a:lnTo>
                  <a:lnTo>
                    <a:pt x="793" y="1021"/>
                  </a:lnTo>
                  <a:lnTo>
                    <a:pt x="771" y="1007"/>
                  </a:lnTo>
                  <a:lnTo>
                    <a:pt x="752" y="994"/>
                  </a:lnTo>
                  <a:lnTo>
                    <a:pt x="733" y="982"/>
                  </a:lnTo>
                  <a:lnTo>
                    <a:pt x="715" y="968"/>
                  </a:lnTo>
                  <a:lnTo>
                    <a:pt x="697" y="953"/>
                  </a:lnTo>
                  <a:close/>
                  <a:moveTo>
                    <a:pt x="445" y="1362"/>
                  </a:moveTo>
                  <a:lnTo>
                    <a:pt x="427" y="1402"/>
                  </a:lnTo>
                  <a:lnTo>
                    <a:pt x="409" y="1443"/>
                  </a:lnTo>
                  <a:lnTo>
                    <a:pt x="393" y="1484"/>
                  </a:lnTo>
                  <a:lnTo>
                    <a:pt x="378" y="1524"/>
                  </a:lnTo>
                  <a:lnTo>
                    <a:pt x="369" y="1549"/>
                  </a:lnTo>
                  <a:lnTo>
                    <a:pt x="361" y="1573"/>
                  </a:lnTo>
                  <a:lnTo>
                    <a:pt x="354" y="1597"/>
                  </a:lnTo>
                  <a:lnTo>
                    <a:pt x="346" y="1621"/>
                  </a:lnTo>
                  <a:lnTo>
                    <a:pt x="340" y="1645"/>
                  </a:lnTo>
                  <a:lnTo>
                    <a:pt x="333" y="1669"/>
                  </a:lnTo>
                  <a:lnTo>
                    <a:pt x="328" y="1694"/>
                  </a:lnTo>
                  <a:lnTo>
                    <a:pt x="322" y="1718"/>
                  </a:lnTo>
                  <a:lnTo>
                    <a:pt x="353" y="1744"/>
                  </a:lnTo>
                  <a:lnTo>
                    <a:pt x="385" y="1771"/>
                  </a:lnTo>
                  <a:lnTo>
                    <a:pt x="420" y="1796"/>
                  </a:lnTo>
                  <a:lnTo>
                    <a:pt x="454" y="1822"/>
                  </a:lnTo>
                  <a:lnTo>
                    <a:pt x="491" y="1845"/>
                  </a:lnTo>
                  <a:lnTo>
                    <a:pt x="529" y="1868"/>
                  </a:lnTo>
                  <a:lnTo>
                    <a:pt x="568" y="1890"/>
                  </a:lnTo>
                  <a:lnTo>
                    <a:pt x="610" y="1910"/>
                  </a:lnTo>
                  <a:lnTo>
                    <a:pt x="614" y="1875"/>
                  </a:lnTo>
                  <a:lnTo>
                    <a:pt x="620" y="1839"/>
                  </a:lnTo>
                  <a:lnTo>
                    <a:pt x="626" y="1803"/>
                  </a:lnTo>
                  <a:lnTo>
                    <a:pt x="633" y="1766"/>
                  </a:lnTo>
                  <a:lnTo>
                    <a:pt x="641" y="1729"/>
                  </a:lnTo>
                  <a:lnTo>
                    <a:pt x="649" y="1693"/>
                  </a:lnTo>
                  <a:lnTo>
                    <a:pt x="657" y="1655"/>
                  </a:lnTo>
                  <a:lnTo>
                    <a:pt x="666" y="1618"/>
                  </a:lnTo>
                  <a:lnTo>
                    <a:pt x="673" y="1591"/>
                  </a:lnTo>
                  <a:lnTo>
                    <a:pt x="680" y="1566"/>
                  </a:lnTo>
                  <a:lnTo>
                    <a:pt x="687" y="1539"/>
                  </a:lnTo>
                  <a:lnTo>
                    <a:pt x="694" y="1514"/>
                  </a:lnTo>
                  <a:lnTo>
                    <a:pt x="655" y="1496"/>
                  </a:lnTo>
                  <a:lnTo>
                    <a:pt x="617" y="1475"/>
                  </a:lnTo>
                  <a:lnTo>
                    <a:pt x="580" y="1454"/>
                  </a:lnTo>
                  <a:lnTo>
                    <a:pt x="544" y="1433"/>
                  </a:lnTo>
                  <a:lnTo>
                    <a:pt x="518" y="1416"/>
                  </a:lnTo>
                  <a:lnTo>
                    <a:pt x="494" y="1399"/>
                  </a:lnTo>
                  <a:lnTo>
                    <a:pt x="468" y="1380"/>
                  </a:lnTo>
                  <a:lnTo>
                    <a:pt x="445" y="1362"/>
                  </a:lnTo>
                  <a:close/>
                  <a:moveTo>
                    <a:pt x="316" y="1749"/>
                  </a:moveTo>
                  <a:lnTo>
                    <a:pt x="309" y="1793"/>
                  </a:lnTo>
                  <a:lnTo>
                    <a:pt x="303" y="1837"/>
                  </a:lnTo>
                  <a:lnTo>
                    <a:pt x="299" y="1880"/>
                  </a:lnTo>
                  <a:lnTo>
                    <a:pt x="298" y="1923"/>
                  </a:lnTo>
                  <a:lnTo>
                    <a:pt x="297" y="1966"/>
                  </a:lnTo>
                  <a:lnTo>
                    <a:pt x="299" y="2007"/>
                  </a:lnTo>
                  <a:lnTo>
                    <a:pt x="302" y="2047"/>
                  </a:lnTo>
                  <a:lnTo>
                    <a:pt x="308" y="2088"/>
                  </a:lnTo>
                  <a:lnTo>
                    <a:pt x="331" y="2107"/>
                  </a:lnTo>
                  <a:lnTo>
                    <a:pt x="355" y="2127"/>
                  </a:lnTo>
                  <a:lnTo>
                    <a:pt x="379" y="2146"/>
                  </a:lnTo>
                  <a:lnTo>
                    <a:pt x="405" y="2165"/>
                  </a:lnTo>
                  <a:lnTo>
                    <a:pt x="430" y="2182"/>
                  </a:lnTo>
                  <a:lnTo>
                    <a:pt x="457" y="2199"/>
                  </a:lnTo>
                  <a:lnTo>
                    <a:pt x="484" y="2217"/>
                  </a:lnTo>
                  <a:lnTo>
                    <a:pt x="513" y="2233"/>
                  </a:lnTo>
                  <a:lnTo>
                    <a:pt x="533" y="2244"/>
                  </a:lnTo>
                  <a:lnTo>
                    <a:pt x="552" y="2256"/>
                  </a:lnTo>
                  <a:lnTo>
                    <a:pt x="573" y="2266"/>
                  </a:lnTo>
                  <a:lnTo>
                    <a:pt x="594" y="2277"/>
                  </a:lnTo>
                  <a:lnTo>
                    <a:pt x="593" y="2255"/>
                  </a:lnTo>
                  <a:lnTo>
                    <a:pt x="591" y="2232"/>
                  </a:lnTo>
                  <a:lnTo>
                    <a:pt x="590" y="2209"/>
                  </a:lnTo>
                  <a:lnTo>
                    <a:pt x="590" y="2186"/>
                  </a:lnTo>
                  <a:lnTo>
                    <a:pt x="590" y="2157"/>
                  </a:lnTo>
                  <a:lnTo>
                    <a:pt x="591" y="2127"/>
                  </a:lnTo>
                  <a:lnTo>
                    <a:pt x="593" y="2097"/>
                  </a:lnTo>
                  <a:lnTo>
                    <a:pt x="594" y="2066"/>
                  </a:lnTo>
                  <a:lnTo>
                    <a:pt x="596" y="2035"/>
                  </a:lnTo>
                  <a:lnTo>
                    <a:pt x="598" y="2004"/>
                  </a:lnTo>
                  <a:lnTo>
                    <a:pt x="602" y="1971"/>
                  </a:lnTo>
                  <a:lnTo>
                    <a:pt x="605" y="1939"/>
                  </a:lnTo>
                  <a:lnTo>
                    <a:pt x="562" y="1917"/>
                  </a:lnTo>
                  <a:lnTo>
                    <a:pt x="520" y="1894"/>
                  </a:lnTo>
                  <a:lnTo>
                    <a:pt x="479" y="1869"/>
                  </a:lnTo>
                  <a:lnTo>
                    <a:pt x="439" y="1843"/>
                  </a:lnTo>
                  <a:lnTo>
                    <a:pt x="407" y="1822"/>
                  </a:lnTo>
                  <a:lnTo>
                    <a:pt x="375" y="1797"/>
                  </a:lnTo>
                  <a:lnTo>
                    <a:pt x="345" y="1773"/>
                  </a:lnTo>
                  <a:lnTo>
                    <a:pt x="316" y="1749"/>
                  </a:lnTo>
                  <a:close/>
                  <a:moveTo>
                    <a:pt x="317" y="2131"/>
                  </a:moveTo>
                  <a:lnTo>
                    <a:pt x="325" y="2163"/>
                  </a:lnTo>
                  <a:lnTo>
                    <a:pt x="335" y="2193"/>
                  </a:lnTo>
                  <a:lnTo>
                    <a:pt x="345" y="2221"/>
                  </a:lnTo>
                  <a:lnTo>
                    <a:pt x="358" y="2250"/>
                  </a:lnTo>
                  <a:lnTo>
                    <a:pt x="370" y="2279"/>
                  </a:lnTo>
                  <a:lnTo>
                    <a:pt x="385" y="2305"/>
                  </a:lnTo>
                  <a:lnTo>
                    <a:pt x="403" y="2332"/>
                  </a:lnTo>
                  <a:lnTo>
                    <a:pt x="420" y="2358"/>
                  </a:lnTo>
                  <a:lnTo>
                    <a:pt x="445" y="2380"/>
                  </a:lnTo>
                  <a:lnTo>
                    <a:pt x="472" y="2401"/>
                  </a:lnTo>
                  <a:lnTo>
                    <a:pt x="498" y="2422"/>
                  </a:lnTo>
                  <a:lnTo>
                    <a:pt x="527" y="2443"/>
                  </a:lnTo>
                  <a:lnTo>
                    <a:pt x="556" y="2462"/>
                  </a:lnTo>
                  <a:lnTo>
                    <a:pt x="586" y="2481"/>
                  </a:lnTo>
                  <a:lnTo>
                    <a:pt x="616" y="2499"/>
                  </a:lnTo>
                  <a:lnTo>
                    <a:pt x="647" y="2516"/>
                  </a:lnTo>
                  <a:lnTo>
                    <a:pt x="639" y="2494"/>
                  </a:lnTo>
                  <a:lnTo>
                    <a:pt x="629" y="2470"/>
                  </a:lnTo>
                  <a:lnTo>
                    <a:pt x="623" y="2446"/>
                  </a:lnTo>
                  <a:lnTo>
                    <a:pt x="616" y="2421"/>
                  </a:lnTo>
                  <a:lnTo>
                    <a:pt x="610" y="2394"/>
                  </a:lnTo>
                  <a:lnTo>
                    <a:pt x="605" y="2367"/>
                  </a:lnTo>
                  <a:lnTo>
                    <a:pt x="601" y="2338"/>
                  </a:lnTo>
                  <a:lnTo>
                    <a:pt x="597" y="2308"/>
                  </a:lnTo>
                  <a:lnTo>
                    <a:pt x="572" y="2296"/>
                  </a:lnTo>
                  <a:lnTo>
                    <a:pt x="548" y="2284"/>
                  </a:lnTo>
                  <a:lnTo>
                    <a:pt x="522" y="2271"/>
                  </a:lnTo>
                  <a:lnTo>
                    <a:pt x="499" y="2257"/>
                  </a:lnTo>
                  <a:lnTo>
                    <a:pt x="474" y="2243"/>
                  </a:lnTo>
                  <a:lnTo>
                    <a:pt x="450" y="2228"/>
                  </a:lnTo>
                  <a:lnTo>
                    <a:pt x="427" y="2213"/>
                  </a:lnTo>
                  <a:lnTo>
                    <a:pt x="404" y="2197"/>
                  </a:lnTo>
                  <a:lnTo>
                    <a:pt x="382" y="2181"/>
                  </a:lnTo>
                  <a:lnTo>
                    <a:pt x="360" y="2165"/>
                  </a:lnTo>
                  <a:lnTo>
                    <a:pt x="338" y="2149"/>
                  </a:lnTo>
                  <a:lnTo>
                    <a:pt x="317" y="2131"/>
                  </a:lnTo>
                  <a:close/>
                  <a:moveTo>
                    <a:pt x="1869" y="116"/>
                  </a:moveTo>
                  <a:lnTo>
                    <a:pt x="1847" y="107"/>
                  </a:lnTo>
                  <a:lnTo>
                    <a:pt x="1824" y="99"/>
                  </a:lnTo>
                  <a:lnTo>
                    <a:pt x="1801" y="92"/>
                  </a:lnTo>
                  <a:lnTo>
                    <a:pt x="1778" y="84"/>
                  </a:lnTo>
                  <a:lnTo>
                    <a:pt x="1754" y="77"/>
                  </a:lnTo>
                  <a:lnTo>
                    <a:pt x="1730" y="72"/>
                  </a:lnTo>
                  <a:lnTo>
                    <a:pt x="1705" y="66"/>
                  </a:lnTo>
                  <a:lnTo>
                    <a:pt x="1681" y="60"/>
                  </a:lnTo>
                  <a:lnTo>
                    <a:pt x="1669" y="62"/>
                  </a:lnTo>
                  <a:lnTo>
                    <a:pt x="1657" y="66"/>
                  </a:lnTo>
                  <a:lnTo>
                    <a:pt x="1646" y="70"/>
                  </a:lnTo>
                  <a:lnTo>
                    <a:pt x="1634" y="76"/>
                  </a:lnTo>
                  <a:lnTo>
                    <a:pt x="1621" y="83"/>
                  </a:lnTo>
                  <a:lnTo>
                    <a:pt x="1610" y="91"/>
                  </a:lnTo>
                  <a:lnTo>
                    <a:pt x="1598" y="99"/>
                  </a:lnTo>
                  <a:lnTo>
                    <a:pt x="1586" y="110"/>
                  </a:lnTo>
                  <a:lnTo>
                    <a:pt x="1617" y="119"/>
                  </a:lnTo>
                  <a:lnTo>
                    <a:pt x="1647" y="129"/>
                  </a:lnTo>
                  <a:lnTo>
                    <a:pt x="1674" y="142"/>
                  </a:lnTo>
                  <a:lnTo>
                    <a:pt x="1702" y="154"/>
                  </a:lnTo>
                  <a:lnTo>
                    <a:pt x="1742" y="142"/>
                  </a:lnTo>
                  <a:lnTo>
                    <a:pt x="1784" y="130"/>
                  </a:lnTo>
                  <a:lnTo>
                    <a:pt x="1806" y="127"/>
                  </a:lnTo>
                  <a:lnTo>
                    <a:pt x="1826" y="122"/>
                  </a:lnTo>
                  <a:lnTo>
                    <a:pt x="1847" y="119"/>
                  </a:lnTo>
                  <a:lnTo>
                    <a:pt x="1869" y="116"/>
                  </a:lnTo>
                  <a:close/>
                  <a:moveTo>
                    <a:pt x="682" y="2582"/>
                  </a:moveTo>
                  <a:lnTo>
                    <a:pt x="676" y="2570"/>
                  </a:lnTo>
                  <a:lnTo>
                    <a:pt x="667" y="2558"/>
                  </a:lnTo>
                  <a:lnTo>
                    <a:pt x="641" y="2544"/>
                  </a:lnTo>
                  <a:lnTo>
                    <a:pt x="616" y="2530"/>
                  </a:lnTo>
                  <a:lnTo>
                    <a:pt x="589" y="2515"/>
                  </a:lnTo>
                  <a:lnTo>
                    <a:pt x="565" y="2500"/>
                  </a:lnTo>
                  <a:lnTo>
                    <a:pt x="594" y="2521"/>
                  </a:lnTo>
                  <a:lnTo>
                    <a:pt x="623" y="2543"/>
                  </a:lnTo>
                  <a:lnTo>
                    <a:pt x="653" y="2562"/>
                  </a:lnTo>
                  <a:lnTo>
                    <a:pt x="682" y="2582"/>
                  </a:lnTo>
                  <a:close/>
                  <a:moveTo>
                    <a:pt x="1450" y="288"/>
                  </a:moveTo>
                  <a:lnTo>
                    <a:pt x="1476" y="270"/>
                  </a:lnTo>
                  <a:lnTo>
                    <a:pt x="1503" y="252"/>
                  </a:lnTo>
                  <a:lnTo>
                    <a:pt x="1529" y="235"/>
                  </a:lnTo>
                  <a:lnTo>
                    <a:pt x="1556" y="220"/>
                  </a:lnTo>
                  <a:lnTo>
                    <a:pt x="1583" y="205"/>
                  </a:lnTo>
                  <a:lnTo>
                    <a:pt x="1611" y="191"/>
                  </a:lnTo>
                  <a:lnTo>
                    <a:pt x="1639" y="179"/>
                  </a:lnTo>
                  <a:lnTo>
                    <a:pt x="1666" y="167"/>
                  </a:lnTo>
                  <a:lnTo>
                    <a:pt x="1642" y="157"/>
                  </a:lnTo>
                  <a:lnTo>
                    <a:pt x="1617" y="148"/>
                  </a:lnTo>
                  <a:lnTo>
                    <a:pt x="1590" y="139"/>
                  </a:lnTo>
                  <a:lnTo>
                    <a:pt x="1563" y="131"/>
                  </a:lnTo>
                  <a:lnTo>
                    <a:pt x="1549" y="146"/>
                  </a:lnTo>
                  <a:lnTo>
                    <a:pt x="1535" y="163"/>
                  </a:lnTo>
                  <a:lnTo>
                    <a:pt x="1521" y="180"/>
                  </a:lnTo>
                  <a:lnTo>
                    <a:pt x="1507" y="198"/>
                  </a:lnTo>
                  <a:lnTo>
                    <a:pt x="1492" y="219"/>
                  </a:lnTo>
                  <a:lnTo>
                    <a:pt x="1478" y="241"/>
                  </a:lnTo>
                  <a:lnTo>
                    <a:pt x="1464" y="264"/>
                  </a:lnTo>
                  <a:lnTo>
                    <a:pt x="1450" y="288"/>
                  </a:lnTo>
                  <a:close/>
                  <a:moveTo>
                    <a:pt x="1366" y="391"/>
                  </a:moveTo>
                  <a:lnTo>
                    <a:pt x="1334" y="419"/>
                  </a:lnTo>
                  <a:lnTo>
                    <a:pt x="1303" y="449"/>
                  </a:lnTo>
                  <a:lnTo>
                    <a:pt x="1273" y="482"/>
                  </a:lnTo>
                  <a:lnTo>
                    <a:pt x="1243" y="514"/>
                  </a:lnTo>
                  <a:lnTo>
                    <a:pt x="1215" y="547"/>
                  </a:lnTo>
                  <a:lnTo>
                    <a:pt x="1186" y="582"/>
                  </a:lnTo>
                  <a:lnTo>
                    <a:pt x="1158" y="619"/>
                  </a:lnTo>
                  <a:lnTo>
                    <a:pt x="1131" y="654"/>
                  </a:lnTo>
                  <a:lnTo>
                    <a:pt x="1157" y="667"/>
                  </a:lnTo>
                  <a:lnTo>
                    <a:pt x="1185" y="679"/>
                  </a:lnTo>
                  <a:lnTo>
                    <a:pt x="1214" y="689"/>
                  </a:lnTo>
                  <a:lnTo>
                    <a:pt x="1243" y="697"/>
                  </a:lnTo>
                  <a:lnTo>
                    <a:pt x="1257" y="656"/>
                  </a:lnTo>
                  <a:lnTo>
                    <a:pt x="1272" y="614"/>
                  </a:lnTo>
                  <a:lnTo>
                    <a:pt x="1287" y="575"/>
                  </a:lnTo>
                  <a:lnTo>
                    <a:pt x="1303" y="536"/>
                  </a:lnTo>
                  <a:lnTo>
                    <a:pt x="1318" y="498"/>
                  </a:lnTo>
                  <a:lnTo>
                    <a:pt x="1334" y="461"/>
                  </a:lnTo>
                  <a:lnTo>
                    <a:pt x="1349" y="425"/>
                  </a:lnTo>
                  <a:lnTo>
                    <a:pt x="1366" y="391"/>
                  </a:lnTo>
                  <a:close/>
                  <a:moveTo>
                    <a:pt x="1114" y="678"/>
                  </a:moveTo>
                  <a:lnTo>
                    <a:pt x="1087" y="717"/>
                  </a:lnTo>
                  <a:lnTo>
                    <a:pt x="1060" y="757"/>
                  </a:lnTo>
                  <a:lnTo>
                    <a:pt x="1034" y="798"/>
                  </a:lnTo>
                  <a:lnTo>
                    <a:pt x="1010" y="841"/>
                  </a:lnTo>
                  <a:lnTo>
                    <a:pt x="984" y="884"/>
                  </a:lnTo>
                  <a:lnTo>
                    <a:pt x="961" y="926"/>
                  </a:lnTo>
                  <a:lnTo>
                    <a:pt x="938" y="970"/>
                  </a:lnTo>
                  <a:lnTo>
                    <a:pt x="915" y="1015"/>
                  </a:lnTo>
                  <a:lnTo>
                    <a:pt x="908" y="1031"/>
                  </a:lnTo>
                  <a:lnTo>
                    <a:pt x="900" y="1046"/>
                  </a:lnTo>
                  <a:lnTo>
                    <a:pt x="926" y="1058"/>
                  </a:lnTo>
                  <a:lnTo>
                    <a:pt x="952" y="1068"/>
                  </a:lnTo>
                  <a:lnTo>
                    <a:pt x="979" y="1078"/>
                  </a:lnTo>
                  <a:lnTo>
                    <a:pt x="1006" y="1088"/>
                  </a:lnTo>
                  <a:lnTo>
                    <a:pt x="1034" y="1097"/>
                  </a:lnTo>
                  <a:lnTo>
                    <a:pt x="1061" y="1105"/>
                  </a:lnTo>
                  <a:lnTo>
                    <a:pt x="1091" y="1113"/>
                  </a:lnTo>
                  <a:lnTo>
                    <a:pt x="1120" y="1120"/>
                  </a:lnTo>
                  <a:lnTo>
                    <a:pt x="1133" y="1068"/>
                  </a:lnTo>
                  <a:lnTo>
                    <a:pt x="1147" y="1016"/>
                  </a:lnTo>
                  <a:lnTo>
                    <a:pt x="1161" y="966"/>
                  </a:lnTo>
                  <a:lnTo>
                    <a:pt x="1174" y="916"/>
                  </a:lnTo>
                  <a:lnTo>
                    <a:pt x="1189" y="866"/>
                  </a:lnTo>
                  <a:lnTo>
                    <a:pt x="1204" y="818"/>
                  </a:lnTo>
                  <a:lnTo>
                    <a:pt x="1219" y="771"/>
                  </a:lnTo>
                  <a:lnTo>
                    <a:pt x="1234" y="724"/>
                  </a:lnTo>
                  <a:lnTo>
                    <a:pt x="1202" y="714"/>
                  </a:lnTo>
                  <a:lnTo>
                    <a:pt x="1172" y="703"/>
                  </a:lnTo>
                  <a:lnTo>
                    <a:pt x="1142" y="691"/>
                  </a:lnTo>
                  <a:lnTo>
                    <a:pt x="1114" y="678"/>
                  </a:lnTo>
                  <a:close/>
                  <a:moveTo>
                    <a:pt x="889" y="1072"/>
                  </a:moveTo>
                  <a:lnTo>
                    <a:pt x="864" y="1123"/>
                  </a:lnTo>
                  <a:lnTo>
                    <a:pt x="841" y="1176"/>
                  </a:lnTo>
                  <a:lnTo>
                    <a:pt x="821" y="1229"/>
                  </a:lnTo>
                  <a:lnTo>
                    <a:pt x="800" y="1284"/>
                  </a:lnTo>
                  <a:lnTo>
                    <a:pt x="780" y="1338"/>
                  </a:lnTo>
                  <a:lnTo>
                    <a:pt x="761" y="1391"/>
                  </a:lnTo>
                  <a:lnTo>
                    <a:pt x="744" y="1445"/>
                  </a:lnTo>
                  <a:lnTo>
                    <a:pt x="727" y="1499"/>
                  </a:lnTo>
                  <a:lnTo>
                    <a:pt x="762" y="1513"/>
                  </a:lnTo>
                  <a:lnTo>
                    <a:pt x="797" y="1527"/>
                  </a:lnTo>
                  <a:lnTo>
                    <a:pt x="832" y="1540"/>
                  </a:lnTo>
                  <a:lnTo>
                    <a:pt x="869" y="1552"/>
                  </a:lnTo>
                  <a:lnTo>
                    <a:pt x="907" y="1563"/>
                  </a:lnTo>
                  <a:lnTo>
                    <a:pt x="945" y="1574"/>
                  </a:lnTo>
                  <a:lnTo>
                    <a:pt x="983" y="1584"/>
                  </a:lnTo>
                  <a:lnTo>
                    <a:pt x="1022" y="1592"/>
                  </a:lnTo>
                  <a:lnTo>
                    <a:pt x="1032" y="1543"/>
                  </a:lnTo>
                  <a:lnTo>
                    <a:pt x="1041" y="1493"/>
                  </a:lnTo>
                  <a:lnTo>
                    <a:pt x="1050" y="1444"/>
                  </a:lnTo>
                  <a:lnTo>
                    <a:pt x="1059" y="1393"/>
                  </a:lnTo>
                  <a:lnTo>
                    <a:pt x="1070" y="1343"/>
                  </a:lnTo>
                  <a:lnTo>
                    <a:pt x="1080" y="1293"/>
                  </a:lnTo>
                  <a:lnTo>
                    <a:pt x="1091" y="1243"/>
                  </a:lnTo>
                  <a:lnTo>
                    <a:pt x="1103" y="1194"/>
                  </a:lnTo>
                  <a:lnTo>
                    <a:pt x="1105" y="1182"/>
                  </a:lnTo>
                  <a:lnTo>
                    <a:pt x="1108" y="1169"/>
                  </a:lnTo>
                  <a:lnTo>
                    <a:pt x="1111" y="1158"/>
                  </a:lnTo>
                  <a:lnTo>
                    <a:pt x="1114" y="1146"/>
                  </a:lnTo>
                  <a:lnTo>
                    <a:pt x="1083" y="1138"/>
                  </a:lnTo>
                  <a:lnTo>
                    <a:pt x="1055" y="1131"/>
                  </a:lnTo>
                  <a:lnTo>
                    <a:pt x="1025" y="1122"/>
                  </a:lnTo>
                  <a:lnTo>
                    <a:pt x="997" y="1113"/>
                  </a:lnTo>
                  <a:lnTo>
                    <a:pt x="968" y="1104"/>
                  </a:lnTo>
                  <a:lnTo>
                    <a:pt x="942" y="1093"/>
                  </a:lnTo>
                  <a:lnTo>
                    <a:pt x="915" y="1083"/>
                  </a:lnTo>
                  <a:lnTo>
                    <a:pt x="889" y="1072"/>
                  </a:lnTo>
                  <a:close/>
                  <a:moveTo>
                    <a:pt x="719" y="1525"/>
                  </a:moveTo>
                  <a:lnTo>
                    <a:pt x="712" y="1550"/>
                  </a:lnTo>
                  <a:lnTo>
                    <a:pt x="706" y="1575"/>
                  </a:lnTo>
                  <a:lnTo>
                    <a:pt x="700" y="1599"/>
                  </a:lnTo>
                  <a:lnTo>
                    <a:pt x="693" y="1623"/>
                  </a:lnTo>
                  <a:lnTo>
                    <a:pt x="684" y="1663"/>
                  </a:lnTo>
                  <a:lnTo>
                    <a:pt x="674" y="1701"/>
                  </a:lnTo>
                  <a:lnTo>
                    <a:pt x="666" y="1739"/>
                  </a:lnTo>
                  <a:lnTo>
                    <a:pt x="659" y="1775"/>
                  </a:lnTo>
                  <a:lnTo>
                    <a:pt x="653" y="1813"/>
                  </a:lnTo>
                  <a:lnTo>
                    <a:pt x="646" y="1850"/>
                  </a:lnTo>
                  <a:lnTo>
                    <a:pt x="640" y="1887"/>
                  </a:lnTo>
                  <a:lnTo>
                    <a:pt x="635" y="1923"/>
                  </a:lnTo>
                  <a:lnTo>
                    <a:pt x="673" y="1940"/>
                  </a:lnTo>
                  <a:lnTo>
                    <a:pt x="714" y="1958"/>
                  </a:lnTo>
                  <a:lnTo>
                    <a:pt x="754" y="1972"/>
                  </a:lnTo>
                  <a:lnTo>
                    <a:pt x="794" y="1987"/>
                  </a:lnTo>
                  <a:lnTo>
                    <a:pt x="837" y="2001"/>
                  </a:lnTo>
                  <a:lnTo>
                    <a:pt x="879" y="2014"/>
                  </a:lnTo>
                  <a:lnTo>
                    <a:pt x="923" y="2027"/>
                  </a:lnTo>
                  <a:lnTo>
                    <a:pt x="968" y="2037"/>
                  </a:lnTo>
                  <a:lnTo>
                    <a:pt x="972" y="1987"/>
                  </a:lnTo>
                  <a:lnTo>
                    <a:pt x="976" y="1937"/>
                  </a:lnTo>
                  <a:lnTo>
                    <a:pt x="982" y="1885"/>
                  </a:lnTo>
                  <a:lnTo>
                    <a:pt x="988" y="1833"/>
                  </a:lnTo>
                  <a:lnTo>
                    <a:pt x="995" y="1781"/>
                  </a:lnTo>
                  <a:lnTo>
                    <a:pt x="1002" y="1727"/>
                  </a:lnTo>
                  <a:lnTo>
                    <a:pt x="1010" y="1674"/>
                  </a:lnTo>
                  <a:lnTo>
                    <a:pt x="1019" y="1620"/>
                  </a:lnTo>
                  <a:lnTo>
                    <a:pt x="979" y="1611"/>
                  </a:lnTo>
                  <a:lnTo>
                    <a:pt x="939" y="1602"/>
                  </a:lnTo>
                  <a:lnTo>
                    <a:pt x="901" y="1590"/>
                  </a:lnTo>
                  <a:lnTo>
                    <a:pt x="863" y="1578"/>
                  </a:lnTo>
                  <a:lnTo>
                    <a:pt x="826" y="1567"/>
                  </a:lnTo>
                  <a:lnTo>
                    <a:pt x="790" y="1553"/>
                  </a:lnTo>
                  <a:lnTo>
                    <a:pt x="754" y="1539"/>
                  </a:lnTo>
                  <a:lnTo>
                    <a:pt x="719" y="1525"/>
                  </a:lnTo>
                  <a:close/>
                  <a:moveTo>
                    <a:pt x="632" y="1952"/>
                  </a:moveTo>
                  <a:lnTo>
                    <a:pt x="628" y="1983"/>
                  </a:lnTo>
                  <a:lnTo>
                    <a:pt x="625" y="2013"/>
                  </a:lnTo>
                  <a:lnTo>
                    <a:pt x="623" y="2043"/>
                  </a:lnTo>
                  <a:lnTo>
                    <a:pt x="620" y="2072"/>
                  </a:lnTo>
                  <a:lnTo>
                    <a:pt x="619" y="2102"/>
                  </a:lnTo>
                  <a:lnTo>
                    <a:pt x="618" y="2129"/>
                  </a:lnTo>
                  <a:lnTo>
                    <a:pt x="618" y="2158"/>
                  </a:lnTo>
                  <a:lnTo>
                    <a:pt x="618" y="2186"/>
                  </a:lnTo>
                  <a:lnTo>
                    <a:pt x="618" y="2212"/>
                  </a:lnTo>
                  <a:lnTo>
                    <a:pt x="619" y="2239"/>
                  </a:lnTo>
                  <a:lnTo>
                    <a:pt x="620" y="2265"/>
                  </a:lnTo>
                  <a:lnTo>
                    <a:pt x="623" y="2290"/>
                  </a:lnTo>
                  <a:lnTo>
                    <a:pt x="662" y="2308"/>
                  </a:lnTo>
                  <a:lnTo>
                    <a:pt x="702" y="2324"/>
                  </a:lnTo>
                  <a:lnTo>
                    <a:pt x="742" y="2340"/>
                  </a:lnTo>
                  <a:lnTo>
                    <a:pt x="785" y="2355"/>
                  </a:lnTo>
                  <a:lnTo>
                    <a:pt x="828" y="2369"/>
                  </a:lnTo>
                  <a:lnTo>
                    <a:pt x="870" y="2381"/>
                  </a:lnTo>
                  <a:lnTo>
                    <a:pt x="915" y="2393"/>
                  </a:lnTo>
                  <a:lnTo>
                    <a:pt x="960" y="2403"/>
                  </a:lnTo>
                  <a:lnTo>
                    <a:pt x="960" y="2395"/>
                  </a:lnTo>
                  <a:lnTo>
                    <a:pt x="959" y="2386"/>
                  </a:lnTo>
                  <a:lnTo>
                    <a:pt x="959" y="2377"/>
                  </a:lnTo>
                  <a:lnTo>
                    <a:pt x="959" y="2369"/>
                  </a:lnTo>
                  <a:lnTo>
                    <a:pt x="958" y="2333"/>
                  </a:lnTo>
                  <a:lnTo>
                    <a:pt x="957" y="2297"/>
                  </a:lnTo>
                  <a:lnTo>
                    <a:pt x="957" y="2262"/>
                  </a:lnTo>
                  <a:lnTo>
                    <a:pt x="958" y="2224"/>
                  </a:lnTo>
                  <a:lnTo>
                    <a:pt x="959" y="2184"/>
                  </a:lnTo>
                  <a:lnTo>
                    <a:pt x="961" y="2145"/>
                  </a:lnTo>
                  <a:lnTo>
                    <a:pt x="962" y="2106"/>
                  </a:lnTo>
                  <a:lnTo>
                    <a:pt x="966" y="2065"/>
                  </a:lnTo>
                  <a:lnTo>
                    <a:pt x="921" y="2054"/>
                  </a:lnTo>
                  <a:lnTo>
                    <a:pt x="877" y="2042"/>
                  </a:lnTo>
                  <a:lnTo>
                    <a:pt x="835" y="2029"/>
                  </a:lnTo>
                  <a:lnTo>
                    <a:pt x="792" y="2015"/>
                  </a:lnTo>
                  <a:lnTo>
                    <a:pt x="750" y="2001"/>
                  </a:lnTo>
                  <a:lnTo>
                    <a:pt x="710" y="1985"/>
                  </a:lnTo>
                  <a:lnTo>
                    <a:pt x="671" y="1969"/>
                  </a:lnTo>
                  <a:lnTo>
                    <a:pt x="632" y="1952"/>
                  </a:lnTo>
                  <a:close/>
                  <a:moveTo>
                    <a:pt x="626" y="2322"/>
                  </a:moveTo>
                  <a:lnTo>
                    <a:pt x="631" y="2353"/>
                  </a:lnTo>
                  <a:lnTo>
                    <a:pt x="635" y="2384"/>
                  </a:lnTo>
                  <a:lnTo>
                    <a:pt x="642" y="2413"/>
                  </a:lnTo>
                  <a:lnTo>
                    <a:pt x="649" y="2440"/>
                  </a:lnTo>
                  <a:lnTo>
                    <a:pt x="657" y="2467"/>
                  </a:lnTo>
                  <a:lnTo>
                    <a:pt x="666" y="2492"/>
                  </a:lnTo>
                  <a:lnTo>
                    <a:pt x="677" y="2515"/>
                  </a:lnTo>
                  <a:lnTo>
                    <a:pt x="687" y="2537"/>
                  </a:lnTo>
                  <a:lnTo>
                    <a:pt x="706" y="2546"/>
                  </a:lnTo>
                  <a:lnTo>
                    <a:pt x="724" y="2554"/>
                  </a:lnTo>
                  <a:lnTo>
                    <a:pt x="744" y="2564"/>
                  </a:lnTo>
                  <a:lnTo>
                    <a:pt x="762" y="2572"/>
                  </a:lnTo>
                  <a:lnTo>
                    <a:pt x="791" y="2583"/>
                  </a:lnTo>
                  <a:lnTo>
                    <a:pt x="818" y="2595"/>
                  </a:lnTo>
                  <a:lnTo>
                    <a:pt x="848" y="2605"/>
                  </a:lnTo>
                  <a:lnTo>
                    <a:pt x="877" y="2615"/>
                  </a:lnTo>
                  <a:lnTo>
                    <a:pt x="907" y="2625"/>
                  </a:lnTo>
                  <a:lnTo>
                    <a:pt x="937" y="2634"/>
                  </a:lnTo>
                  <a:lnTo>
                    <a:pt x="968" y="2642"/>
                  </a:lnTo>
                  <a:lnTo>
                    <a:pt x="999" y="2650"/>
                  </a:lnTo>
                  <a:lnTo>
                    <a:pt x="992" y="2627"/>
                  </a:lnTo>
                  <a:lnTo>
                    <a:pt x="987" y="2603"/>
                  </a:lnTo>
                  <a:lnTo>
                    <a:pt x="981" y="2577"/>
                  </a:lnTo>
                  <a:lnTo>
                    <a:pt x="976" y="2551"/>
                  </a:lnTo>
                  <a:lnTo>
                    <a:pt x="972" y="2523"/>
                  </a:lnTo>
                  <a:lnTo>
                    <a:pt x="968" y="2494"/>
                  </a:lnTo>
                  <a:lnTo>
                    <a:pt x="965" y="2463"/>
                  </a:lnTo>
                  <a:lnTo>
                    <a:pt x="962" y="2432"/>
                  </a:lnTo>
                  <a:lnTo>
                    <a:pt x="917" y="2422"/>
                  </a:lnTo>
                  <a:lnTo>
                    <a:pt x="874" y="2410"/>
                  </a:lnTo>
                  <a:lnTo>
                    <a:pt x="830" y="2398"/>
                  </a:lnTo>
                  <a:lnTo>
                    <a:pt x="787" y="2384"/>
                  </a:lnTo>
                  <a:lnTo>
                    <a:pt x="746" y="2370"/>
                  </a:lnTo>
                  <a:lnTo>
                    <a:pt x="706" y="2355"/>
                  </a:lnTo>
                  <a:lnTo>
                    <a:pt x="665" y="2339"/>
                  </a:lnTo>
                  <a:lnTo>
                    <a:pt x="626" y="2322"/>
                  </a:lnTo>
                  <a:close/>
                  <a:moveTo>
                    <a:pt x="716" y="2581"/>
                  </a:moveTo>
                  <a:lnTo>
                    <a:pt x="730" y="2597"/>
                  </a:lnTo>
                  <a:lnTo>
                    <a:pt x="745" y="2612"/>
                  </a:lnTo>
                  <a:lnTo>
                    <a:pt x="761" y="2625"/>
                  </a:lnTo>
                  <a:lnTo>
                    <a:pt x="777" y="2635"/>
                  </a:lnTo>
                  <a:lnTo>
                    <a:pt x="809" y="2651"/>
                  </a:lnTo>
                  <a:lnTo>
                    <a:pt x="841" y="2666"/>
                  </a:lnTo>
                  <a:lnTo>
                    <a:pt x="874" y="2680"/>
                  </a:lnTo>
                  <a:lnTo>
                    <a:pt x="906" y="2694"/>
                  </a:lnTo>
                  <a:lnTo>
                    <a:pt x="939" y="2705"/>
                  </a:lnTo>
                  <a:lnTo>
                    <a:pt x="973" y="2718"/>
                  </a:lnTo>
                  <a:lnTo>
                    <a:pt x="1007" y="2728"/>
                  </a:lnTo>
                  <a:lnTo>
                    <a:pt x="1042" y="2739"/>
                  </a:lnTo>
                  <a:lnTo>
                    <a:pt x="1033" y="2726"/>
                  </a:lnTo>
                  <a:lnTo>
                    <a:pt x="1025" y="2712"/>
                  </a:lnTo>
                  <a:lnTo>
                    <a:pt x="1018" y="2697"/>
                  </a:lnTo>
                  <a:lnTo>
                    <a:pt x="1011" y="2681"/>
                  </a:lnTo>
                  <a:lnTo>
                    <a:pt x="976" y="2672"/>
                  </a:lnTo>
                  <a:lnTo>
                    <a:pt x="943" y="2664"/>
                  </a:lnTo>
                  <a:lnTo>
                    <a:pt x="909" y="2653"/>
                  </a:lnTo>
                  <a:lnTo>
                    <a:pt x="877" y="2644"/>
                  </a:lnTo>
                  <a:lnTo>
                    <a:pt x="845" y="2633"/>
                  </a:lnTo>
                  <a:lnTo>
                    <a:pt x="814" y="2621"/>
                  </a:lnTo>
                  <a:lnTo>
                    <a:pt x="783" y="2610"/>
                  </a:lnTo>
                  <a:lnTo>
                    <a:pt x="752" y="2597"/>
                  </a:lnTo>
                  <a:lnTo>
                    <a:pt x="742" y="2592"/>
                  </a:lnTo>
                  <a:lnTo>
                    <a:pt x="733" y="2589"/>
                  </a:lnTo>
                  <a:lnTo>
                    <a:pt x="725" y="2585"/>
                  </a:lnTo>
                  <a:lnTo>
                    <a:pt x="716" y="2581"/>
                  </a:lnTo>
                  <a:close/>
                  <a:moveTo>
                    <a:pt x="1626" y="50"/>
                  </a:moveTo>
                  <a:lnTo>
                    <a:pt x="1601" y="46"/>
                  </a:lnTo>
                  <a:lnTo>
                    <a:pt x="1576" y="43"/>
                  </a:lnTo>
                  <a:lnTo>
                    <a:pt x="1551" y="39"/>
                  </a:lnTo>
                  <a:lnTo>
                    <a:pt x="1526" y="37"/>
                  </a:lnTo>
                  <a:lnTo>
                    <a:pt x="1499" y="35"/>
                  </a:lnTo>
                  <a:lnTo>
                    <a:pt x="1474" y="33"/>
                  </a:lnTo>
                  <a:lnTo>
                    <a:pt x="1447" y="32"/>
                  </a:lnTo>
                  <a:lnTo>
                    <a:pt x="1421" y="32"/>
                  </a:lnTo>
                  <a:lnTo>
                    <a:pt x="1421" y="86"/>
                  </a:lnTo>
                  <a:lnTo>
                    <a:pt x="1455" y="88"/>
                  </a:lnTo>
                  <a:lnTo>
                    <a:pt x="1489" y="91"/>
                  </a:lnTo>
                  <a:lnTo>
                    <a:pt x="1522" y="96"/>
                  </a:lnTo>
                  <a:lnTo>
                    <a:pt x="1555" y="101"/>
                  </a:lnTo>
                  <a:lnTo>
                    <a:pt x="1572" y="85"/>
                  </a:lnTo>
                  <a:lnTo>
                    <a:pt x="1590" y="72"/>
                  </a:lnTo>
                  <a:lnTo>
                    <a:pt x="1608" y="60"/>
                  </a:lnTo>
                  <a:lnTo>
                    <a:pt x="1626" y="50"/>
                  </a:lnTo>
                  <a:close/>
                  <a:moveTo>
                    <a:pt x="1421" y="283"/>
                  </a:moveTo>
                  <a:lnTo>
                    <a:pt x="1437" y="256"/>
                  </a:lnTo>
                  <a:lnTo>
                    <a:pt x="1453" y="230"/>
                  </a:lnTo>
                  <a:lnTo>
                    <a:pt x="1469" y="205"/>
                  </a:lnTo>
                  <a:lnTo>
                    <a:pt x="1485" y="182"/>
                  </a:lnTo>
                  <a:lnTo>
                    <a:pt x="1497" y="167"/>
                  </a:lnTo>
                  <a:lnTo>
                    <a:pt x="1508" y="152"/>
                  </a:lnTo>
                  <a:lnTo>
                    <a:pt x="1520" y="138"/>
                  </a:lnTo>
                  <a:lnTo>
                    <a:pt x="1531" y="125"/>
                  </a:lnTo>
                  <a:lnTo>
                    <a:pt x="1505" y="120"/>
                  </a:lnTo>
                  <a:lnTo>
                    <a:pt x="1477" y="116"/>
                  </a:lnTo>
                  <a:lnTo>
                    <a:pt x="1450" y="114"/>
                  </a:lnTo>
                  <a:lnTo>
                    <a:pt x="1421" y="113"/>
                  </a:lnTo>
                  <a:lnTo>
                    <a:pt x="1421" y="283"/>
                  </a:lnTo>
                  <a:close/>
                  <a:moveTo>
                    <a:pt x="1393" y="395"/>
                  </a:moveTo>
                  <a:lnTo>
                    <a:pt x="1377" y="430"/>
                  </a:lnTo>
                  <a:lnTo>
                    <a:pt x="1361" y="466"/>
                  </a:lnTo>
                  <a:lnTo>
                    <a:pt x="1346" y="502"/>
                  </a:lnTo>
                  <a:lnTo>
                    <a:pt x="1330" y="540"/>
                  </a:lnTo>
                  <a:lnTo>
                    <a:pt x="1315" y="580"/>
                  </a:lnTo>
                  <a:lnTo>
                    <a:pt x="1300" y="620"/>
                  </a:lnTo>
                  <a:lnTo>
                    <a:pt x="1285" y="661"/>
                  </a:lnTo>
                  <a:lnTo>
                    <a:pt x="1270" y="704"/>
                  </a:lnTo>
                  <a:lnTo>
                    <a:pt x="1300" y="710"/>
                  </a:lnTo>
                  <a:lnTo>
                    <a:pt x="1330" y="713"/>
                  </a:lnTo>
                  <a:lnTo>
                    <a:pt x="1362" y="717"/>
                  </a:lnTo>
                  <a:lnTo>
                    <a:pt x="1393" y="718"/>
                  </a:lnTo>
                  <a:lnTo>
                    <a:pt x="1393" y="395"/>
                  </a:lnTo>
                  <a:close/>
                  <a:moveTo>
                    <a:pt x="1261" y="729"/>
                  </a:moveTo>
                  <a:lnTo>
                    <a:pt x="1246" y="777"/>
                  </a:lnTo>
                  <a:lnTo>
                    <a:pt x="1231" y="824"/>
                  </a:lnTo>
                  <a:lnTo>
                    <a:pt x="1216" y="872"/>
                  </a:lnTo>
                  <a:lnTo>
                    <a:pt x="1201" y="922"/>
                  </a:lnTo>
                  <a:lnTo>
                    <a:pt x="1187" y="972"/>
                  </a:lnTo>
                  <a:lnTo>
                    <a:pt x="1173" y="1022"/>
                  </a:lnTo>
                  <a:lnTo>
                    <a:pt x="1161" y="1074"/>
                  </a:lnTo>
                  <a:lnTo>
                    <a:pt x="1147" y="1125"/>
                  </a:lnTo>
                  <a:lnTo>
                    <a:pt x="1177" y="1130"/>
                  </a:lnTo>
                  <a:lnTo>
                    <a:pt x="1207" y="1135"/>
                  </a:lnTo>
                  <a:lnTo>
                    <a:pt x="1237" y="1140"/>
                  </a:lnTo>
                  <a:lnTo>
                    <a:pt x="1268" y="1143"/>
                  </a:lnTo>
                  <a:lnTo>
                    <a:pt x="1299" y="1146"/>
                  </a:lnTo>
                  <a:lnTo>
                    <a:pt x="1330" y="1148"/>
                  </a:lnTo>
                  <a:lnTo>
                    <a:pt x="1362" y="1150"/>
                  </a:lnTo>
                  <a:lnTo>
                    <a:pt x="1393" y="1150"/>
                  </a:lnTo>
                  <a:lnTo>
                    <a:pt x="1393" y="745"/>
                  </a:lnTo>
                  <a:lnTo>
                    <a:pt x="1360" y="743"/>
                  </a:lnTo>
                  <a:lnTo>
                    <a:pt x="1325" y="741"/>
                  </a:lnTo>
                  <a:lnTo>
                    <a:pt x="1293" y="736"/>
                  </a:lnTo>
                  <a:lnTo>
                    <a:pt x="1261" y="729"/>
                  </a:lnTo>
                  <a:close/>
                  <a:moveTo>
                    <a:pt x="1141" y="1151"/>
                  </a:moveTo>
                  <a:lnTo>
                    <a:pt x="1138" y="1164"/>
                  </a:lnTo>
                  <a:lnTo>
                    <a:pt x="1135" y="1175"/>
                  </a:lnTo>
                  <a:lnTo>
                    <a:pt x="1132" y="1188"/>
                  </a:lnTo>
                  <a:lnTo>
                    <a:pt x="1129" y="1201"/>
                  </a:lnTo>
                  <a:lnTo>
                    <a:pt x="1118" y="1250"/>
                  </a:lnTo>
                  <a:lnTo>
                    <a:pt x="1106" y="1300"/>
                  </a:lnTo>
                  <a:lnTo>
                    <a:pt x="1096" y="1349"/>
                  </a:lnTo>
                  <a:lnTo>
                    <a:pt x="1086" y="1399"/>
                  </a:lnTo>
                  <a:lnTo>
                    <a:pt x="1076" y="1449"/>
                  </a:lnTo>
                  <a:lnTo>
                    <a:pt x="1067" y="1499"/>
                  </a:lnTo>
                  <a:lnTo>
                    <a:pt x="1058" y="1549"/>
                  </a:lnTo>
                  <a:lnTo>
                    <a:pt x="1050" y="1598"/>
                  </a:lnTo>
                  <a:lnTo>
                    <a:pt x="1090" y="1606"/>
                  </a:lnTo>
                  <a:lnTo>
                    <a:pt x="1133" y="1613"/>
                  </a:lnTo>
                  <a:lnTo>
                    <a:pt x="1174" y="1619"/>
                  </a:lnTo>
                  <a:lnTo>
                    <a:pt x="1218" y="1623"/>
                  </a:lnTo>
                  <a:lnTo>
                    <a:pt x="1261" y="1627"/>
                  </a:lnTo>
                  <a:lnTo>
                    <a:pt x="1305" y="1630"/>
                  </a:lnTo>
                  <a:lnTo>
                    <a:pt x="1349" y="1631"/>
                  </a:lnTo>
                  <a:lnTo>
                    <a:pt x="1393" y="1633"/>
                  </a:lnTo>
                  <a:lnTo>
                    <a:pt x="1393" y="1178"/>
                  </a:lnTo>
                  <a:lnTo>
                    <a:pt x="1361" y="1176"/>
                  </a:lnTo>
                  <a:lnTo>
                    <a:pt x="1329" y="1175"/>
                  </a:lnTo>
                  <a:lnTo>
                    <a:pt x="1296" y="1173"/>
                  </a:lnTo>
                  <a:lnTo>
                    <a:pt x="1264" y="1171"/>
                  </a:lnTo>
                  <a:lnTo>
                    <a:pt x="1233" y="1166"/>
                  </a:lnTo>
                  <a:lnTo>
                    <a:pt x="1202" y="1163"/>
                  </a:lnTo>
                  <a:lnTo>
                    <a:pt x="1171" y="1157"/>
                  </a:lnTo>
                  <a:lnTo>
                    <a:pt x="1141" y="1151"/>
                  </a:lnTo>
                  <a:close/>
                  <a:moveTo>
                    <a:pt x="1045" y="1626"/>
                  </a:moveTo>
                  <a:lnTo>
                    <a:pt x="1037" y="1680"/>
                  </a:lnTo>
                  <a:lnTo>
                    <a:pt x="1029" y="1733"/>
                  </a:lnTo>
                  <a:lnTo>
                    <a:pt x="1021" y="1787"/>
                  </a:lnTo>
                  <a:lnTo>
                    <a:pt x="1015" y="1839"/>
                  </a:lnTo>
                  <a:lnTo>
                    <a:pt x="1008" y="1892"/>
                  </a:lnTo>
                  <a:lnTo>
                    <a:pt x="1004" y="1943"/>
                  </a:lnTo>
                  <a:lnTo>
                    <a:pt x="998" y="1993"/>
                  </a:lnTo>
                  <a:lnTo>
                    <a:pt x="995" y="2043"/>
                  </a:lnTo>
                  <a:lnTo>
                    <a:pt x="1042" y="2053"/>
                  </a:lnTo>
                  <a:lnTo>
                    <a:pt x="1090" y="2061"/>
                  </a:lnTo>
                  <a:lnTo>
                    <a:pt x="1140" y="2068"/>
                  </a:lnTo>
                  <a:lnTo>
                    <a:pt x="1189" y="2075"/>
                  </a:lnTo>
                  <a:lnTo>
                    <a:pt x="1239" y="2080"/>
                  </a:lnTo>
                  <a:lnTo>
                    <a:pt x="1291" y="2083"/>
                  </a:lnTo>
                  <a:lnTo>
                    <a:pt x="1341" y="2085"/>
                  </a:lnTo>
                  <a:lnTo>
                    <a:pt x="1393" y="2087"/>
                  </a:lnTo>
                  <a:lnTo>
                    <a:pt x="1393" y="1660"/>
                  </a:lnTo>
                  <a:lnTo>
                    <a:pt x="1348" y="1659"/>
                  </a:lnTo>
                  <a:lnTo>
                    <a:pt x="1303" y="1658"/>
                  </a:lnTo>
                  <a:lnTo>
                    <a:pt x="1260" y="1655"/>
                  </a:lnTo>
                  <a:lnTo>
                    <a:pt x="1216" y="1651"/>
                  </a:lnTo>
                  <a:lnTo>
                    <a:pt x="1172" y="1645"/>
                  </a:lnTo>
                  <a:lnTo>
                    <a:pt x="1129" y="1640"/>
                  </a:lnTo>
                  <a:lnTo>
                    <a:pt x="1087" y="1633"/>
                  </a:lnTo>
                  <a:lnTo>
                    <a:pt x="1045" y="1626"/>
                  </a:lnTo>
                  <a:close/>
                  <a:moveTo>
                    <a:pt x="992" y="2070"/>
                  </a:moveTo>
                  <a:lnTo>
                    <a:pt x="990" y="2111"/>
                  </a:lnTo>
                  <a:lnTo>
                    <a:pt x="988" y="2150"/>
                  </a:lnTo>
                  <a:lnTo>
                    <a:pt x="987" y="2188"/>
                  </a:lnTo>
                  <a:lnTo>
                    <a:pt x="985" y="2226"/>
                  </a:lnTo>
                  <a:lnTo>
                    <a:pt x="984" y="2263"/>
                  </a:lnTo>
                  <a:lnTo>
                    <a:pt x="984" y="2299"/>
                  </a:lnTo>
                  <a:lnTo>
                    <a:pt x="984" y="2333"/>
                  </a:lnTo>
                  <a:lnTo>
                    <a:pt x="985" y="2368"/>
                  </a:lnTo>
                  <a:lnTo>
                    <a:pt x="987" y="2378"/>
                  </a:lnTo>
                  <a:lnTo>
                    <a:pt x="987" y="2390"/>
                  </a:lnTo>
                  <a:lnTo>
                    <a:pt x="987" y="2400"/>
                  </a:lnTo>
                  <a:lnTo>
                    <a:pt x="988" y="2410"/>
                  </a:lnTo>
                  <a:lnTo>
                    <a:pt x="1036" y="2420"/>
                  </a:lnTo>
                  <a:lnTo>
                    <a:pt x="1086" y="2429"/>
                  </a:lnTo>
                  <a:lnTo>
                    <a:pt x="1135" y="2436"/>
                  </a:lnTo>
                  <a:lnTo>
                    <a:pt x="1186" y="2441"/>
                  </a:lnTo>
                  <a:lnTo>
                    <a:pt x="1237" y="2446"/>
                  </a:lnTo>
                  <a:lnTo>
                    <a:pt x="1288" y="2451"/>
                  </a:lnTo>
                  <a:lnTo>
                    <a:pt x="1340" y="2453"/>
                  </a:lnTo>
                  <a:lnTo>
                    <a:pt x="1393" y="2453"/>
                  </a:lnTo>
                  <a:lnTo>
                    <a:pt x="1393" y="2114"/>
                  </a:lnTo>
                  <a:lnTo>
                    <a:pt x="1341" y="2113"/>
                  </a:lnTo>
                  <a:lnTo>
                    <a:pt x="1290" y="2111"/>
                  </a:lnTo>
                  <a:lnTo>
                    <a:pt x="1239" y="2107"/>
                  </a:lnTo>
                  <a:lnTo>
                    <a:pt x="1188" y="2103"/>
                  </a:lnTo>
                  <a:lnTo>
                    <a:pt x="1139" y="2096"/>
                  </a:lnTo>
                  <a:lnTo>
                    <a:pt x="1089" y="2089"/>
                  </a:lnTo>
                  <a:lnTo>
                    <a:pt x="1041" y="2081"/>
                  </a:lnTo>
                  <a:lnTo>
                    <a:pt x="992" y="2070"/>
                  </a:lnTo>
                  <a:close/>
                  <a:moveTo>
                    <a:pt x="990" y="2438"/>
                  </a:moveTo>
                  <a:lnTo>
                    <a:pt x="992" y="2471"/>
                  </a:lnTo>
                  <a:lnTo>
                    <a:pt x="996" y="2502"/>
                  </a:lnTo>
                  <a:lnTo>
                    <a:pt x="1000" y="2531"/>
                  </a:lnTo>
                  <a:lnTo>
                    <a:pt x="1005" y="2560"/>
                  </a:lnTo>
                  <a:lnTo>
                    <a:pt x="1010" y="2587"/>
                  </a:lnTo>
                  <a:lnTo>
                    <a:pt x="1017" y="2612"/>
                  </a:lnTo>
                  <a:lnTo>
                    <a:pt x="1022" y="2635"/>
                  </a:lnTo>
                  <a:lnTo>
                    <a:pt x="1030" y="2657"/>
                  </a:lnTo>
                  <a:lnTo>
                    <a:pt x="1073" y="2666"/>
                  </a:lnTo>
                  <a:lnTo>
                    <a:pt x="1118" y="2674"/>
                  </a:lnTo>
                  <a:lnTo>
                    <a:pt x="1162" y="2681"/>
                  </a:lnTo>
                  <a:lnTo>
                    <a:pt x="1208" y="2687"/>
                  </a:lnTo>
                  <a:lnTo>
                    <a:pt x="1254" y="2691"/>
                  </a:lnTo>
                  <a:lnTo>
                    <a:pt x="1300" y="2695"/>
                  </a:lnTo>
                  <a:lnTo>
                    <a:pt x="1346" y="2697"/>
                  </a:lnTo>
                  <a:lnTo>
                    <a:pt x="1393" y="2698"/>
                  </a:lnTo>
                  <a:lnTo>
                    <a:pt x="1393" y="2481"/>
                  </a:lnTo>
                  <a:lnTo>
                    <a:pt x="1341" y="2479"/>
                  </a:lnTo>
                  <a:lnTo>
                    <a:pt x="1290" y="2477"/>
                  </a:lnTo>
                  <a:lnTo>
                    <a:pt x="1238" y="2474"/>
                  </a:lnTo>
                  <a:lnTo>
                    <a:pt x="1187" y="2469"/>
                  </a:lnTo>
                  <a:lnTo>
                    <a:pt x="1136" y="2463"/>
                  </a:lnTo>
                  <a:lnTo>
                    <a:pt x="1087" y="2456"/>
                  </a:lnTo>
                  <a:lnTo>
                    <a:pt x="1038" y="2448"/>
                  </a:lnTo>
                  <a:lnTo>
                    <a:pt x="990" y="2438"/>
                  </a:lnTo>
                  <a:close/>
                  <a:moveTo>
                    <a:pt x="1043" y="2688"/>
                  </a:moveTo>
                  <a:lnTo>
                    <a:pt x="1053" y="2708"/>
                  </a:lnTo>
                  <a:lnTo>
                    <a:pt x="1065" y="2725"/>
                  </a:lnTo>
                  <a:lnTo>
                    <a:pt x="1071" y="2732"/>
                  </a:lnTo>
                  <a:lnTo>
                    <a:pt x="1078" y="2739"/>
                  </a:lnTo>
                  <a:lnTo>
                    <a:pt x="1083" y="2746"/>
                  </a:lnTo>
                  <a:lnTo>
                    <a:pt x="1090" y="2750"/>
                  </a:lnTo>
                  <a:lnTo>
                    <a:pt x="1127" y="2758"/>
                  </a:lnTo>
                  <a:lnTo>
                    <a:pt x="1164" y="2766"/>
                  </a:lnTo>
                  <a:lnTo>
                    <a:pt x="1202" y="2772"/>
                  </a:lnTo>
                  <a:lnTo>
                    <a:pt x="1240" y="2777"/>
                  </a:lnTo>
                  <a:lnTo>
                    <a:pt x="1278" y="2781"/>
                  </a:lnTo>
                  <a:lnTo>
                    <a:pt x="1316" y="2785"/>
                  </a:lnTo>
                  <a:lnTo>
                    <a:pt x="1355" y="2786"/>
                  </a:lnTo>
                  <a:lnTo>
                    <a:pt x="1393" y="2787"/>
                  </a:lnTo>
                  <a:lnTo>
                    <a:pt x="1393" y="2725"/>
                  </a:lnTo>
                  <a:lnTo>
                    <a:pt x="1348" y="2725"/>
                  </a:lnTo>
                  <a:lnTo>
                    <a:pt x="1303" y="2723"/>
                  </a:lnTo>
                  <a:lnTo>
                    <a:pt x="1258" y="2719"/>
                  </a:lnTo>
                  <a:lnTo>
                    <a:pt x="1215" y="2714"/>
                  </a:lnTo>
                  <a:lnTo>
                    <a:pt x="1171" y="2710"/>
                  </a:lnTo>
                  <a:lnTo>
                    <a:pt x="1128" y="2703"/>
                  </a:lnTo>
                  <a:lnTo>
                    <a:pt x="1086" y="2696"/>
                  </a:lnTo>
                  <a:lnTo>
                    <a:pt x="1043" y="2688"/>
                  </a:lnTo>
                  <a:close/>
                </a:path>
              </a:pathLst>
            </a:custGeom>
            <a:solidFill>
              <a:schemeClr val="tx1">
                <a:alpha val="8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7" name="Freeform 7"/>
            <p:cNvSpPr>
              <a:spLocks noEditPoints="1"/>
            </p:cNvSpPr>
            <p:nvPr>
              <p:custDataLst>
                <p:tags r:id="rId6"/>
              </p:custDataLst>
            </p:nvPr>
          </p:nvSpPr>
          <p:spPr bwMode="auto">
            <a:xfrm>
              <a:off x="3049913" y="1945092"/>
              <a:ext cx="2923243" cy="2964928"/>
            </a:xfrm>
            <a:custGeom>
              <a:avLst/>
              <a:gdLst>
                <a:gd name="T0" fmla="*/ 2086 w 3368"/>
                <a:gd name="T1" fmla="*/ 3009 h 3413"/>
                <a:gd name="T2" fmla="*/ 1977 w 3368"/>
                <a:gd name="T3" fmla="*/ 2658 h 3413"/>
                <a:gd name="T4" fmla="*/ 1520 w 3368"/>
                <a:gd name="T5" fmla="*/ 2419 h 3413"/>
                <a:gd name="T6" fmla="*/ 1075 w 3368"/>
                <a:gd name="T7" fmla="*/ 2019 h 3413"/>
                <a:gd name="T8" fmla="*/ 1605 w 3368"/>
                <a:gd name="T9" fmla="*/ 1705 h 3413"/>
                <a:gd name="T10" fmla="*/ 1763 w 3368"/>
                <a:gd name="T11" fmla="*/ 1480 h 3413"/>
                <a:gd name="T12" fmla="*/ 1844 w 3368"/>
                <a:gd name="T13" fmla="*/ 1308 h 3413"/>
                <a:gd name="T14" fmla="*/ 1409 w 3368"/>
                <a:gd name="T15" fmla="*/ 1104 h 3413"/>
                <a:gd name="T16" fmla="*/ 1085 w 3368"/>
                <a:gd name="T17" fmla="*/ 1192 h 3413"/>
                <a:gd name="T18" fmla="*/ 1303 w 3368"/>
                <a:gd name="T19" fmla="*/ 650 h 3413"/>
                <a:gd name="T20" fmla="*/ 1544 w 3368"/>
                <a:gd name="T21" fmla="*/ 928 h 3413"/>
                <a:gd name="T22" fmla="*/ 1640 w 3368"/>
                <a:gd name="T23" fmla="*/ 645 h 3413"/>
                <a:gd name="T24" fmla="*/ 1432 w 3368"/>
                <a:gd name="T25" fmla="*/ 528 h 3413"/>
                <a:gd name="T26" fmla="*/ 1209 w 3368"/>
                <a:gd name="T27" fmla="*/ 612 h 3413"/>
                <a:gd name="T28" fmla="*/ 1225 w 3368"/>
                <a:gd name="T29" fmla="*/ 449 h 3413"/>
                <a:gd name="T30" fmla="*/ 1009 w 3368"/>
                <a:gd name="T31" fmla="*/ 706 h 3413"/>
                <a:gd name="T32" fmla="*/ 569 w 3368"/>
                <a:gd name="T33" fmla="*/ 746 h 3413"/>
                <a:gd name="T34" fmla="*/ 228 w 3368"/>
                <a:gd name="T35" fmla="*/ 815 h 3413"/>
                <a:gd name="T36" fmla="*/ 119 w 3368"/>
                <a:gd name="T37" fmla="*/ 1252 h 3413"/>
                <a:gd name="T38" fmla="*/ 172 w 3368"/>
                <a:gd name="T39" fmla="*/ 1221 h 3413"/>
                <a:gd name="T40" fmla="*/ 474 w 3368"/>
                <a:gd name="T41" fmla="*/ 1471 h 3413"/>
                <a:gd name="T42" fmla="*/ 745 w 3368"/>
                <a:gd name="T43" fmla="*/ 2035 h 3413"/>
                <a:gd name="T44" fmla="*/ 1382 w 3368"/>
                <a:gd name="T45" fmla="*/ 2640 h 3413"/>
                <a:gd name="T46" fmla="*/ 1525 w 3368"/>
                <a:gd name="T47" fmla="*/ 3323 h 3413"/>
                <a:gd name="T48" fmla="*/ 2841 w 3368"/>
                <a:gd name="T49" fmla="*/ 474 h 3413"/>
                <a:gd name="T50" fmla="*/ 3285 w 3368"/>
                <a:gd name="T51" fmla="*/ 1962 h 3413"/>
                <a:gd name="T52" fmla="*/ 2933 w 3368"/>
                <a:gd name="T53" fmla="*/ 2751 h 3413"/>
                <a:gd name="T54" fmla="*/ 2773 w 3368"/>
                <a:gd name="T55" fmla="*/ 1997 h 3413"/>
                <a:gd name="T56" fmla="*/ 3296 w 3368"/>
                <a:gd name="T57" fmla="*/ 1809 h 3413"/>
                <a:gd name="T58" fmla="*/ 3130 w 3368"/>
                <a:gd name="T59" fmla="*/ 1786 h 3413"/>
                <a:gd name="T60" fmla="*/ 2922 w 3368"/>
                <a:gd name="T61" fmla="*/ 1623 h 3413"/>
                <a:gd name="T62" fmla="*/ 2971 w 3368"/>
                <a:gd name="T63" fmla="*/ 1157 h 3413"/>
                <a:gd name="T64" fmla="*/ 3175 w 3368"/>
                <a:gd name="T65" fmla="*/ 943 h 3413"/>
                <a:gd name="T66" fmla="*/ 1384 w 3368"/>
                <a:gd name="T67" fmla="*/ 1012 h 3413"/>
                <a:gd name="T68" fmla="*/ 1282 w 3368"/>
                <a:gd name="T69" fmla="*/ 186 h 3413"/>
                <a:gd name="T70" fmla="*/ 1093 w 3368"/>
                <a:gd name="T71" fmla="*/ 389 h 3413"/>
                <a:gd name="T72" fmla="*/ 1146 w 3368"/>
                <a:gd name="T73" fmla="*/ 424 h 3413"/>
                <a:gd name="T74" fmla="*/ 1272 w 3368"/>
                <a:gd name="T75" fmla="*/ 360 h 3413"/>
                <a:gd name="T76" fmla="*/ 1441 w 3368"/>
                <a:gd name="T77" fmla="*/ 230 h 3413"/>
                <a:gd name="T78" fmla="*/ 1683 w 3368"/>
                <a:gd name="T79" fmla="*/ 52 h 3413"/>
                <a:gd name="T80" fmla="*/ 1399 w 3368"/>
                <a:gd name="T81" fmla="*/ 32 h 3413"/>
                <a:gd name="T82" fmla="*/ 1396 w 3368"/>
                <a:gd name="T83" fmla="*/ 93 h 3413"/>
                <a:gd name="T84" fmla="*/ 1390 w 3368"/>
                <a:gd name="T85" fmla="*/ 176 h 3413"/>
                <a:gd name="T86" fmla="*/ 1129 w 3368"/>
                <a:gd name="T87" fmla="*/ 302 h 3413"/>
                <a:gd name="T88" fmla="*/ 1006 w 3368"/>
                <a:gd name="T89" fmla="*/ 220 h 3413"/>
                <a:gd name="T90" fmla="*/ 867 w 3368"/>
                <a:gd name="T91" fmla="*/ 311 h 3413"/>
                <a:gd name="T92" fmla="*/ 809 w 3368"/>
                <a:gd name="T93" fmla="*/ 483 h 3413"/>
                <a:gd name="T94" fmla="*/ 766 w 3368"/>
                <a:gd name="T95" fmla="*/ 454 h 3413"/>
                <a:gd name="T96" fmla="*/ 651 w 3368"/>
                <a:gd name="T97" fmla="*/ 536 h 3413"/>
                <a:gd name="T98" fmla="*/ 883 w 3368"/>
                <a:gd name="T99" fmla="*/ 602 h 3413"/>
                <a:gd name="T100" fmla="*/ 727 w 3368"/>
                <a:gd name="T101" fmla="*/ 693 h 3413"/>
                <a:gd name="T102" fmla="*/ 1494 w 3368"/>
                <a:gd name="T103" fmla="*/ 2238 h 3413"/>
                <a:gd name="T104" fmla="*/ 2161 w 3368"/>
                <a:gd name="T105" fmla="*/ 976 h 3413"/>
                <a:gd name="T106" fmla="*/ 2422 w 3368"/>
                <a:gd name="T107" fmla="*/ 545 h 3413"/>
                <a:gd name="T108" fmla="*/ 2417 w 3368"/>
                <a:gd name="T109" fmla="*/ 232 h 3413"/>
                <a:gd name="T110" fmla="*/ 2251 w 3368"/>
                <a:gd name="T111" fmla="*/ 126 h 3413"/>
                <a:gd name="T112" fmla="*/ 1990 w 3368"/>
                <a:gd name="T113" fmla="*/ 26 h 3413"/>
                <a:gd name="T114" fmla="*/ 1793 w 3368"/>
                <a:gd name="T115" fmla="*/ 52 h 3413"/>
                <a:gd name="T116" fmla="*/ 1659 w 3368"/>
                <a:gd name="T117" fmla="*/ 245 h 3413"/>
                <a:gd name="T118" fmla="*/ 1931 w 3368"/>
                <a:gd name="T119" fmla="*/ 549 h 3413"/>
                <a:gd name="T120" fmla="*/ 1995 w 3368"/>
                <a:gd name="T121" fmla="*/ 945 h 3413"/>
                <a:gd name="T122" fmla="*/ 2491 w 3368"/>
                <a:gd name="T123" fmla="*/ 915 h 3413"/>
                <a:gd name="T124" fmla="*/ 2880 w 3368"/>
                <a:gd name="T125" fmla="*/ 1232 h 3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68" h="3413">
                  <a:moveTo>
                    <a:pt x="1713" y="3405"/>
                  </a:moveTo>
                  <a:lnTo>
                    <a:pt x="1708" y="3404"/>
                  </a:lnTo>
                  <a:lnTo>
                    <a:pt x="1693" y="3404"/>
                  </a:lnTo>
                  <a:lnTo>
                    <a:pt x="1676" y="3403"/>
                  </a:lnTo>
                  <a:lnTo>
                    <a:pt x="1664" y="3402"/>
                  </a:lnTo>
                  <a:lnTo>
                    <a:pt x="1651" y="3399"/>
                  </a:lnTo>
                  <a:lnTo>
                    <a:pt x="1642" y="3394"/>
                  </a:lnTo>
                  <a:lnTo>
                    <a:pt x="1644" y="3393"/>
                  </a:lnTo>
                  <a:lnTo>
                    <a:pt x="1646" y="3392"/>
                  </a:lnTo>
                  <a:lnTo>
                    <a:pt x="1646" y="3391"/>
                  </a:lnTo>
                  <a:lnTo>
                    <a:pt x="1645" y="3390"/>
                  </a:lnTo>
                  <a:lnTo>
                    <a:pt x="1644" y="3389"/>
                  </a:lnTo>
                  <a:lnTo>
                    <a:pt x="1643" y="3387"/>
                  </a:lnTo>
                  <a:lnTo>
                    <a:pt x="1644" y="3386"/>
                  </a:lnTo>
                  <a:lnTo>
                    <a:pt x="1644" y="3384"/>
                  </a:lnTo>
                  <a:lnTo>
                    <a:pt x="1633" y="3380"/>
                  </a:lnTo>
                  <a:lnTo>
                    <a:pt x="1627" y="3375"/>
                  </a:lnTo>
                  <a:lnTo>
                    <a:pt x="1633" y="3373"/>
                  </a:lnTo>
                  <a:lnTo>
                    <a:pt x="1643" y="3371"/>
                  </a:lnTo>
                  <a:lnTo>
                    <a:pt x="1647" y="3369"/>
                  </a:lnTo>
                  <a:lnTo>
                    <a:pt x="1651" y="3368"/>
                  </a:lnTo>
                  <a:lnTo>
                    <a:pt x="1655" y="3367"/>
                  </a:lnTo>
                  <a:lnTo>
                    <a:pt x="1656" y="3365"/>
                  </a:lnTo>
                  <a:lnTo>
                    <a:pt x="1655" y="3363"/>
                  </a:lnTo>
                  <a:lnTo>
                    <a:pt x="1654" y="3360"/>
                  </a:lnTo>
                  <a:lnTo>
                    <a:pt x="1654" y="3359"/>
                  </a:lnTo>
                  <a:lnTo>
                    <a:pt x="1654" y="3359"/>
                  </a:lnTo>
                  <a:lnTo>
                    <a:pt x="1656" y="3358"/>
                  </a:lnTo>
                  <a:lnTo>
                    <a:pt x="1659" y="3357"/>
                  </a:lnTo>
                  <a:lnTo>
                    <a:pt x="1673" y="3352"/>
                  </a:lnTo>
                  <a:lnTo>
                    <a:pt x="1682" y="3348"/>
                  </a:lnTo>
                  <a:lnTo>
                    <a:pt x="1682" y="3347"/>
                  </a:lnTo>
                  <a:lnTo>
                    <a:pt x="1681" y="3344"/>
                  </a:lnTo>
                  <a:lnTo>
                    <a:pt x="1679" y="3341"/>
                  </a:lnTo>
                  <a:lnTo>
                    <a:pt x="1674" y="3338"/>
                  </a:lnTo>
                  <a:lnTo>
                    <a:pt x="1670" y="3337"/>
                  </a:lnTo>
                  <a:lnTo>
                    <a:pt x="1663" y="3334"/>
                  </a:lnTo>
                  <a:lnTo>
                    <a:pt x="1660" y="3333"/>
                  </a:lnTo>
                  <a:lnTo>
                    <a:pt x="1657" y="3330"/>
                  </a:lnTo>
                  <a:lnTo>
                    <a:pt x="1656" y="3329"/>
                  </a:lnTo>
                  <a:lnTo>
                    <a:pt x="1656" y="3328"/>
                  </a:lnTo>
                  <a:lnTo>
                    <a:pt x="1656" y="3325"/>
                  </a:lnTo>
                  <a:lnTo>
                    <a:pt x="1657" y="3323"/>
                  </a:lnTo>
                  <a:lnTo>
                    <a:pt x="1660" y="3321"/>
                  </a:lnTo>
                  <a:lnTo>
                    <a:pt x="1665" y="3321"/>
                  </a:lnTo>
                  <a:lnTo>
                    <a:pt x="1680" y="3319"/>
                  </a:lnTo>
                  <a:lnTo>
                    <a:pt x="1690" y="3316"/>
                  </a:lnTo>
                  <a:lnTo>
                    <a:pt x="1691" y="3314"/>
                  </a:lnTo>
                  <a:lnTo>
                    <a:pt x="1690" y="3309"/>
                  </a:lnTo>
                  <a:lnTo>
                    <a:pt x="1690" y="3306"/>
                  </a:lnTo>
                  <a:lnTo>
                    <a:pt x="1690" y="3304"/>
                  </a:lnTo>
                  <a:lnTo>
                    <a:pt x="1692" y="3301"/>
                  </a:lnTo>
                  <a:lnTo>
                    <a:pt x="1696" y="3300"/>
                  </a:lnTo>
                  <a:lnTo>
                    <a:pt x="1705" y="3297"/>
                  </a:lnTo>
                  <a:lnTo>
                    <a:pt x="1714" y="3296"/>
                  </a:lnTo>
                  <a:lnTo>
                    <a:pt x="1717" y="3295"/>
                  </a:lnTo>
                  <a:lnTo>
                    <a:pt x="1721" y="3294"/>
                  </a:lnTo>
                  <a:lnTo>
                    <a:pt x="1723" y="3292"/>
                  </a:lnTo>
                  <a:lnTo>
                    <a:pt x="1723" y="3290"/>
                  </a:lnTo>
                  <a:lnTo>
                    <a:pt x="1722" y="3286"/>
                  </a:lnTo>
                  <a:lnTo>
                    <a:pt x="1717" y="3284"/>
                  </a:lnTo>
                  <a:lnTo>
                    <a:pt x="1712" y="3282"/>
                  </a:lnTo>
                  <a:lnTo>
                    <a:pt x="1706" y="3281"/>
                  </a:lnTo>
                  <a:lnTo>
                    <a:pt x="1701" y="3279"/>
                  </a:lnTo>
                  <a:lnTo>
                    <a:pt x="1696" y="3278"/>
                  </a:lnTo>
                  <a:lnTo>
                    <a:pt x="1695" y="3278"/>
                  </a:lnTo>
                  <a:lnTo>
                    <a:pt x="1694" y="3277"/>
                  </a:lnTo>
                  <a:lnTo>
                    <a:pt x="1694" y="3277"/>
                  </a:lnTo>
                  <a:lnTo>
                    <a:pt x="1695" y="3276"/>
                  </a:lnTo>
                  <a:lnTo>
                    <a:pt x="1706" y="3274"/>
                  </a:lnTo>
                  <a:lnTo>
                    <a:pt x="1721" y="3273"/>
                  </a:lnTo>
                  <a:lnTo>
                    <a:pt x="1728" y="3272"/>
                  </a:lnTo>
                  <a:lnTo>
                    <a:pt x="1734" y="3271"/>
                  </a:lnTo>
                  <a:lnTo>
                    <a:pt x="1739" y="3270"/>
                  </a:lnTo>
                  <a:lnTo>
                    <a:pt x="1743" y="3268"/>
                  </a:lnTo>
                  <a:lnTo>
                    <a:pt x="1747" y="3255"/>
                  </a:lnTo>
                  <a:lnTo>
                    <a:pt x="1753" y="3246"/>
                  </a:lnTo>
                  <a:lnTo>
                    <a:pt x="1768" y="3243"/>
                  </a:lnTo>
                  <a:lnTo>
                    <a:pt x="1793" y="3241"/>
                  </a:lnTo>
                  <a:lnTo>
                    <a:pt x="1804" y="3239"/>
                  </a:lnTo>
                  <a:lnTo>
                    <a:pt x="1816" y="3237"/>
                  </a:lnTo>
                  <a:lnTo>
                    <a:pt x="1824" y="3236"/>
                  </a:lnTo>
                  <a:lnTo>
                    <a:pt x="1827" y="3234"/>
                  </a:lnTo>
                  <a:lnTo>
                    <a:pt x="1841" y="3219"/>
                  </a:lnTo>
                  <a:lnTo>
                    <a:pt x="1851" y="3210"/>
                  </a:lnTo>
                  <a:lnTo>
                    <a:pt x="1847" y="3208"/>
                  </a:lnTo>
                  <a:lnTo>
                    <a:pt x="1841" y="3204"/>
                  </a:lnTo>
                  <a:lnTo>
                    <a:pt x="1838" y="3200"/>
                  </a:lnTo>
                  <a:lnTo>
                    <a:pt x="1836" y="3198"/>
                  </a:lnTo>
                  <a:lnTo>
                    <a:pt x="1836" y="3197"/>
                  </a:lnTo>
                  <a:lnTo>
                    <a:pt x="1835" y="3196"/>
                  </a:lnTo>
                  <a:lnTo>
                    <a:pt x="1836" y="3195"/>
                  </a:lnTo>
                  <a:lnTo>
                    <a:pt x="1837" y="3194"/>
                  </a:lnTo>
                  <a:lnTo>
                    <a:pt x="1845" y="3192"/>
                  </a:lnTo>
                  <a:lnTo>
                    <a:pt x="1858" y="3190"/>
                  </a:lnTo>
                  <a:lnTo>
                    <a:pt x="1870" y="3188"/>
                  </a:lnTo>
                  <a:lnTo>
                    <a:pt x="1877" y="3187"/>
                  </a:lnTo>
                  <a:lnTo>
                    <a:pt x="1881" y="3186"/>
                  </a:lnTo>
                  <a:lnTo>
                    <a:pt x="1889" y="3183"/>
                  </a:lnTo>
                  <a:lnTo>
                    <a:pt x="1900" y="3177"/>
                  </a:lnTo>
                  <a:lnTo>
                    <a:pt x="1909" y="3172"/>
                  </a:lnTo>
                  <a:lnTo>
                    <a:pt x="1923" y="3161"/>
                  </a:lnTo>
                  <a:lnTo>
                    <a:pt x="1934" y="3148"/>
                  </a:lnTo>
                  <a:lnTo>
                    <a:pt x="1947" y="3138"/>
                  </a:lnTo>
                  <a:lnTo>
                    <a:pt x="1958" y="3128"/>
                  </a:lnTo>
                  <a:lnTo>
                    <a:pt x="1964" y="3123"/>
                  </a:lnTo>
                  <a:lnTo>
                    <a:pt x="1969" y="3117"/>
                  </a:lnTo>
                  <a:lnTo>
                    <a:pt x="1973" y="3110"/>
                  </a:lnTo>
                  <a:lnTo>
                    <a:pt x="1975" y="3105"/>
                  </a:lnTo>
                  <a:lnTo>
                    <a:pt x="1988" y="3099"/>
                  </a:lnTo>
                  <a:lnTo>
                    <a:pt x="1997" y="3093"/>
                  </a:lnTo>
                  <a:lnTo>
                    <a:pt x="1999" y="3085"/>
                  </a:lnTo>
                  <a:lnTo>
                    <a:pt x="2001" y="3078"/>
                  </a:lnTo>
                  <a:lnTo>
                    <a:pt x="2001" y="3070"/>
                  </a:lnTo>
                  <a:lnTo>
                    <a:pt x="2002" y="3059"/>
                  </a:lnTo>
                  <a:lnTo>
                    <a:pt x="2003" y="3054"/>
                  </a:lnTo>
                  <a:lnTo>
                    <a:pt x="2006" y="3049"/>
                  </a:lnTo>
                  <a:lnTo>
                    <a:pt x="2009" y="3045"/>
                  </a:lnTo>
                  <a:lnTo>
                    <a:pt x="2012" y="3043"/>
                  </a:lnTo>
                  <a:lnTo>
                    <a:pt x="2020" y="3039"/>
                  </a:lnTo>
                  <a:lnTo>
                    <a:pt x="2029" y="3033"/>
                  </a:lnTo>
                  <a:lnTo>
                    <a:pt x="2038" y="3026"/>
                  </a:lnTo>
                  <a:lnTo>
                    <a:pt x="2045" y="3020"/>
                  </a:lnTo>
                  <a:lnTo>
                    <a:pt x="2060" y="3016"/>
                  </a:lnTo>
                  <a:lnTo>
                    <a:pt x="2077" y="3013"/>
                  </a:lnTo>
                  <a:lnTo>
                    <a:pt x="2086" y="3009"/>
                  </a:lnTo>
                  <a:lnTo>
                    <a:pt x="2097" y="3005"/>
                  </a:lnTo>
                  <a:lnTo>
                    <a:pt x="2107" y="3001"/>
                  </a:lnTo>
                  <a:lnTo>
                    <a:pt x="2116" y="3000"/>
                  </a:lnTo>
                  <a:lnTo>
                    <a:pt x="2121" y="3000"/>
                  </a:lnTo>
                  <a:lnTo>
                    <a:pt x="2125" y="3000"/>
                  </a:lnTo>
                  <a:lnTo>
                    <a:pt x="2129" y="3000"/>
                  </a:lnTo>
                  <a:lnTo>
                    <a:pt x="2133" y="2997"/>
                  </a:lnTo>
                  <a:lnTo>
                    <a:pt x="2140" y="2992"/>
                  </a:lnTo>
                  <a:lnTo>
                    <a:pt x="2147" y="2985"/>
                  </a:lnTo>
                  <a:lnTo>
                    <a:pt x="2149" y="2982"/>
                  </a:lnTo>
                  <a:lnTo>
                    <a:pt x="2150" y="2978"/>
                  </a:lnTo>
                  <a:lnTo>
                    <a:pt x="2151" y="2974"/>
                  </a:lnTo>
                  <a:lnTo>
                    <a:pt x="2152" y="2971"/>
                  </a:lnTo>
                  <a:lnTo>
                    <a:pt x="2152" y="2967"/>
                  </a:lnTo>
                  <a:lnTo>
                    <a:pt x="2154" y="2964"/>
                  </a:lnTo>
                  <a:lnTo>
                    <a:pt x="2156" y="2961"/>
                  </a:lnTo>
                  <a:lnTo>
                    <a:pt x="2160" y="2957"/>
                  </a:lnTo>
                  <a:lnTo>
                    <a:pt x="2167" y="2953"/>
                  </a:lnTo>
                  <a:lnTo>
                    <a:pt x="2174" y="2949"/>
                  </a:lnTo>
                  <a:lnTo>
                    <a:pt x="2178" y="2945"/>
                  </a:lnTo>
                  <a:lnTo>
                    <a:pt x="2180" y="2941"/>
                  </a:lnTo>
                  <a:lnTo>
                    <a:pt x="2182" y="2934"/>
                  </a:lnTo>
                  <a:lnTo>
                    <a:pt x="2184" y="2926"/>
                  </a:lnTo>
                  <a:lnTo>
                    <a:pt x="2186" y="2918"/>
                  </a:lnTo>
                  <a:lnTo>
                    <a:pt x="2189" y="2912"/>
                  </a:lnTo>
                  <a:lnTo>
                    <a:pt x="2192" y="2897"/>
                  </a:lnTo>
                  <a:lnTo>
                    <a:pt x="2196" y="2869"/>
                  </a:lnTo>
                  <a:lnTo>
                    <a:pt x="2198" y="2855"/>
                  </a:lnTo>
                  <a:lnTo>
                    <a:pt x="2200" y="2842"/>
                  </a:lnTo>
                  <a:lnTo>
                    <a:pt x="2203" y="2834"/>
                  </a:lnTo>
                  <a:lnTo>
                    <a:pt x="2205" y="2830"/>
                  </a:lnTo>
                  <a:lnTo>
                    <a:pt x="2209" y="2829"/>
                  </a:lnTo>
                  <a:lnTo>
                    <a:pt x="2214" y="2826"/>
                  </a:lnTo>
                  <a:lnTo>
                    <a:pt x="2219" y="2823"/>
                  </a:lnTo>
                  <a:lnTo>
                    <a:pt x="2224" y="2820"/>
                  </a:lnTo>
                  <a:lnTo>
                    <a:pt x="2228" y="2815"/>
                  </a:lnTo>
                  <a:lnTo>
                    <a:pt x="2232" y="2808"/>
                  </a:lnTo>
                  <a:lnTo>
                    <a:pt x="2235" y="2803"/>
                  </a:lnTo>
                  <a:lnTo>
                    <a:pt x="2237" y="2801"/>
                  </a:lnTo>
                  <a:lnTo>
                    <a:pt x="2240" y="2798"/>
                  </a:lnTo>
                  <a:lnTo>
                    <a:pt x="2242" y="2797"/>
                  </a:lnTo>
                  <a:lnTo>
                    <a:pt x="2248" y="2795"/>
                  </a:lnTo>
                  <a:lnTo>
                    <a:pt x="2253" y="2791"/>
                  </a:lnTo>
                  <a:lnTo>
                    <a:pt x="2257" y="2787"/>
                  </a:lnTo>
                  <a:lnTo>
                    <a:pt x="2260" y="2783"/>
                  </a:lnTo>
                  <a:lnTo>
                    <a:pt x="2269" y="2776"/>
                  </a:lnTo>
                  <a:lnTo>
                    <a:pt x="2279" y="2769"/>
                  </a:lnTo>
                  <a:lnTo>
                    <a:pt x="2281" y="2767"/>
                  </a:lnTo>
                  <a:lnTo>
                    <a:pt x="2283" y="2765"/>
                  </a:lnTo>
                  <a:lnTo>
                    <a:pt x="2285" y="2760"/>
                  </a:lnTo>
                  <a:lnTo>
                    <a:pt x="2286" y="2751"/>
                  </a:lnTo>
                  <a:lnTo>
                    <a:pt x="2287" y="2739"/>
                  </a:lnTo>
                  <a:lnTo>
                    <a:pt x="2288" y="2730"/>
                  </a:lnTo>
                  <a:lnTo>
                    <a:pt x="2288" y="2722"/>
                  </a:lnTo>
                  <a:lnTo>
                    <a:pt x="2286" y="2717"/>
                  </a:lnTo>
                  <a:lnTo>
                    <a:pt x="2285" y="2715"/>
                  </a:lnTo>
                  <a:lnTo>
                    <a:pt x="2282" y="2713"/>
                  </a:lnTo>
                  <a:lnTo>
                    <a:pt x="2279" y="2711"/>
                  </a:lnTo>
                  <a:lnTo>
                    <a:pt x="2275" y="2709"/>
                  </a:lnTo>
                  <a:lnTo>
                    <a:pt x="2265" y="2706"/>
                  </a:lnTo>
                  <a:lnTo>
                    <a:pt x="2256" y="2702"/>
                  </a:lnTo>
                  <a:lnTo>
                    <a:pt x="2250" y="2700"/>
                  </a:lnTo>
                  <a:lnTo>
                    <a:pt x="2244" y="2699"/>
                  </a:lnTo>
                  <a:lnTo>
                    <a:pt x="2240" y="2697"/>
                  </a:lnTo>
                  <a:lnTo>
                    <a:pt x="2233" y="2691"/>
                  </a:lnTo>
                  <a:lnTo>
                    <a:pt x="2226" y="2684"/>
                  </a:lnTo>
                  <a:lnTo>
                    <a:pt x="2219" y="2678"/>
                  </a:lnTo>
                  <a:lnTo>
                    <a:pt x="2215" y="2676"/>
                  </a:lnTo>
                  <a:lnTo>
                    <a:pt x="2212" y="2673"/>
                  </a:lnTo>
                  <a:lnTo>
                    <a:pt x="2207" y="2671"/>
                  </a:lnTo>
                  <a:lnTo>
                    <a:pt x="2202" y="2671"/>
                  </a:lnTo>
                  <a:lnTo>
                    <a:pt x="2187" y="2671"/>
                  </a:lnTo>
                  <a:lnTo>
                    <a:pt x="2167" y="2673"/>
                  </a:lnTo>
                  <a:lnTo>
                    <a:pt x="2158" y="2675"/>
                  </a:lnTo>
                  <a:lnTo>
                    <a:pt x="2148" y="2675"/>
                  </a:lnTo>
                  <a:lnTo>
                    <a:pt x="2142" y="2675"/>
                  </a:lnTo>
                  <a:lnTo>
                    <a:pt x="2137" y="2673"/>
                  </a:lnTo>
                  <a:lnTo>
                    <a:pt x="2130" y="2669"/>
                  </a:lnTo>
                  <a:lnTo>
                    <a:pt x="2124" y="2666"/>
                  </a:lnTo>
                  <a:lnTo>
                    <a:pt x="2121" y="2664"/>
                  </a:lnTo>
                  <a:lnTo>
                    <a:pt x="2118" y="2664"/>
                  </a:lnTo>
                  <a:lnTo>
                    <a:pt x="2116" y="2664"/>
                  </a:lnTo>
                  <a:lnTo>
                    <a:pt x="2114" y="2666"/>
                  </a:lnTo>
                  <a:lnTo>
                    <a:pt x="2110" y="2670"/>
                  </a:lnTo>
                  <a:lnTo>
                    <a:pt x="2107" y="2672"/>
                  </a:lnTo>
                  <a:lnTo>
                    <a:pt x="2106" y="2672"/>
                  </a:lnTo>
                  <a:lnTo>
                    <a:pt x="2105" y="2672"/>
                  </a:lnTo>
                  <a:lnTo>
                    <a:pt x="2104" y="2671"/>
                  </a:lnTo>
                  <a:lnTo>
                    <a:pt x="2104" y="2670"/>
                  </a:lnTo>
                  <a:lnTo>
                    <a:pt x="2104" y="2664"/>
                  </a:lnTo>
                  <a:lnTo>
                    <a:pt x="2103" y="2658"/>
                  </a:lnTo>
                  <a:lnTo>
                    <a:pt x="2102" y="2653"/>
                  </a:lnTo>
                  <a:lnTo>
                    <a:pt x="2100" y="2649"/>
                  </a:lnTo>
                  <a:lnTo>
                    <a:pt x="2094" y="2646"/>
                  </a:lnTo>
                  <a:lnTo>
                    <a:pt x="2084" y="2641"/>
                  </a:lnTo>
                  <a:lnTo>
                    <a:pt x="2078" y="2638"/>
                  </a:lnTo>
                  <a:lnTo>
                    <a:pt x="2073" y="2636"/>
                  </a:lnTo>
                  <a:lnTo>
                    <a:pt x="2067" y="2636"/>
                  </a:lnTo>
                  <a:lnTo>
                    <a:pt x="2064" y="2636"/>
                  </a:lnTo>
                  <a:lnTo>
                    <a:pt x="2054" y="2646"/>
                  </a:lnTo>
                  <a:lnTo>
                    <a:pt x="2039" y="2661"/>
                  </a:lnTo>
                  <a:lnTo>
                    <a:pt x="2032" y="2668"/>
                  </a:lnTo>
                  <a:lnTo>
                    <a:pt x="2025" y="2675"/>
                  </a:lnTo>
                  <a:lnTo>
                    <a:pt x="2022" y="2676"/>
                  </a:lnTo>
                  <a:lnTo>
                    <a:pt x="2019" y="2678"/>
                  </a:lnTo>
                  <a:lnTo>
                    <a:pt x="2018" y="2678"/>
                  </a:lnTo>
                  <a:lnTo>
                    <a:pt x="2016" y="2677"/>
                  </a:lnTo>
                  <a:lnTo>
                    <a:pt x="2016" y="2673"/>
                  </a:lnTo>
                  <a:lnTo>
                    <a:pt x="2018" y="2669"/>
                  </a:lnTo>
                  <a:lnTo>
                    <a:pt x="2020" y="2664"/>
                  </a:lnTo>
                  <a:lnTo>
                    <a:pt x="2023" y="2659"/>
                  </a:lnTo>
                  <a:lnTo>
                    <a:pt x="2028" y="2654"/>
                  </a:lnTo>
                  <a:lnTo>
                    <a:pt x="2030" y="2649"/>
                  </a:lnTo>
                  <a:lnTo>
                    <a:pt x="2030" y="2646"/>
                  </a:lnTo>
                  <a:lnTo>
                    <a:pt x="2031" y="2645"/>
                  </a:lnTo>
                  <a:lnTo>
                    <a:pt x="2030" y="2643"/>
                  </a:lnTo>
                  <a:lnTo>
                    <a:pt x="2029" y="2642"/>
                  </a:lnTo>
                  <a:lnTo>
                    <a:pt x="2027" y="2640"/>
                  </a:lnTo>
                  <a:lnTo>
                    <a:pt x="2022" y="2640"/>
                  </a:lnTo>
                  <a:lnTo>
                    <a:pt x="2018" y="2641"/>
                  </a:lnTo>
                  <a:lnTo>
                    <a:pt x="2013" y="2642"/>
                  </a:lnTo>
                  <a:lnTo>
                    <a:pt x="2005" y="2646"/>
                  </a:lnTo>
                  <a:lnTo>
                    <a:pt x="1998" y="2650"/>
                  </a:lnTo>
                  <a:lnTo>
                    <a:pt x="1991" y="2654"/>
                  </a:lnTo>
                  <a:lnTo>
                    <a:pt x="1983" y="2657"/>
                  </a:lnTo>
                  <a:lnTo>
                    <a:pt x="1977" y="2658"/>
                  </a:lnTo>
                  <a:lnTo>
                    <a:pt x="1973" y="2659"/>
                  </a:lnTo>
                  <a:lnTo>
                    <a:pt x="1970" y="2659"/>
                  </a:lnTo>
                  <a:lnTo>
                    <a:pt x="1969" y="2658"/>
                  </a:lnTo>
                  <a:lnTo>
                    <a:pt x="1968" y="2656"/>
                  </a:lnTo>
                  <a:lnTo>
                    <a:pt x="1969" y="2654"/>
                  </a:lnTo>
                  <a:lnTo>
                    <a:pt x="1970" y="2651"/>
                  </a:lnTo>
                  <a:lnTo>
                    <a:pt x="1972" y="2648"/>
                  </a:lnTo>
                  <a:lnTo>
                    <a:pt x="1976" y="2642"/>
                  </a:lnTo>
                  <a:lnTo>
                    <a:pt x="1981" y="2639"/>
                  </a:lnTo>
                  <a:lnTo>
                    <a:pt x="1988" y="2635"/>
                  </a:lnTo>
                  <a:lnTo>
                    <a:pt x="1995" y="2627"/>
                  </a:lnTo>
                  <a:lnTo>
                    <a:pt x="1999" y="2623"/>
                  </a:lnTo>
                  <a:lnTo>
                    <a:pt x="2002" y="2620"/>
                  </a:lnTo>
                  <a:lnTo>
                    <a:pt x="2005" y="2616"/>
                  </a:lnTo>
                  <a:lnTo>
                    <a:pt x="2006" y="2613"/>
                  </a:lnTo>
                  <a:lnTo>
                    <a:pt x="2006" y="2611"/>
                  </a:lnTo>
                  <a:lnTo>
                    <a:pt x="2003" y="2607"/>
                  </a:lnTo>
                  <a:lnTo>
                    <a:pt x="2000" y="2605"/>
                  </a:lnTo>
                  <a:lnTo>
                    <a:pt x="1998" y="2602"/>
                  </a:lnTo>
                  <a:lnTo>
                    <a:pt x="1992" y="2597"/>
                  </a:lnTo>
                  <a:lnTo>
                    <a:pt x="1988" y="2593"/>
                  </a:lnTo>
                  <a:lnTo>
                    <a:pt x="1985" y="2583"/>
                  </a:lnTo>
                  <a:lnTo>
                    <a:pt x="1979" y="2568"/>
                  </a:lnTo>
                  <a:lnTo>
                    <a:pt x="1976" y="2560"/>
                  </a:lnTo>
                  <a:lnTo>
                    <a:pt x="1972" y="2555"/>
                  </a:lnTo>
                  <a:lnTo>
                    <a:pt x="1971" y="2553"/>
                  </a:lnTo>
                  <a:lnTo>
                    <a:pt x="1969" y="2553"/>
                  </a:lnTo>
                  <a:lnTo>
                    <a:pt x="1967" y="2553"/>
                  </a:lnTo>
                  <a:lnTo>
                    <a:pt x="1965" y="2554"/>
                  </a:lnTo>
                  <a:lnTo>
                    <a:pt x="1961" y="2559"/>
                  </a:lnTo>
                  <a:lnTo>
                    <a:pt x="1955" y="2567"/>
                  </a:lnTo>
                  <a:lnTo>
                    <a:pt x="1951" y="2575"/>
                  </a:lnTo>
                  <a:lnTo>
                    <a:pt x="1947" y="2583"/>
                  </a:lnTo>
                  <a:lnTo>
                    <a:pt x="1943" y="2592"/>
                  </a:lnTo>
                  <a:lnTo>
                    <a:pt x="1939" y="2598"/>
                  </a:lnTo>
                  <a:lnTo>
                    <a:pt x="1936" y="2600"/>
                  </a:lnTo>
                  <a:lnTo>
                    <a:pt x="1934" y="2602"/>
                  </a:lnTo>
                  <a:lnTo>
                    <a:pt x="1932" y="2603"/>
                  </a:lnTo>
                  <a:lnTo>
                    <a:pt x="1931" y="2603"/>
                  </a:lnTo>
                  <a:lnTo>
                    <a:pt x="1922" y="2598"/>
                  </a:lnTo>
                  <a:lnTo>
                    <a:pt x="1912" y="2593"/>
                  </a:lnTo>
                  <a:lnTo>
                    <a:pt x="1907" y="2591"/>
                  </a:lnTo>
                  <a:lnTo>
                    <a:pt x="1903" y="2590"/>
                  </a:lnTo>
                  <a:lnTo>
                    <a:pt x="1899" y="2590"/>
                  </a:lnTo>
                  <a:lnTo>
                    <a:pt x="1896" y="2591"/>
                  </a:lnTo>
                  <a:lnTo>
                    <a:pt x="1890" y="2597"/>
                  </a:lnTo>
                  <a:lnTo>
                    <a:pt x="1886" y="2604"/>
                  </a:lnTo>
                  <a:lnTo>
                    <a:pt x="1884" y="2606"/>
                  </a:lnTo>
                  <a:lnTo>
                    <a:pt x="1882" y="2609"/>
                  </a:lnTo>
                  <a:lnTo>
                    <a:pt x="1879" y="2610"/>
                  </a:lnTo>
                  <a:lnTo>
                    <a:pt x="1876" y="2609"/>
                  </a:lnTo>
                  <a:lnTo>
                    <a:pt x="1873" y="2604"/>
                  </a:lnTo>
                  <a:lnTo>
                    <a:pt x="1868" y="2598"/>
                  </a:lnTo>
                  <a:lnTo>
                    <a:pt x="1865" y="2591"/>
                  </a:lnTo>
                  <a:lnTo>
                    <a:pt x="1862" y="2581"/>
                  </a:lnTo>
                  <a:lnTo>
                    <a:pt x="1859" y="2572"/>
                  </a:lnTo>
                  <a:lnTo>
                    <a:pt x="1857" y="2563"/>
                  </a:lnTo>
                  <a:lnTo>
                    <a:pt x="1855" y="2555"/>
                  </a:lnTo>
                  <a:lnTo>
                    <a:pt x="1855" y="2550"/>
                  </a:lnTo>
                  <a:lnTo>
                    <a:pt x="1857" y="2539"/>
                  </a:lnTo>
                  <a:lnTo>
                    <a:pt x="1858" y="2530"/>
                  </a:lnTo>
                  <a:lnTo>
                    <a:pt x="1858" y="2526"/>
                  </a:lnTo>
                  <a:lnTo>
                    <a:pt x="1857" y="2521"/>
                  </a:lnTo>
                  <a:lnTo>
                    <a:pt x="1855" y="2516"/>
                  </a:lnTo>
                  <a:lnTo>
                    <a:pt x="1852" y="2511"/>
                  </a:lnTo>
                  <a:lnTo>
                    <a:pt x="1835" y="2497"/>
                  </a:lnTo>
                  <a:lnTo>
                    <a:pt x="1811" y="2480"/>
                  </a:lnTo>
                  <a:lnTo>
                    <a:pt x="1799" y="2471"/>
                  </a:lnTo>
                  <a:lnTo>
                    <a:pt x="1790" y="2463"/>
                  </a:lnTo>
                  <a:lnTo>
                    <a:pt x="1788" y="2460"/>
                  </a:lnTo>
                  <a:lnTo>
                    <a:pt x="1786" y="2457"/>
                  </a:lnTo>
                  <a:lnTo>
                    <a:pt x="1786" y="2454"/>
                  </a:lnTo>
                  <a:lnTo>
                    <a:pt x="1788" y="2452"/>
                  </a:lnTo>
                  <a:lnTo>
                    <a:pt x="1792" y="2448"/>
                  </a:lnTo>
                  <a:lnTo>
                    <a:pt x="1796" y="2443"/>
                  </a:lnTo>
                  <a:lnTo>
                    <a:pt x="1799" y="2437"/>
                  </a:lnTo>
                  <a:lnTo>
                    <a:pt x="1801" y="2430"/>
                  </a:lnTo>
                  <a:lnTo>
                    <a:pt x="1802" y="2425"/>
                  </a:lnTo>
                  <a:lnTo>
                    <a:pt x="1802" y="2421"/>
                  </a:lnTo>
                  <a:lnTo>
                    <a:pt x="1801" y="2419"/>
                  </a:lnTo>
                  <a:lnTo>
                    <a:pt x="1800" y="2419"/>
                  </a:lnTo>
                  <a:lnTo>
                    <a:pt x="1798" y="2419"/>
                  </a:lnTo>
                  <a:lnTo>
                    <a:pt x="1796" y="2420"/>
                  </a:lnTo>
                  <a:lnTo>
                    <a:pt x="1786" y="2426"/>
                  </a:lnTo>
                  <a:lnTo>
                    <a:pt x="1772" y="2432"/>
                  </a:lnTo>
                  <a:lnTo>
                    <a:pt x="1765" y="2435"/>
                  </a:lnTo>
                  <a:lnTo>
                    <a:pt x="1758" y="2436"/>
                  </a:lnTo>
                  <a:lnTo>
                    <a:pt x="1752" y="2436"/>
                  </a:lnTo>
                  <a:lnTo>
                    <a:pt x="1746" y="2432"/>
                  </a:lnTo>
                  <a:lnTo>
                    <a:pt x="1736" y="2426"/>
                  </a:lnTo>
                  <a:lnTo>
                    <a:pt x="1726" y="2420"/>
                  </a:lnTo>
                  <a:lnTo>
                    <a:pt x="1722" y="2418"/>
                  </a:lnTo>
                  <a:lnTo>
                    <a:pt x="1716" y="2417"/>
                  </a:lnTo>
                  <a:lnTo>
                    <a:pt x="1712" y="2418"/>
                  </a:lnTo>
                  <a:lnTo>
                    <a:pt x="1708" y="2420"/>
                  </a:lnTo>
                  <a:lnTo>
                    <a:pt x="1704" y="2423"/>
                  </a:lnTo>
                  <a:lnTo>
                    <a:pt x="1699" y="2425"/>
                  </a:lnTo>
                  <a:lnTo>
                    <a:pt x="1693" y="2425"/>
                  </a:lnTo>
                  <a:lnTo>
                    <a:pt x="1687" y="2425"/>
                  </a:lnTo>
                  <a:lnTo>
                    <a:pt x="1679" y="2423"/>
                  </a:lnTo>
                  <a:lnTo>
                    <a:pt x="1677" y="2422"/>
                  </a:lnTo>
                  <a:lnTo>
                    <a:pt x="1679" y="2421"/>
                  </a:lnTo>
                  <a:lnTo>
                    <a:pt x="1679" y="2420"/>
                  </a:lnTo>
                  <a:lnTo>
                    <a:pt x="1678" y="2417"/>
                  </a:lnTo>
                  <a:lnTo>
                    <a:pt x="1677" y="2415"/>
                  </a:lnTo>
                  <a:lnTo>
                    <a:pt x="1672" y="2410"/>
                  </a:lnTo>
                  <a:lnTo>
                    <a:pt x="1668" y="2407"/>
                  </a:lnTo>
                  <a:lnTo>
                    <a:pt x="1655" y="2406"/>
                  </a:lnTo>
                  <a:lnTo>
                    <a:pt x="1628" y="2405"/>
                  </a:lnTo>
                  <a:lnTo>
                    <a:pt x="1602" y="2404"/>
                  </a:lnTo>
                  <a:lnTo>
                    <a:pt x="1591" y="2404"/>
                  </a:lnTo>
                  <a:lnTo>
                    <a:pt x="1591" y="2407"/>
                  </a:lnTo>
                  <a:lnTo>
                    <a:pt x="1589" y="2415"/>
                  </a:lnTo>
                  <a:lnTo>
                    <a:pt x="1588" y="2418"/>
                  </a:lnTo>
                  <a:lnTo>
                    <a:pt x="1586" y="2420"/>
                  </a:lnTo>
                  <a:lnTo>
                    <a:pt x="1584" y="2422"/>
                  </a:lnTo>
                  <a:lnTo>
                    <a:pt x="1583" y="2421"/>
                  </a:lnTo>
                  <a:lnTo>
                    <a:pt x="1575" y="2406"/>
                  </a:lnTo>
                  <a:lnTo>
                    <a:pt x="1569" y="2394"/>
                  </a:lnTo>
                  <a:lnTo>
                    <a:pt x="1563" y="2399"/>
                  </a:lnTo>
                  <a:lnTo>
                    <a:pt x="1552" y="2408"/>
                  </a:lnTo>
                  <a:lnTo>
                    <a:pt x="1545" y="2413"/>
                  </a:lnTo>
                  <a:lnTo>
                    <a:pt x="1537" y="2417"/>
                  </a:lnTo>
                  <a:lnTo>
                    <a:pt x="1531" y="2420"/>
                  </a:lnTo>
                  <a:lnTo>
                    <a:pt x="1526" y="2420"/>
                  </a:lnTo>
                  <a:lnTo>
                    <a:pt x="1520" y="2419"/>
                  </a:lnTo>
                  <a:lnTo>
                    <a:pt x="1515" y="2418"/>
                  </a:lnTo>
                  <a:lnTo>
                    <a:pt x="1509" y="2418"/>
                  </a:lnTo>
                  <a:lnTo>
                    <a:pt x="1503" y="2420"/>
                  </a:lnTo>
                  <a:lnTo>
                    <a:pt x="1496" y="2422"/>
                  </a:lnTo>
                  <a:lnTo>
                    <a:pt x="1490" y="2427"/>
                  </a:lnTo>
                  <a:lnTo>
                    <a:pt x="1485" y="2435"/>
                  </a:lnTo>
                  <a:lnTo>
                    <a:pt x="1480" y="2444"/>
                  </a:lnTo>
                  <a:lnTo>
                    <a:pt x="1475" y="2453"/>
                  </a:lnTo>
                  <a:lnTo>
                    <a:pt x="1470" y="2462"/>
                  </a:lnTo>
                  <a:lnTo>
                    <a:pt x="1464" y="2467"/>
                  </a:lnTo>
                  <a:lnTo>
                    <a:pt x="1458" y="2470"/>
                  </a:lnTo>
                  <a:lnTo>
                    <a:pt x="1451" y="2472"/>
                  </a:lnTo>
                  <a:lnTo>
                    <a:pt x="1447" y="2472"/>
                  </a:lnTo>
                  <a:lnTo>
                    <a:pt x="1443" y="2472"/>
                  </a:lnTo>
                  <a:lnTo>
                    <a:pt x="1440" y="2470"/>
                  </a:lnTo>
                  <a:lnTo>
                    <a:pt x="1434" y="2466"/>
                  </a:lnTo>
                  <a:lnTo>
                    <a:pt x="1423" y="2462"/>
                  </a:lnTo>
                  <a:lnTo>
                    <a:pt x="1410" y="2458"/>
                  </a:lnTo>
                  <a:lnTo>
                    <a:pt x="1399" y="2456"/>
                  </a:lnTo>
                  <a:lnTo>
                    <a:pt x="1396" y="2456"/>
                  </a:lnTo>
                  <a:lnTo>
                    <a:pt x="1393" y="2458"/>
                  </a:lnTo>
                  <a:lnTo>
                    <a:pt x="1392" y="2460"/>
                  </a:lnTo>
                  <a:lnTo>
                    <a:pt x="1391" y="2463"/>
                  </a:lnTo>
                  <a:lnTo>
                    <a:pt x="1388" y="2465"/>
                  </a:lnTo>
                  <a:lnTo>
                    <a:pt x="1384" y="2466"/>
                  </a:lnTo>
                  <a:lnTo>
                    <a:pt x="1379" y="2466"/>
                  </a:lnTo>
                  <a:lnTo>
                    <a:pt x="1371" y="2463"/>
                  </a:lnTo>
                  <a:lnTo>
                    <a:pt x="1351" y="2453"/>
                  </a:lnTo>
                  <a:lnTo>
                    <a:pt x="1333" y="2445"/>
                  </a:lnTo>
                  <a:lnTo>
                    <a:pt x="1326" y="2441"/>
                  </a:lnTo>
                  <a:lnTo>
                    <a:pt x="1320" y="2437"/>
                  </a:lnTo>
                  <a:lnTo>
                    <a:pt x="1317" y="2432"/>
                  </a:lnTo>
                  <a:lnTo>
                    <a:pt x="1316" y="2428"/>
                  </a:lnTo>
                  <a:lnTo>
                    <a:pt x="1317" y="2414"/>
                  </a:lnTo>
                  <a:lnTo>
                    <a:pt x="1320" y="2391"/>
                  </a:lnTo>
                  <a:lnTo>
                    <a:pt x="1322" y="2370"/>
                  </a:lnTo>
                  <a:lnTo>
                    <a:pt x="1323" y="2356"/>
                  </a:lnTo>
                  <a:lnTo>
                    <a:pt x="1320" y="2353"/>
                  </a:lnTo>
                  <a:lnTo>
                    <a:pt x="1312" y="2349"/>
                  </a:lnTo>
                  <a:lnTo>
                    <a:pt x="1300" y="2344"/>
                  </a:lnTo>
                  <a:lnTo>
                    <a:pt x="1287" y="2339"/>
                  </a:lnTo>
                  <a:lnTo>
                    <a:pt x="1272" y="2334"/>
                  </a:lnTo>
                  <a:lnTo>
                    <a:pt x="1259" y="2329"/>
                  </a:lnTo>
                  <a:lnTo>
                    <a:pt x="1247" y="2325"/>
                  </a:lnTo>
                  <a:lnTo>
                    <a:pt x="1239" y="2319"/>
                  </a:lnTo>
                  <a:lnTo>
                    <a:pt x="1232" y="2315"/>
                  </a:lnTo>
                  <a:lnTo>
                    <a:pt x="1227" y="2309"/>
                  </a:lnTo>
                  <a:lnTo>
                    <a:pt x="1222" y="2303"/>
                  </a:lnTo>
                  <a:lnTo>
                    <a:pt x="1218" y="2296"/>
                  </a:lnTo>
                  <a:lnTo>
                    <a:pt x="1215" y="2290"/>
                  </a:lnTo>
                  <a:lnTo>
                    <a:pt x="1212" y="2285"/>
                  </a:lnTo>
                  <a:lnTo>
                    <a:pt x="1212" y="2283"/>
                  </a:lnTo>
                  <a:lnTo>
                    <a:pt x="1212" y="2282"/>
                  </a:lnTo>
                  <a:lnTo>
                    <a:pt x="1212" y="2281"/>
                  </a:lnTo>
                  <a:lnTo>
                    <a:pt x="1213" y="2280"/>
                  </a:lnTo>
                  <a:lnTo>
                    <a:pt x="1217" y="2276"/>
                  </a:lnTo>
                  <a:lnTo>
                    <a:pt x="1222" y="2268"/>
                  </a:lnTo>
                  <a:lnTo>
                    <a:pt x="1228" y="2256"/>
                  </a:lnTo>
                  <a:lnTo>
                    <a:pt x="1233" y="2243"/>
                  </a:lnTo>
                  <a:lnTo>
                    <a:pt x="1239" y="2228"/>
                  </a:lnTo>
                  <a:lnTo>
                    <a:pt x="1242" y="2216"/>
                  </a:lnTo>
                  <a:lnTo>
                    <a:pt x="1243" y="2210"/>
                  </a:lnTo>
                  <a:lnTo>
                    <a:pt x="1243" y="2205"/>
                  </a:lnTo>
                  <a:lnTo>
                    <a:pt x="1242" y="2201"/>
                  </a:lnTo>
                  <a:lnTo>
                    <a:pt x="1240" y="2199"/>
                  </a:lnTo>
                  <a:lnTo>
                    <a:pt x="1238" y="2198"/>
                  </a:lnTo>
                  <a:lnTo>
                    <a:pt x="1233" y="2196"/>
                  </a:lnTo>
                  <a:lnTo>
                    <a:pt x="1228" y="2195"/>
                  </a:lnTo>
                  <a:lnTo>
                    <a:pt x="1223" y="2195"/>
                  </a:lnTo>
                  <a:lnTo>
                    <a:pt x="1209" y="2194"/>
                  </a:lnTo>
                  <a:lnTo>
                    <a:pt x="1196" y="2195"/>
                  </a:lnTo>
                  <a:lnTo>
                    <a:pt x="1182" y="2197"/>
                  </a:lnTo>
                  <a:lnTo>
                    <a:pt x="1171" y="2200"/>
                  </a:lnTo>
                  <a:lnTo>
                    <a:pt x="1166" y="2201"/>
                  </a:lnTo>
                  <a:lnTo>
                    <a:pt x="1162" y="2203"/>
                  </a:lnTo>
                  <a:lnTo>
                    <a:pt x="1160" y="2205"/>
                  </a:lnTo>
                  <a:lnTo>
                    <a:pt x="1159" y="2207"/>
                  </a:lnTo>
                  <a:lnTo>
                    <a:pt x="1156" y="2222"/>
                  </a:lnTo>
                  <a:lnTo>
                    <a:pt x="1150" y="2242"/>
                  </a:lnTo>
                  <a:lnTo>
                    <a:pt x="1146" y="2252"/>
                  </a:lnTo>
                  <a:lnTo>
                    <a:pt x="1141" y="2261"/>
                  </a:lnTo>
                  <a:lnTo>
                    <a:pt x="1139" y="2264"/>
                  </a:lnTo>
                  <a:lnTo>
                    <a:pt x="1136" y="2266"/>
                  </a:lnTo>
                  <a:lnTo>
                    <a:pt x="1134" y="2267"/>
                  </a:lnTo>
                  <a:lnTo>
                    <a:pt x="1131" y="2268"/>
                  </a:lnTo>
                  <a:lnTo>
                    <a:pt x="1122" y="2267"/>
                  </a:lnTo>
                  <a:lnTo>
                    <a:pt x="1109" y="2267"/>
                  </a:lnTo>
                  <a:lnTo>
                    <a:pt x="1093" y="2265"/>
                  </a:lnTo>
                  <a:lnTo>
                    <a:pt x="1076" y="2261"/>
                  </a:lnTo>
                  <a:lnTo>
                    <a:pt x="1067" y="2258"/>
                  </a:lnTo>
                  <a:lnTo>
                    <a:pt x="1058" y="2253"/>
                  </a:lnTo>
                  <a:lnTo>
                    <a:pt x="1051" y="2248"/>
                  </a:lnTo>
                  <a:lnTo>
                    <a:pt x="1044" y="2242"/>
                  </a:lnTo>
                  <a:lnTo>
                    <a:pt x="1037" y="2234"/>
                  </a:lnTo>
                  <a:lnTo>
                    <a:pt x="1032" y="2225"/>
                  </a:lnTo>
                  <a:lnTo>
                    <a:pt x="1028" y="2214"/>
                  </a:lnTo>
                  <a:lnTo>
                    <a:pt x="1025" y="2202"/>
                  </a:lnTo>
                  <a:lnTo>
                    <a:pt x="1021" y="2159"/>
                  </a:lnTo>
                  <a:lnTo>
                    <a:pt x="1020" y="2135"/>
                  </a:lnTo>
                  <a:lnTo>
                    <a:pt x="1021" y="2129"/>
                  </a:lnTo>
                  <a:lnTo>
                    <a:pt x="1022" y="2123"/>
                  </a:lnTo>
                  <a:lnTo>
                    <a:pt x="1023" y="2119"/>
                  </a:lnTo>
                  <a:lnTo>
                    <a:pt x="1025" y="2116"/>
                  </a:lnTo>
                  <a:lnTo>
                    <a:pt x="1029" y="2111"/>
                  </a:lnTo>
                  <a:lnTo>
                    <a:pt x="1033" y="2106"/>
                  </a:lnTo>
                  <a:lnTo>
                    <a:pt x="1035" y="2104"/>
                  </a:lnTo>
                  <a:lnTo>
                    <a:pt x="1035" y="2101"/>
                  </a:lnTo>
                  <a:lnTo>
                    <a:pt x="1035" y="2100"/>
                  </a:lnTo>
                  <a:lnTo>
                    <a:pt x="1034" y="2098"/>
                  </a:lnTo>
                  <a:lnTo>
                    <a:pt x="1032" y="2095"/>
                  </a:lnTo>
                  <a:lnTo>
                    <a:pt x="1030" y="2090"/>
                  </a:lnTo>
                  <a:lnTo>
                    <a:pt x="1028" y="2085"/>
                  </a:lnTo>
                  <a:lnTo>
                    <a:pt x="1026" y="2077"/>
                  </a:lnTo>
                  <a:lnTo>
                    <a:pt x="1025" y="2070"/>
                  </a:lnTo>
                  <a:lnTo>
                    <a:pt x="1025" y="2064"/>
                  </a:lnTo>
                  <a:lnTo>
                    <a:pt x="1025" y="2057"/>
                  </a:lnTo>
                  <a:lnTo>
                    <a:pt x="1027" y="2052"/>
                  </a:lnTo>
                  <a:lnTo>
                    <a:pt x="1031" y="2049"/>
                  </a:lnTo>
                  <a:lnTo>
                    <a:pt x="1035" y="2045"/>
                  </a:lnTo>
                  <a:lnTo>
                    <a:pt x="1042" y="2041"/>
                  </a:lnTo>
                  <a:lnTo>
                    <a:pt x="1048" y="2037"/>
                  </a:lnTo>
                  <a:lnTo>
                    <a:pt x="1059" y="2032"/>
                  </a:lnTo>
                  <a:lnTo>
                    <a:pt x="1066" y="2030"/>
                  </a:lnTo>
                  <a:lnTo>
                    <a:pt x="1068" y="2027"/>
                  </a:lnTo>
                  <a:lnTo>
                    <a:pt x="1072" y="2022"/>
                  </a:lnTo>
                  <a:lnTo>
                    <a:pt x="1075" y="2019"/>
                  </a:lnTo>
                  <a:lnTo>
                    <a:pt x="1078" y="2017"/>
                  </a:lnTo>
                  <a:lnTo>
                    <a:pt x="1083" y="2015"/>
                  </a:lnTo>
                  <a:lnTo>
                    <a:pt x="1087" y="2017"/>
                  </a:lnTo>
                  <a:lnTo>
                    <a:pt x="1091" y="2019"/>
                  </a:lnTo>
                  <a:lnTo>
                    <a:pt x="1095" y="2019"/>
                  </a:lnTo>
                  <a:lnTo>
                    <a:pt x="1100" y="2019"/>
                  </a:lnTo>
                  <a:lnTo>
                    <a:pt x="1105" y="2019"/>
                  </a:lnTo>
                  <a:lnTo>
                    <a:pt x="1114" y="2018"/>
                  </a:lnTo>
                  <a:lnTo>
                    <a:pt x="1124" y="2019"/>
                  </a:lnTo>
                  <a:lnTo>
                    <a:pt x="1135" y="2023"/>
                  </a:lnTo>
                  <a:lnTo>
                    <a:pt x="1146" y="2027"/>
                  </a:lnTo>
                  <a:lnTo>
                    <a:pt x="1152" y="2029"/>
                  </a:lnTo>
                  <a:lnTo>
                    <a:pt x="1158" y="2031"/>
                  </a:lnTo>
                  <a:lnTo>
                    <a:pt x="1163" y="2032"/>
                  </a:lnTo>
                  <a:lnTo>
                    <a:pt x="1168" y="2032"/>
                  </a:lnTo>
                  <a:lnTo>
                    <a:pt x="1178" y="2029"/>
                  </a:lnTo>
                  <a:lnTo>
                    <a:pt x="1184" y="2026"/>
                  </a:lnTo>
                  <a:lnTo>
                    <a:pt x="1188" y="2023"/>
                  </a:lnTo>
                  <a:lnTo>
                    <a:pt x="1191" y="2020"/>
                  </a:lnTo>
                  <a:lnTo>
                    <a:pt x="1194" y="2015"/>
                  </a:lnTo>
                  <a:lnTo>
                    <a:pt x="1198" y="2009"/>
                  </a:lnTo>
                  <a:lnTo>
                    <a:pt x="1200" y="2007"/>
                  </a:lnTo>
                  <a:lnTo>
                    <a:pt x="1204" y="2005"/>
                  </a:lnTo>
                  <a:lnTo>
                    <a:pt x="1208" y="2004"/>
                  </a:lnTo>
                  <a:lnTo>
                    <a:pt x="1213" y="2005"/>
                  </a:lnTo>
                  <a:lnTo>
                    <a:pt x="1222" y="2007"/>
                  </a:lnTo>
                  <a:lnTo>
                    <a:pt x="1229" y="2007"/>
                  </a:lnTo>
                  <a:lnTo>
                    <a:pt x="1231" y="2007"/>
                  </a:lnTo>
                  <a:lnTo>
                    <a:pt x="1234" y="2008"/>
                  </a:lnTo>
                  <a:lnTo>
                    <a:pt x="1238" y="2010"/>
                  </a:lnTo>
                  <a:lnTo>
                    <a:pt x="1241" y="2015"/>
                  </a:lnTo>
                  <a:lnTo>
                    <a:pt x="1245" y="2020"/>
                  </a:lnTo>
                  <a:lnTo>
                    <a:pt x="1251" y="2023"/>
                  </a:lnTo>
                  <a:lnTo>
                    <a:pt x="1257" y="2025"/>
                  </a:lnTo>
                  <a:lnTo>
                    <a:pt x="1265" y="2026"/>
                  </a:lnTo>
                  <a:lnTo>
                    <a:pt x="1278" y="2027"/>
                  </a:lnTo>
                  <a:lnTo>
                    <a:pt x="1288" y="2027"/>
                  </a:lnTo>
                  <a:lnTo>
                    <a:pt x="1294" y="2028"/>
                  </a:lnTo>
                  <a:lnTo>
                    <a:pt x="1299" y="2028"/>
                  </a:lnTo>
                  <a:lnTo>
                    <a:pt x="1301" y="2028"/>
                  </a:lnTo>
                  <a:lnTo>
                    <a:pt x="1304" y="2029"/>
                  </a:lnTo>
                  <a:lnTo>
                    <a:pt x="1307" y="2030"/>
                  </a:lnTo>
                  <a:lnTo>
                    <a:pt x="1309" y="2033"/>
                  </a:lnTo>
                  <a:lnTo>
                    <a:pt x="1315" y="2039"/>
                  </a:lnTo>
                  <a:lnTo>
                    <a:pt x="1321" y="2044"/>
                  </a:lnTo>
                  <a:lnTo>
                    <a:pt x="1325" y="2047"/>
                  </a:lnTo>
                  <a:lnTo>
                    <a:pt x="1327" y="2050"/>
                  </a:lnTo>
                  <a:lnTo>
                    <a:pt x="1329" y="2054"/>
                  </a:lnTo>
                  <a:lnTo>
                    <a:pt x="1330" y="2057"/>
                  </a:lnTo>
                  <a:lnTo>
                    <a:pt x="1330" y="2065"/>
                  </a:lnTo>
                  <a:lnTo>
                    <a:pt x="1330" y="2072"/>
                  </a:lnTo>
                  <a:lnTo>
                    <a:pt x="1331" y="2079"/>
                  </a:lnTo>
                  <a:lnTo>
                    <a:pt x="1335" y="2090"/>
                  </a:lnTo>
                  <a:lnTo>
                    <a:pt x="1342" y="2101"/>
                  </a:lnTo>
                  <a:lnTo>
                    <a:pt x="1350" y="2111"/>
                  </a:lnTo>
                  <a:lnTo>
                    <a:pt x="1356" y="2119"/>
                  </a:lnTo>
                  <a:lnTo>
                    <a:pt x="1359" y="2123"/>
                  </a:lnTo>
                  <a:lnTo>
                    <a:pt x="1363" y="2127"/>
                  </a:lnTo>
                  <a:lnTo>
                    <a:pt x="1369" y="2129"/>
                  </a:lnTo>
                  <a:lnTo>
                    <a:pt x="1374" y="2130"/>
                  </a:lnTo>
                  <a:lnTo>
                    <a:pt x="1378" y="2130"/>
                  </a:lnTo>
                  <a:lnTo>
                    <a:pt x="1381" y="2124"/>
                  </a:lnTo>
                  <a:lnTo>
                    <a:pt x="1383" y="2115"/>
                  </a:lnTo>
                  <a:lnTo>
                    <a:pt x="1385" y="2105"/>
                  </a:lnTo>
                  <a:lnTo>
                    <a:pt x="1385" y="2093"/>
                  </a:lnTo>
                  <a:lnTo>
                    <a:pt x="1385" y="2084"/>
                  </a:lnTo>
                  <a:lnTo>
                    <a:pt x="1383" y="2072"/>
                  </a:lnTo>
                  <a:lnTo>
                    <a:pt x="1380" y="2062"/>
                  </a:lnTo>
                  <a:lnTo>
                    <a:pt x="1378" y="2052"/>
                  </a:lnTo>
                  <a:lnTo>
                    <a:pt x="1377" y="2047"/>
                  </a:lnTo>
                  <a:lnTo>
                    <a:pt x="1374" y="2042"/>
                  </a:lnTo>
                  <a:lnTo>
                    <a:pt x="1371" y="2036"/>
                  </a:lnTo>
                  <a:lnTo>
                    <a:pt x="1368" y="2031"/>
                  </a:lnTo>
                  <a:lnTo>
                    <a:pt x="1363" y="2025"/>
                  </a:lnTo>
                  <a:lnTo>
                    <a:pt x="1360" y="2020"/>
                  </a:lnTo>
                  <a:lnTo>
                    <a:pt x="1358" y="2013"/>
                  </a:lnTo>
                  <a:lnTo>
                    <a:pt x="1358" y="2007"/>
                  </a:lnTo>
                  <a:lnTo>
                    <a:pt x="1358" y="1992"/>
                  </a:lnTo>
                  <a:lnTo>
                    <a:pt x="1360" y="1976"/>
                  </a:lnTo>
                  <a:lnTo>
                    <a:pt x="1362" y="1968"/>
                  </a:lnTo>
                  <a:lnTo>
                    <a:pt x="1364" y="1962"/>
                  </a:lnTo>
                  <a:lnTo>
                    <a:pt x="1366" y="1958"/>
                  </a:lnTo>
                  <a:lnTo>
                    <a:pt x="1370" y="1955"/>
                  </a:lnTo>
                  <a:lnTo>
                    <a:pt x="1381" y="1945"/>
                  </a:lnTo>
                  <a:lnTo>
                    <a:pt x="1400" y="1929"/>
                  </a:lnTo>
                  <a:lnTo>
                    <a:pt x="1410" y="1919"/>
                  </a:lnTo>
                  <a:lnTo>
                    <a:pt x="1420" y="1911"/>
                  </a:lnTo>
                  <a:lnTo>
                    <a:pt x="1428" y="1904"/>
                  </a:lnTo>
                  <a:lnTo>
                    <a:pt x="1436" y="1900"/>
                  </a:lnTo>
                  <a:lnTo>
                    <a:pt x="1449" y="1894"/>
                  </a:lnTo>
                  <a:lnTo>
                    <a:pt x="1464" y="1886"/>
                  </a:lnTo>
                  <a:lnTo>
                    <a:pt x="1470" y="1880"/>
                  </a:lnTo>
                  <a:lnTo>
                    <a:pt x="1476" y="1876"/>
                  </a:lnTo>
                  <a:lnTo>
                    <a:pt x="1480" y="1873"/>
                  </a:lnTo>
                  <a:lnTo>
                    <a:pt x="1482" y="1870"/>
                  </a:lnTo>
                  <a:lnTo>
                    <a:pt x="1478" y="1855"/>
                  </a:lnTo>
                  <a:lnTo>
                    <a:pt x="1472" y="1841"/>
                  </a:lnTo>
                  <a:lnTo>
                    <a:pt x="1479" y="1826"/>
                  </a:lnTo>
                  <a:lnTo>
                    <a:pt x="1485" y="1810"/>
                  </a:lnTo>
                  <a:lnTo>
                    <a:pt x="1488" y="1803"/>
                  </a:lnTo>
                  <a:lnTo>
                    <a:pt x="1491" y="1795"/>
                  </a:lnTo>
                  <a:lnTo>
                    <a:pt x="1495" y="1789"/>
                  </a:lnTo>
                  <a:lnTo>
                    <a:pt x="1501" y="1782"/>
                  </a:lnTo>
                  <a:lnTo>
                    <a:pt x="1505" y="1773"/>
                  </a:lnTo>
                  <a:lnTo>
                    <a:pt x="1510" y="1761"/>
                  </a:lnTo>
                  <a:lnTo>
                    <a:pt x="1513" y="1756"/>
                  </a:lnTo>
                  <a:lnTo>
                    <a:pt x="1515" y="1750"/>
                  </a:lnTo>
                  <a:lnTo>
                    <a:pt x="1518" y="1746"/>
                  </a:lnTo>
                  <a:lnTo>
                    <a:pt x="1522" y="1743"/>
                  </a:lnTo>
                  <a:lnTo>
                    <a:pt x="1532" y="1739"/>
                  </a:lnTo>
                  <a:lnTo>
                    <a:pt x="1549" y="1733"/>
                  </a:lnTo>
                  <a:lnTo>
                    <a:pt x="1557" y="1729"/>
                  </a:lnTo>
                  <a:lnTo>
                    <a:pt x="1564" y="1725"/>
                  </a:lnTo>
                  <a:lnTo>
                    <a:pt x="1570" y="1722"/>
                  </a:lnTo>
                  <a:lnTo>
                    <a:pt x="1574" y="1719"/>
                  </a:lnTo>
                  <a:lnTo>
                    <a:pt x="1577" y="1717"/>
                  </a:lnTo>
                  <a:lnTo>
                    <a:pt x="1581" y="1716"/>
                  </a:lnTo>
                  <a:lnTo>
                    <a:pt x="1586" y="1715"/>
                  </a:lnTo>
                  <a:lnTo>
                    <a:pt x="1592" y="1714"/>
                  </a:lnTo>
                  <a:lnTo>
                    <a:pt x="1597" y="1714"/>
                  </a:lnTo>
                  <a:lnTo>
                    <a:pt x="1602" y="1713"/>
                  </a:lnTo>
                  <a:lnTo>
                    <a:pt x="1603" y="1712"/>
                  </a:lnTo>
                  <a:lnTo>
                    <a:pt x="1605" y="1711"/>
                  </a:lnTo>
                  <a:lnTo>
                    <a:pt x="1605" y="1708"/>
                  </a:lnTo>
                  <a:lnTo>
                    <a:pt x="1606" y="1707"/>
                  </a:lnTo>
                  <a:lnTo>
                    <a:pt x="1605" y="1705"/>
                  </a:lnTo>
                  <a:lnTo>
                    <a:pt x="1604" y="1703"/>
                  </a:lnTo>
                  <a:lnTo>
                    <a:pt x="1603" y="1702"/>
                  </a:lnTo>
                  <a:lnTo>
                    <a:pt x="1601" y="1701"/>
                  </a:lnTo>
                  <a:lnTo>
                    <a:pt x="1596" y="1699"/>
                  </a:lnTo>
                  <a:lnTo>
                    <a:pt x="1591" y="1698"/>
                  </a:lnTo>
                  <a:lnTo>
                    <a:pt x="1585" y="1697"/>
                  </a:lnTo>
                  <a:lnTo>
                    <a:pt x="1581" y="1695"/>
                  </a:lnTo>
                  <a:lnTo>
                    <a:pt x="1580" y="1694"/>
                  </a:lnTo>
                  <a:lnTo>
                    <a:pt x="1580" y="1692"/>
                  </a:lnTo>
                  <a:lnTo>
                    <a:pt x="1580" y="1690"/>
                  </a:lnTo>
                  <a:lnTo>
                    <a:pt x="1581" y="1688"/>
                  </a:lnTo>
                  <a:lnTo>
                    <a:pt x="1588" y="1677"/>
                  </a:lnTo>
                  <a:lnTo>
                    <a:pt x="1597" y="1666"/>
                  </a:lnTo>
                  <a:lnTo>
                    <a:pt x="1606" y="1654"/>
                  </a:lnTo>
                  <a:lnTo>
                    <a:pt x="1616" y="1644"/>
                  </a:lnTo>
                  <a:lnTo>
                    <a:pt x="1623" y="1637"/>
                  </a:lnTo>
                  <a:lnTo>
                    <a:pt x="1635" y="1630"/>
                  </a:lnTo>
                  <a:lnTo>
                    <a:pt x="1648" y="1620"/>
                  </a:lnTo>
                  <a:lnTo>
                    <a:pt x="1664" y="1612"/>
                  </a:lnTo>
                  <a:lnTo>
                    <a:pt x="1679" y="1605"/>
                  </a:lnTo>
                  <a:lnTo>
                    <a:pt x="1690" y="1598"/>
                  </a:lnTo>
                  <a:lnTo>
                    <a:pt x="1694" y="1596"/>
                  </a:lnTo>
                  <a:lnTo>
                    <a:pt x="1698" y="1595"/>
                  </a:lnTo>
                  <a:lnTo>
                    <a:pt x="1700" y="1595"/>
                  </a:lnTo>
                  <a:lnTo>
                    <a:pt x="1700" y="1596"/>
                  </a:lnTo>
                  <a:lnTo>
                    <a:pt x="1693" y="1603"/>
                  </a:lnTo>
                  <a:lnTo>
                    <a:pt x="1686" y="1611"/>
                  </a:lnTo>
                  <a:lnTo>
                    <a:pt x="1682" y="1615"/>
                  </a:lnTo>
                  <a:lnTo>
                    <a:pt x="1680" y="1619"/>
                  </a:lnTo>
                  <a:lnTo>
                    <a:pt x="1678" y="1625"/>
                  </a:lnTo>
                  <a:lnTo>
                    <a:pt x="1678" y="1631"/>
                  </a:lnTo>
                  <a:lnTo>
                    <a:pt x="1679" y="1641"/>
                  </a:lnTo>
                  <a:lnTo>
                    <a:pt x="1680" y="1649"/>
                  </a:lnTo>
                  <a:lnTo>
                    <a:pt x="1682" y="1652"/>
                  </a:lnTo>
                  <a:lnTo>
                    <a:pt x="1684" y="1654"/>
                  </a:lnTo>
                  <a:lnTo>
                    <a:pt x="1687" y="1654"/>
                  </a:lnTo>
                  <a:lnTo>
                    <a:pt x="1691" y="1654"/>
                  </a:lnTo>
                  <a:lnTo>
                    <a:pt x="1696" y="1652"/>
                  </a:lnTo>
                  <a:lnTo>
                    <a:pt x="1701" y="1650"/>
                  </a:lnTo>
                  <a:lnTo>
                    <a:pt x="1704" y="1647"/>
                  </a:lnTo>
                  <a:lnTo>
                    <a:pt x="1708" y="1642"/>
                  </a:lnTo>
                  <a:lnTo>
                    <a:pt x="1712" y="1638"/>
                  </a:lnTo>
                  <a:lnTo>
                    <a:pt x="1717" y="1634"/>
                  </a:lnTo>
                  <a:lnTo>
                    <a:pt x="1725" y="1629"/>
                  </a:lnTo>
                  <a:lnTo>
                    <a:pt x="1735" y="1624"/>
                  </a:lnTo>
                  <a:lnTo>
                    <a:pt x="1754" y="1613"/>
                  </a:lnTo>
                  <a:lnTo>
                    <a:pt x="1770" y="1606"/>
                  </a:lnTo>
                  <a:lnTo>
                    <a:pt x="1781" y="1600"/>
                  </a:lnTo>
                  <a:lnTo>
                    <a:pt x="1791" y="1594"/>
                  </a:lnTo>
                  <a:lnTo>
                    <a:pt x="1801" y="1590"/>
                  </a:lnTo>
                  <a:lnTo>
                    <a:pt x="1814" y="1586"/>
                  </a:lnTo>
                  <a:lnTo>
                    <a:pt x="1818" y="1584"/>
                  </a:lnTo>
                  <a:lnTo>
                    <a:pt x="1822" y="1581"/>
                  </a:lnTo>
                  <a:lnTo>
                    <a:pt x="1823" y="1579"/>
                  </a:lnTo>
                  <a:lnTo>
                    <a:pt x="1823" y="1576"/>
                  </a:lnTo>
                  <a:lnTo>
                    <a:pt x="1823" y="1574"/>
                  </a:lnTo>
                  <a:lnTo>
                    <a:pt x="1822" y="1572"/>
                  </a:lnTo>
                  <a:lnTo>
                    <a:pt x="1817" y="1560"/>
                  </a:lnTo>
                  <a:lnTo>
                    <a:pt x="1811" y="1545"/>
                  </a:lnTo>
                  <a:lnTo>
                    <a:pt x="1808" y="1539"/>
                  </a:lnTo>
                  <a:lnTo>
                    <a:pt x="1804" y="1535"/>
                  </a:lnTo>
                  <a:lnTo>
                    <a:pt x="1803" y="1534"/>
                  </a:lnTo>
                  <a:lnTo>
                    <a:pt x="1801" y="1532"/>
                  </a:lnTo>
                  <a:lnTo>
                    <a:pt x="1799" y="1534"/>
                  </a:lnTo>
                  <a:lnTo>
                    <a:pt x="1798" y="1535"/>
                  </a:lnTo>
                  <a:lnTo>
                    <a:pt x="1790" y="1543"/>
                  </a:lnTo>
                  <a:lnTo>
                    <a:pt x="1779" y="1554"/>
                  </a:lnTo>
                  <a:lnTo>
                    <a:pt x="1771" y="1563"/>
                  </a:lnTo>
                  <a:lnTo>
                    <a:pt x="1768" y="1567"/>
                  </a:lnTo>
                  <a:lnTo>
                    <a:pt x="1754" y="1561"/>
                  </a:lnTo>
                  <a:lnTo>
                    <a:pt x="1744" y="1556"/>
                  </a:lnTo>
                  <a:lnTo>
                    <a:pt x="1734" y="1551"/>
                  </a:lnTo>
                  <a:lnTo>
                    <a:pt x="1720" y="1544"/>
                  </a:lnTo>
                  <a:lnTo>
                    <a:pt x="1717" y="1546"/>
                  </a:lnTo>
                  <a:lnTo>
                    <a:pt x="1712" y="1550"/>
                  </a:lnTo>
                  <a:lnTo>
                    <a:pt x="1710" y="1551"/>
                  </a:lnTo>
                  <a:lnTo>
                    <a:pt x="1708" y="1551"/>
                  </a:lnTo>
                  <a:lnTo>
                    <a:pt x="1706" y="1548"/>
                  </a:lnTo>
                  <a:lnTo>
                    <a:pt x="1706" y="1543"/>
                  </a:lnTo>
                  <a:lnTo>
                    <a:pt x="1706" y="1537"/>
                  </a:lnTo>
                  <a:lnTo>
                    <a:pt x="1707" y="1531"/>
                  </a:lnTo>
                  <a:lnTo>
                    <a:pt x="1709" y="1526"/>
                  </a:lnTo>
                  <a:lnTo>
                    <a:pt x="1711" y="1522"/>
                  </a:lnTo>
                  <a:lnTo>
                    <a:pt x="1714" y="1517"/>
                  </a:lnTo>
                  <a:lnTo>
                    <a:pt x="1715" y="1515"/>
                  </a:lnTo>
                  <a:lnTo>
                    <a:pt x="1717" y="1517"/>
                  </a:lnTo>
                  <a:lnTo>
                    <a:pt x="1723" y="1520"/>
                  </a:lnTo>
                  <a:lnTo>
                    <a:pt x="1725" y="1521"/>
                  </a:lnTo>
                  <a:lnTo>
                    <a:pt x="1727" y="1520"/>
                  </a:lnTo>
                  <a:lnTo>
                    <a:pt x="1729" y="1518"/>
                  </a:lnTo>
                  <a:lnTo>
                    <a:pt x="1730" y="1514"/>
                  </a:lnTo>
                  <a:lnTo>
                    <a:pt x="1730" y="1501"/>
                  </a:lnTo>
                  <a:lnTo>
                    <a:pt x="1730" y="1492"/>
                  </a:lnTo>
                  <a:lnTo>
                    <a:pt x="1731" y="1483"/>
                  </a:lnTo>
                  <a:lnTo>
                    <a:pt x="1732" y="1477"/>
                  </a:lnTo>
                  <a:lnTo>
                    <a:pt x="1731" y="1476"/>
                  </a:lnTo>
                  <a:lnTo>
                    <a:pt x="1729" y="1475"/>
                  </a:lnTo>
                  <a:lnTo>
                    <a:pt x="1726" y="1475"/>
                  </a:lnTo>
                  <a:lnTo>
                    <a:pt x="1722" y="1474"/>
                  </a:lnTo>
                  <a:lnTo>
                    <a:pt x="1710" y="1474"/>
                  </a:lnTo>
                  <a:lnTo>
                    <a:pt x="1696" y="1473"/>
                  </a:lnTo>
                  <a:lnTo>
                    <a:pt x="1684" y="1472"/>
                  </a:lnTo>
                  <a:lnTo>
                    <a:pt x="1672" y="1471"/>
                  </a:lnTo>
                  <a:lnTo>
                    <a:pt x="1668" y="1470"/>
                  </a:lnTo>
                  <a:lnTo>
                    <a:pt x="1665" y="1468"/>
                  </a:lnTo>
                  <a:lnTo>
                    <a:pt x="1663" y="1466"/>
                  </a:lnTo>
                  <a:lnTo>
                    <a:pt x="1663" y="1464"/>
                  </a:lnTo>
                  <a:lnTo>
                    <a:pt x="1664" y="1462"/>
                  </a:lnTo>
                  <a:lnTo>
                    <a:pt x="1666" y="1460"/>
                  </a:lnTo>
                  <a:lnTo>
                    <a:pt x="1670" y="1458"/>
                  </a:lnTo>
                  <a:lnTo>
                    <a:pt x="1674" y="1456"/>
                  </a:lnTo>
                  <a:lnTo>
                    <a:pt x="1685" y="1453"/>
                  </a:lnTo>
                  <a:lnTo>
                    <a:pt x="1696" y="1451"/>
                  </a:lnTo>
                  <a:lnTo>
                    <a:pt x="1708" y="1449"/>
                  </a:lnTo>
                  <a:lnTo>
                    <a:pt x="1719" y="1448"/>
                  </a:lnTo>
                  <a:lnTo>
                    <a:pt x="1723" y="1448"/>
                  </a:lnTo>
                  <a:lnTo>
                    <a:pt x="1726" y="1448"/>
                  </a:lnTo>
                  <a:lnTo>
                    <a:pt x="1729" y="1449"/>
                  </a:lnTo>
                  <a:lnTo>
                    <a:pt x="1730" y="1450"/>
                  </a:lnTo>
                  <a:lnTo>
                    <a:pt x="1732" y="1455"/>
                  </a:lnTo>
                  <a:lnTo>
                    <a:pt x="1736" y="1459"/>
                  </a:lnTo>
                  <a:lnTo>
                    <a:pt x="1742" y="1465"/>
                  </a:lnTo>
                  <a:lnTo>
                    <a:pt x="1748" y="1471"/>
                  </a:lnTo>
                  <a:lnTo>
                    <a:pt x="1752" y="1474"/>
                  </a:lnTo>
                  <a:lnTo>
                    <a:pt x="1757" y="1477"/>
                  </a:lnTo>
                  <a:lnTo>
                    <a:pt x="1763" y="1480"/>
                  </a:lnTo>
                  <a:lnTo>
                    <a:pt x="1768" y="1482"/>
                  </a:lnTo>
                  <a:lnTo>
                    <a:pt x="1773" y="1482"/>
                  </a:lnTo>
                  <a:lnTo>
                    <a:pt x="1776" y="1482"/>
                  </a:lnTo>
                  <a:lnTo>
                    <a:pt x="1777" y="1481"/>
                  </a:lnTo>
                  <a:lnTo>
                    <a:pt x="1778" y="1480"/>
                  </a:lnTo>
                  <a:lnTo>
                    <a:pt x="1778" y="1479"/>
                  </a:lnTo>
                  <a:lnTo>
                    <a:pt x="1778" y="1477"/>
                  </a:lnTo>
                  <a:lnTo>
                    <a:pt x="1774" y="1472"/>
                  </a:lnTo>
                  <a:lnTo>
                    <a:pt x="1769" y="1465"/>
                  </a:lnTo>
                  <a:lnTo>
                    <a:pt x="1763" y="1459"/>
                  </a:lnTo>
                  <a:lnTo>
                    <a:pt x="1756" y="1453"/>
                  </a:lnTo>
                  <a:lnTo>
                    <a:pt x="1751" y="1448"/>
                  </a:lnTo>
                  <a:lnTo>
                    <a:pt x="1747" y="1443"/>
                  </a:lnTo>
                  <a:lnTo>
                    <a:pt x="1747" y="1442"/>
                  </a:lnTo>
                  <a:lnTo>
                    <a:pt x="1747" y="1441"/>
                  </a:lnTo>
                  <a:lnTo>
                    <a:pt x="1748" y="1441"/>
                  </a:lnTo>
                  <a:lnTo>
                    <a:pt x="1750" y="1441"/>
                  </a:lnTo>
                  <a:lnTo>
                    <a:pt x="1764" y="1446"/>
                  </a:lnTo>
                  <a:lnTo>
                    <a:pt x="1778" y="1450"/>
                  </a:lnTo>
                  <a:lnTo>
                    <a:pt x="1786" y="1451"/>
                  </a:lnTo>
                  <a:lnTo>
                    <a:pt x="1792" y="1452"/>
                  </a:lnTo>
                  <a:lnTo>
                    <a:pt x="1797" y="1451"/>
                  </a:lnTo>
                  <a:lnTo>
                    <a:pt x="1802" y="1449"/>
                  </a:lnTo>
                  <a:lnTo>
                    <a:pt x="1816" y="1436"/>
                  </a:lnTo>
                  <a:lnTo>
                    <a:pt x="1835" y="1417"/>
                  </a:lnTo>
                  <a:lnTo>
                    <a:pt x="1845" y="1410"/>
                  </a:lnTo>
                  <a:lnTo>
                    <a:pt x="1854" y="1404"/>
                  </a:lnTo>
                  <a:lnTo>
                    <a:pt x="1857" y="1403"/>
                  </a:lnTo>
                  <a:lnTo>
                    <a:pt x="1860" y="1402"/>
                  </a:lnTo>
                  <a:lnTo>
                    <a:pt x="1862" y="1403"/>
                  </a:lnTo>
                  <a:lnTo>
                    <a:pt x="1863" y="1405"/>
                  </a:lnTo>
                  <a:lnTo>
                    <a:pt x="1863" y="1408"/>
                  </a:lnTo>
                  <a:lnTo>
                    <a:pt x="1863" y="1413"/>
                  </a:lnTo>
                  <a:lnTo>
                    <a:pt x="1861" y="1419"/>
                  </a:lnTo>
                  <a:lnTo>
                    <a:pt x="1859" y="1427"/>
                  </a:lnTo>
                  <a:lnTo>
                    <a:pt x="1853" y="1443"/>
                  </a:lnTo>
                  <a:lnTo>
                    <a:pt x="1845" y="1461"/>
                  </a:lnTo>
                  <a:lnTo>
                    <a:pt x="1838" y="1479"/>
                  </a:lnTo>
                  <a:lnTo>
                    <a:pt x="1832" y="1495"/>
                  </a:lnTo>
                  <a:lnTo>
                    <a:pt x="1830" y="1501"/>
                  </a:lnTo>
                  <a:lnTo>
                    <a:pt x="1829" y="1506"/>
                  </a:lnTo>
                  <a:lnTo>
                    <a:pt x="1829" y="1510"/>
                  </a:lnTo>
                  <a:lnTo>
                    <a:pt x="1830" y="1514"/>
                  </a:lnTo>
                  <a:lnTo>
                    <a:pt x="1835" y="1516"/>
                  </a:lnTo>
                  <a:lnTo>
                    <a:pt x="1844" y="1519"/>
                  </a:lnTo>
                  <a:lnTo>
                    <a:pt x="1856" y="1521"/>
                  </a:lnTo>
                  <a:lnTo>
                    <a:pt x="1869" y="1524"/>
                  </a:lnTo>
                  <a:lnTo>
                    <a:pt x="1882" y="1526"/>
                  </a:lnTo>
                  <a:lnTo>
                    <a:pt x="1892" y="1528"/>
                  </a:lnTo>
                  <a:lnTo>
                    <a:pt x="1897" y="1529"/>
                  </a:lnTo>
                  <a:lnTo>
                    <a:pt x="1900" y="1530"/>
                  </a:lnTo>
                  <a:lnTo>
                    <a:pt x="1901" y="1531"/>
                  </a:lnTo>
                  <a:lnTo>
                    <a:pt x="1902" y="1532"/>
                  </a:lnTo>
                  <a:lnTo>
                    <a:pt x="1893" y="1536"/>
                  </a:lnTo>
                  <a:lnTo>
                    <a:pt x="1882" y="1539"/>
                  </a:lnTo>
                  <a:lnTo>
                    <a:pt x="1878" y="1541"/>
                  </a:lnTo>
                  <a:lnTo>
                    <a:pt x="1875" y="1543"/>
                  </a:lnTo>
                  <a:lnTo>
                    <a:pt x="1875" y="1545"/>
                  </a:lnTo>
                  <a:lnTo>
                    <a:pt x="1875" y="1547"/>
                  </a:lnTo>
                  <a:lnTo>
                    <a:pt x="1877" y="1549"/>
                  </a:lnTo>
                  <a:lnTo>
                    <a:pt x="1880" y="1552"/>
                  </a:lnTo>
                  <a:lnTo>
                    <a:pt x="1892" y="1562"/>
                  </a:lnTo>
                  <a:lnTo>
                    <a:pt x="1902" y="1567"/>
                  </a:lnTo>
                  <a:lnTo>
                    <a:pt x="1906" y="1568"/>
                  </a:lnTo>
                  <a:lnTo>
                    <a:pt x="1910" y="1567"/>
                  </a:lnTo>
                  <a:lnTo>
                    <a:pt x="1913" y="1565"/>
                  </a:lnTo>
                  <a:lnTo>
                    <a:pt x="1917" y="1561"/>
                  </a:lnTo>
                  <a:lnTo>
                    <a:pt x="1922" y="1551"/>
                  </a:lnTo>
                  <a:lnTo>
                    <a:pt x="1927" y="1543"/>
                  </a:lnTo>
                  <a:lnTo>
                    <a:pt x="1929" y="1541"/>
                  </a:lnTo>
                  <a:lnTo>
                    <a:pt x="1931" y="1539"/>
                  </a:lnTo>
                  <a:lnTo>
                    <a:pt x="1933" y="1539"/>
                  </a:lnTo>
                  <a:lnTo>
                    <a:pt x="1934" y="1541"/>
                  </a:lnTo>
                  <a:lnTo>
                    <a:pt x="1945" y="1549"/>
                  </a:lnTo>
                  <a:lnTo>
                    <a:pt x="1952" y="1553"/>
                  </a:lnTo>
                  <a:lnTo>
                    <a:pt x="1954" y="1553"/>
                  </a:lnTo>
                  <a:lnTo>
                    <a:pt x="1958" y="1552"/>
                  </a:lnTo>
                  <a:lnTo>
                    <a:pt x="1962" y="1550"/>
                  </a:lnTo>
                  <a:lnTo>
                    <a:pt x="1965" y="1549"/>
                  </a:lnTo>
                  <a:lnTo>
                    <a:pt x="1967" y="1546"/>
                  </a:lnTo>
                  <a:lnTo>
                    <a:pt x="1970" y="1543"/>
                  </a:lnTo>
                  <a:lnTo>
                    <a:pt x="1973" y="1536"/>
                  </a:lnTo>
                  <a:lnTo>
                    <a:pt x="1976" y="1527"/>
                  </a:lnTo>
                  <a:lnTo>
                    <a:pt x="1976" y="1522"/>
                  </a:lnTo>
                  <a:lnTo>
                    <a:pt x="1976" y="1517"/>
                  </a:lnTo>
                  <a:lnTo>
                    <a:pt x="1975" y="1512"/>
                  </a:lnTo>
                  <a:lnTo>
                    <a:pt x="1974" y="1504"/>
                  </a:lnTo>
                  <a:lnTo>
                    <a:pt x="1972" y="1501"/>
                  </a:lnTo>
                  <a:lnTo>
                    <a:pt x="1970" y="1497"/>
                  </a:lnTo>
                  <a:lnTo>
                    <a:pt x="1967" y="1494"/>
                  </a:lnTo>
                  <a:lnTo>
                    <a:pt x="1964" y="1490"/>
                  </a:lnTo>
                  <a:lnTo>
                    <a:pt x="1955" y="1482"/>
                  </a:lnTo>
                  <a:lnTo>
                    <a:pt x="1945" y="1475"/>
                  </a:lnTo>
                  <a:lnTo>
                    <a:pt x="1925" y="1462"/>
                  </a:lnTo>
                  <a:lnTo>
                    <a:pt x="1909" y="1455"/>
                  </a:lnTo>
                  <a:lnTo>
                    <a:pt x="1904" y="1452"/>
                  </a:lnTo>
                  <a:lnTo>
                    <a:pt x="1900" y="1449"/>
                  </a:lnTo>
                  <a:lnTo>
                    <a:pt x="1896" y="1446"/>
                  </a:lnTo>
                  <a:lnTo>
                    <a:pt x="1892" y="1442"/>
                  </a:lnTo>
                  <a:lnTo>
                    <a:pt x="1891" y="1439"/>
                  </a:lnTo>
                  <a:lnTo>
                    <a:pt x="1890" y="1436"/>
                  </a:lnTo>
                  <a:lnTo>
                    <a:pt x="1890" y="1433"/>
                  </a:lnTo>
                  <a:lnTo>
                    <a:pt x="1891" y="1430"/>
                  </a:lnTo>
                  <a:lnTo>
                    <a:pt x="1897" y="1424"/>
                  </a:lnTo>
                  <a:lnTo>
                    <a:pt x="1903" y="1415"/>
                  </a:lnTo>
                  <a:lnTo>
                    <a:pt x="1908" y="1407"/>
                  </a:lnTo>
                  <a:lnTo>
                    <a:pt x="1911" y="1400"/>
                  </a:lnTo>
                  <a:lnTo>
                    <a:pt x="1910" y="1393"/>
                  </a:lnTo>
                  <a:lnTo>
                    <a:pt x="1905" y="1382"/>
                  </a:lnTo>
                  <a:lnTo>
                    <a:pt x="1901" y="1370"/>
                  </a:lnTo>
                  <a:lnTo>
                    <a:pt x="1898" y="1364"/>
                  </a:lnTo>
                  <a:lnTo>
                    <a:pt x="1901" y="1359"/>
                  </a:lnTo>
                  <a:lnTo>
                    <a:pt x="1906" y="1348"/>
                  </a:lnTo>
                  <a:lnTo>
                    <a:pt x="1908" y="1342"/>
                  </a:lnTo>
                  <a:lnTo>
                    <a:pt x="1908" y="1335"/>
                  </a:lnTo>
                  <a:lnTo>
                    <a:pt x="1908" y="1332"/>
                  </a:lnTo>
                  <a:lnTo>
                    <a:pt x="1907" y="1329"/>
                  </a:lnTo>
                  <a:lnTo>
                    <a:pt x="1905" y="1326"/>
                  </a:lnTo>
                  <a:lnTo>
                    <a:pt x="1903" y="1324"/>
                  </a:lnTo>
                  <a:lnTo>
                    <a:pt x="1891" y="1315"/>
                  </a:lnTo>
                  <a:lnTo>
                    <a:pt x="1880" y="1305"/>
                  </a:lnTo>
                  <a:lnTo>
                    <a:pt x="1874" y="1302"/>
                  </a:lnTo>
                  <a:lnTo>
                    <a:pt x="1868" y="1299"/>
                  </a:lnTo>
                  <a:lnTo>
                    <a:pt x="1863" y="1299"/>
                  </a:lnTo>
                  <a:lnTo>
                    <a:pt x="1858" y="1300"/>
                  </a:lnTo>
                  <a:lnTo>
                    <a:pt x="1844" y="1308"/>
                  </a:lnTo>
                  <a:lnTo>
                    <a:pt x="1824" y="1320"/>
                  </a:lnTo>
                  <a:lnTo>
                    <a:pt x="1816" y="1324"/>
                  </a:lnTo>
                  <a:lnTo>
                    <a:pt x="1810" y="1327"/>
                  </a:lnTo>
                  <a:lnTo>
                    <a:pt x="1808" y="1328"/>
                  </a:lnTo>
                  <a:lnTo>
                    <a:pt x="1807" y="1327"/>
                  </a:lnTo>
                  <a:lnTo>
                    <a:pt x="1808" y="1327"/>
                  </a:lnTo>
                  <a:lnTo>
                    <a:pt x="1809" y="1325"/>
                  </a:lnTo>
                  <a:lnTo>
                    <a:pt x="1823" y="1316"/>
                  </a:lnTo>
                  <a:lnTo>
                    <a:pt x="1841" y="1305"/>
                  </a:lnTo>
                  <a:lnTo>
                    <a:pt x="1849" y="1300"/>
                  </a:lnTo>
                  <a:lnTo>
                    <a:pt x="1854" y="1295"/>
                  </a:lnTo>
                  <a:lnTo>
                    <a:pt x="1856" y="1291"/>
                  </a:lnTo>
                  <a:lnTo>
                    <a:pt x="1856" y="1288"/>
                  </a:lnTo>
                  <a:lnTo>
                    <a:pt x="1855" y="1285"/>
                  </a:lnTo>
                  <a:lnTo>
                    <a:pt x="1853" y="1282"/>
                  </a:lnTo>
                  <a:lnTo>
                    <a:pt x="1846" y="1276"/>
                  </a:lnTo>
                  <a:lnTo>
                    <a:pt x="1839" y="1272"/>
                  </a:lnTo>
                  <a:lnTo>
                    <a:pt x="1833" y="1268"/>
                  </a:lnTo>
                  <a:lnTo>
                    <a:pt x="1826" y="1265"/>
                  </a:lnTo>
                  <a:lnTo>
                    <a:pt x="1820" y="1263"/>
                  </a:lnTo>
                  <a:lnTo>
                    <a:pt x="1814" y="1260"/>
                  </a:lnTo>
                  <a:lnTo>
                    <a:pt x="1810" y="1257"/>
                  </a:lnTo>
                  <a:lnTo>
                    <a:pt x="1807" y="1253"/>
                  </a:lnTo>
                  <a:lnTo>
                    <a:pt x="1798" y="1239"/>
                  </a:lnTo>
                  <a:lnTo>
                    <a:pt x="1787" y="1222"/>
                  </a:lnTo>
                  <a:lnTo>
                    <a:pt x="1776" y="1208"/>
                  </a:lnTo>
                  <a:lnTo>
                    <a:pt x="1771" y="1201"/>
                  </a:lnTo>
                  <a:lnTo>
                    <a:pt x="1773" y="1199"/>
                  </a:lnTo>
                  <a:lnTo>
                    <a:pt x="1776" y="1193"/>
                  </a:lnTo>
                  <a:lnTo>
                    <a:pt x="1777" y="1190"/>
                  </a:lnTo>
                  <a:lnTo>
                    <a:pt x="1778" y="1186"/>
                  </a:lnTo>
                  <a:lnTo>
                    <a:pt x="1778" y="1181"/>
                  </a:lnTo>
                  <a:lnTo>
                    <a:pt x="1776" y="1178"/>
                  </a:lnTo>
                  <a:lnTo>
                    <a:pt x="1768" y="1163"/>
                  </a:lnTo>
                  <a:lnTo>
                    <a:pt x="1756" y="1137"/>
                  </a:lnTo>
                  <a:lnTo>
                    <a:pt x="1746" y="1113"/>
                  </a:lnTo>
                  <a:lnTo>
                    <a:pt x="1741" y="1103"/>
                  </a:lnTo>
                  <a:lnTo>
                    <a:pt x="1736" y="1095"/>
                  </a:lnTo>
                  <a:lnTo>
                    <a:pt x="1727" y="1077"/>
                  </a:lnTo>
                  <a:lnTo>
                    <a:pt x="1721" y="1068"/>
                  </a:lnTo>
                  <a:lnTo>
                    <a:pt x="1715" y="1062"/>
                  </a:lnTo>
                  <a:lnTo>
                    <a:pt x="1713" y="1061"/>
                  </a:lnTo>
                  <a:lnTo>
                    <a:pt x="1711" y="1061"/>
                  </a:lnTo>
                  <a:lnTo>
                    <a:pt x="1709" y="1061"/>
                  </a:lnTo>
                  <a:lnTo>
                    <a:pt x="1708" y="1064"/>
                  </a:lnTo>
                  <a:lnTo>
                    <a:pt x="1705" y="1073"/>
                  </a:lnTo>
                  <a:lnTo>
                    <a:pt x="1699" y="1085"/>
                  </a:lnTo>
                  <a:lnTo>
                    <a:pt x="1690" y="1100"/>
                  </a:lnTo>
                  <a:lnTo>
                    <a:pt x="1682" y="1115"/>
                  </a:lnTo>
                  <a:lnTo>
                    <a:pt x="1671" y="1129"/>
                  </a:lnTo>
                  <a:lnTo>
                    <a:pt x="1662" y="1140"/>
                  </a:lnTo>
                  <a:lnTo>
                    <a:pt x="1658" y="1143"/>
                  </a:lnTo>
                  <a:lnTo>
                    <a:pt x="1654" y="1146"/>
                  </a:lnTo>
                  <a:lnTo>
                    <a:pt x="1649" y="1146"/>
                  </a:lnTo>
                  <a:lnTo>
                    <a:pt x="1646" y="1145"/>
                  </a:lnTo>
                  <a:lnTo>
                    <a:pt x="1639" y="1141"/>
                  </a:lnTo>
                  <a:lnTo>
                    <a:pt x="1633" y="1135"/>
                  </a:lnTo>
                  <a:lnTo>
                    <a:pt x="1627" y="1130"/>
                  </a:lnTo>
                  <a:lnTo>
                    <a:pt x="1622" y="1125"/>
                  </a:lnTo>
                  <a:lnTo>
                    <a:pt x="1617" y="1120"/>
                  </a:lnTo>
                  <a:lnTo>
                    <a:pt x="1614" y="1114"/>
                  </a:lnTo>
                  <a:lnTo>
                    <a:pt x="1613" y="1110"/>
                  </a:lnTo>
                  <a:lnTo>
                    <a:pt x="1612" y="1106"/>
                  </a:lnTo>
                  <a:lnTo>
                    <a:pt x="1614" y="1093"/>
                  </a:lnTo>
                  <a:lnTo>
                    <a:pt x="1614" y="1075"/>
                  </a:lnTo>
                  <a:lnTo>
                    <a:pt x="1614" y="1065"/>
                  </a:lnTo>
                  <a:lnTo>
                    <a:pt x="1613" y="1057"/>
                  </a:lnTo>
                  <a:lnTo>
                    <a:pt x="1611" y="1051"/>
                  </a:lnTo>
                  <a:lnTo>
                    <a:pt x="1607" y="1046"/>
                  </a:lnTo>
                  <a:lnTo>
                    <a:pt x="1595" y="1040"/>
                  </a:lnTo>
                  <a:lnTo>
                    <a:pt x="1577" y="1034"/>
                  </a:lnTo>
                  <a:lnTo>
                    <a:pt x="1569" y="1031"/>
                  </a:lnTo>
                  <a:lnTo>
                    <a:pt x="1561" y="1026"/>
                  </a:lnTo>
                  <a:lnTo>
                    <a:pt x="1558" y="1024"/>
                  </a:lnTo>
                  <a:lnTo>
                    <a:pt x="1556" y="1022"/>
                  </a:lnTo>
                  <a:lnTo>
                    <a:pt x="1554" y="1020"/>
                  </a:lnTo>
                  <a:lnTo>
                    <a:pt x="1554" y="1018"/>
                  </a:lnTo>
                  <a:lnTo>
                    <a:pt x="1553" y="1013"/>
                  </a:lnTo>
                  <a:lnTo>
                    <a:pt x="1550" y="1008"/>
                  </a:lnTo>
                  <a:lnTo>
                    <a:pt x="1546" y="1000"/>
                  </a:lnTo>
                  <a:lnTo>
                    <a:pt x="1541" y="994"/>
                  </a:lnTo>
                  <a:lnTo>
                    <a:pt x="1533" y="983"/>
                  </a:lnTo>
                  <a:lnTo>
                    <a:pt x="1526" y="977"/>
                  </a:lnTo>
                  <a:lnTo>
                    <a:pt x="1519" y="974"/>
                  </a:lnTo>
                  <a:lnTo>
                    <a:pt x="1509" y="972"/>
                  </a:lnTo>
                  <a:lnTo>
                    <a:pt x="1504" y="971"/>
                  </a:lnTo>
                  <a:lnTo>
                    <a:pt x="1500" y="971"/>
                  </a:lnTo>
                  <a:lnTo>
                    <a:pt x="1497" y="972"/>
                  </a:lnTo>
                  <a:lnTo>
                    <a:pt x="1496" y="973"/>
                  </a:lnTo>
                  <a:lnTo>
                    <a:pt x="1496" y="978"/>
                  </a:lnTo>
                  <a:lnTo>
                    <a:pt x="1496" y="982"/>
                  </a:lnTo>
                  <a:lnTo>
                    <a:pt x="1495" y="985"/>
                  </a:lnTo>
                  <a:lnTo>
                    <a:pt x="1494" y="986"/>
                  </a:lnTo>
                  <a:lnTo>
                    <a:pt x="1493" y="986"/>
                  </a:lnTo>
                  <a:lnTo>
                    <a:pt x="1490" y="985"/>
                  </a:lnTo>
                  <a:lnTo>
                    <a:pt x="1483" y="981"/>
                  </a:lnTo>
                  <a:lnTo>
                    <a:pt x="1475" y="978"/>
                  </a:lnTo>
                  <a:lnTo>
                    <a:pt x="1469" y="976"/>
                  </a:lnTo>
                  <a:lnTo>
                    <a:pt x="1464" y="976"/>
                  </a:lnTo>
                  <a:lnTo>
                    <a:pt x="1457" y="976"/>
                  </a:lnTo>
                  <a:lnTo>
                    <a:pt x="1447" y="976"/>
                  </a:lnTo>
                  <a:lnTo>
                    <a:pt x="1442" y="977"/>
                  </a:lnTo>
                  <a:lnTo>
                    <a:pt x="1437" y="978"/>
                  </a:lnTo>
                  <a:lnTo>
                    <a:pt x="1432" y="981"/>
                  </a:lnTo>
                  <a:lnTo>
                    <a:pt x="1430" y="986"/>
                  </a:lnTo>
                  <a:lnTo>
                    <a:pt x="1429" y="992"/>
                  </a:lnTo>
                  <a:lnTo>
                    <a:pt x="1429" y="998"/>
                  </a:lnTo>
                  <a:lnTo>
                    <a:pt x="1429" y="1007"/>
                  </a:lnTo>
                  <a:lnTo>
                    <a:pt x="1430" y="1015"/>
                  </a:lnTo>
                  <a:lnTo>
                    <a:pt x="1430" y="1023"/>
                  </a:lnTo>
                  <a:lnTo>
                    <a:pt x="1430" y="1032"/>
                  </a:lnTo>
                  <a:lnTo>
                    <a:pt x="1429" y="1038"/>
                  </a:lnTo>
                  <a:lnTo>
                    <a:pt x="1427" y="1042"/>
                  </a:lnTo>
                  <a:lnTo>
                    <a:pt x="1423" y="1048"/>
                  </a:lnTo>
                  <a:lnTo>
                    <a:pt x="1421" y="1054"/>
                  </a:lnTo>
                  <a:lnTo>
                    <a:pt x="1422" y="1058"/>
                  </a:lnTo>
                  <a:lnTo>
                    <a:pt x="1426" y="1064"/>
                  </a:lnTo>
                  <a:lnTo>
                    <a:pt x="1429" y="1071"/>
                  </a:lnTo>
                  <a:lnTo>
                    <a:pt x="1431" y="1078"/>
                  </a:lnTo>
                  <a:lnTo>
                    <a:pt x="1432" y="1081"/>
                  </a:lnTo>
                  <a:lnTo>
                    <a:pt x="1432" y="1084"/>
                  </a:lnTo>
                  <a:lnTo>
                    <a:pt x="1431" y="1087"/>
                  </a:lnTo>
                  <a:lnTo>
                    <a:pt x="1430" y="1091"/>
                  </a:lnTo>
                  <a:lnTo>
                    <a:pt x="1422" y="1097"/>
                  </a:lnTo>
                  <a:lnTo>
                    <a:pt x="1412" y="1102"/>
                  </a:lnTo>
                  <a:lnTo>
                    <a:pt x="1409" y="1104"/>
                  </a:lnTo>
                  <a:lnTo>
                    <a:pt x="1408" y="1107"/>
                  </a:lnTo>
                  <a:lnTo>
                    <a:pt x="1407" y="1109"/>
                  </a:lnTo>
                  <a:lnTo>
                    <a:pt x="1408" y="1113"/>
                  </a:lnTo>
                  <a:lnTo>
                    <a:pt x="1409" y="1117"/>
                  </a:lnTo>
                  <a:lnTo>
                    <a:pt x="1413" y="1122"/>
                  </a:lnTo>
                  <a:lnTo>
                    <a:pt x="1417" y="1127"/>
                  </a:lnTo>
                  <a:lnTo>
                    <a:pt x="1423" y="1133"/>
                  </a:lnTo>
                  <a:lnTo>
                    <a:pt x="1435" y="1147"/>
                  </a:lnTo>
                  <a:lnTo>
                    <a:pt x="1444" y="1158"/>
                  </a:lnTo>
                  <a:lnTo>
                    <a:pt x="1450" y="1168"/>
                  </a:lnTo>
                  <a:lnTo>
                    <a:pt x="1453" y="1177"/>
                  </a:lnTo>
                  <a:lnTo>
                    <a:pt x="1456" y="1187"/>
                  </a:lnTo>
                  <a:lnTo>
                    <a:pt x="1456" y="1195"/>
                  </a:lnTo>
                  <a:lnTo>
                    <a:pt x="1453" y="1203"/>
                  </a:lnTo>
                  <a:lnTo>
                    <a:pt x="1451" y="1212"/>
                  </a:lnTo>
                  <a:lnTo>
                    <a:pt x="1448" y="1221"/>
                  </a:lnTo>
                  <a:lnTo>
                    <a:pt x="1443" y="1231"/>
                  </a:lnTo>
                  <a:lnTo>
                    <a:pt x="1437" y="1240"/>
                  </a:lnTo>
                  <a:lnTo>
                    <a:pt x="1430" y="1250"/>
                  </a:lnTo>
                  <a:lnTo>
                    <a:pt x="1418" y="1264"/>
                  </a:lnTo>
                  <a:lnTo>
                    <a:pt x="1408" y="1273"/>
                  </a:lnTo>
                  <a:lnTo>
                    <a:pt x="1402" y="1277"/>
                  </a:lnTo>
                  <a:lnTo>
                    <a:pt x="1396" y="1281"/>
                  </a:lnTo>
                  <a:lnTo>
                    <a:pt x="1394" y="1283"/>
                  </a:lnTo>
                  <a:lnTo>
                    <a:pt x="1393" y="1286"/>
                  </a:lnTo>
                  <a:lnTo>
                    <a:pt x="1392" y="1288"/>
                  </a:lnTo>
                  <a:lnTo>
                    <a:pt x="1393" y="1291"/>
                  </a:lnTo>
                  <a:lnTo>
                    <a:pt x="1394" y="1300"/>
                  </a:lnTo>
                  <a:lnTo>
                    <a:pt x="1394" y="1311"/>
                  </a:lnTo>
                  <a:lnTo>
                    <a:pt x="1394" y="1323"/>
                  </a:lnTo>
                  <a:lnTo>
                    <a:pt x="1394" y="1330"/>
                  </a:lnTo>
                  <a:lnTo>
                    <a:pt x="1398" y="1344"/>
                  </a:lnTo>
                  <a:lnTo>
                    <a:pt x="1401" y="1361"/>
                  </a:lnTo>
                  <a:lnTo>
                    <a:pt x="1401" y="1371"/>
                  </a:lnTo>
                  <a:lnTo>
                    <a:pt x="1400" y="1386"/>
                  </a:lnTo>
                  <a:lnTo>
                    <a:pt x="1398" y="1392"/>
                  </a:lnTo>
                  <a:lnTo>
                    <a:pt x="1395" y="1397"/>
                  </a:lnTo>
                  <a:lnTo>
                    <a:pt x="1393" y="1399"/>
                  </a:lnTo>
                  <a:lnTo>
                    <a:pt x="1391" y="1400"/>
                  </a:lnTo>
                  <a:lnTo>
                    <a:pt x="1388" y="1400"/>
                  </a:lnTo>
                  <a:lnTo>
                    <a:pt x="1385" y="1400"/>
                  </a:lnTo>
                  <a:lnTo>
                    <a:pt x="1379" y="1398"/>
                  </a:lnTo>
                  <a:lnTo>
                    <a:pt x="1374" y="1396"/>
                  </a:lnTo>
                  <a:lnTo>
                    <a:pt x="1370" y="1392"/>
                  </a:lnTo>
                  <a:lnTo>
                    <a:pt x="1366" y="1388"/>
                  </a:lnTo>
                  <a:lnTo>
                    <a:pt x="1359" y="1378"/>
                  </a:lnTo>
                  <a:lnTo>
                    <a:pt x="1353" y="1369"/>
                  </a:lnTo>
                  <a:lnTo>
                    <a:pt x="1346" y="1362"/>
                  </a:lnTo>
                  <a:lnTo>
                    <a:pt x="1338" y="1356"/>
                  </a:lnTo>
                  <a:lnTo>
                    <a:pt x="1336" y="1353"/>
                  </a:lnTo>
                  <a:lnTo>
                    <a:pt x="1334" y="1351"/>
                  </a:lnTo>
                  <a:lnTo>
                    <a:pt x="1333" y="1349"/>
                  </a:lnTo>
                  <a:lnTo>
                    <a:pt x="1333" y="1346"/>
                  </a:lnTo>
                  <a:lnTo>
                    <a:pt x="1336" y="1342"/>
                  </a:lnTo>
                  <a:lnTo>
                    <a:pt x="1340" y="1339"/>
                  </a:lnTo>
                  <a:lnTo>
                    <a:pt x="1342" y="1338"/>
                  </a:lnTo>
                  <a:lnTo>
                    <a:pt x="1343" y="1335"/>
                  </a:lnTo>
                  <a:lnTo>
                    <a:pt x="1343" y="1334"/>
                  </a:lnTo>
                  <a:lnTo>
                    <a:pt x="1341" y="1332"/>
                  </a:lnTo>
                  <a:lnTo>
                    <a:pt x="1337" y="1327"/>
                  </a:lnTo>
                  <a:lnTo>
                    <a:pt x="1334" y="1324"/>
                  </a:lnTo>
                  <a:lnTo>
                    <a:pt x="1333" y="1322"/>
                  </a:lnTo>
                  <a:lnTo>
                    <a:pt x="1332" y="1319"/>
                  </a:lnTo>
                  <a:lnTo>
                    <a:pt x="1332" y="1316"/>
                  </a:lnTo>
                  <a:lnTo>
                    <a:pt x="1333" y="1312"/>
                  </a:lnTo>
                  <a:lnTo>
                    <a:pt x="1334" y="1308"/>
                  </a:lnTo>
                  <a:lnTo>
                    <a:pt x="1337" y="1306"/>
                  </a:lnTo>
                  <a:lnTo>
                    <a:pt x="1339" y="1304"/>
                  </a:lnTo>
                  <a:lnTo>
                    <a:pt x="1341" y="1303"/>
                  </a:lnTo>
                  <a:lnTo>
                    <a:pt x="1343" y="1301"/>
                  </a:lnTo>
                  <a:lnTo>
                    <a:pt x="1344" y="1299"/>
                  </a:lnTo>
                  <a:lnTo>
                    <a:pt x="1343" y="1295"/>
                  </a:lnTo>
                  <a:lnTo>
                    <a:pt x="1341" y="1289"/>
                  </a:lnTo>
                  <a:lnTo>
                    <a:pt x="1335" y="1278"/>
                  </a:lnTo>
                  <a:lnTo>
                    <a:pt x="1329" y="1268"/>
                  </a:lnTo>
                  <a:lnTo>
                    <a:pt x="1326" y="1264"/>
                  </a:lnTo>
                  <a:lnTo>
                    <a:pt x="1321" y="1261"/>
                  </a:lnTo>
                  <a:lnTo>
                    <a:pt x="1317" y="1259"/>
                  </a:lnTo>
                  <a:lnTo>
                    <a:pt x="1312" y="1259"/>
                  </a:lnTo>
                  <a:lnTo>
                    <a:pt x="1308" y="1258"/>
                  </a:lnTo>
                  <a:lnTo>
                    <a:pt x="1304" y="1255"/>
                  </a:lnTo>
                  <a:lnTo>
                    <a:pt x="1298" y="1250"/>
                  </a:lnTo>
                  <a:lnTo>
                    <a:pt x="1293" y="1242"/>
                  </a:lnTo>
                  <a:lnTo>
                    <a:pt x="1282" y="1223"/>
                  </a:lnTo>
                  <a:lnTo>
                    <a:pt x="1269" y="1202"/>
                  </a:lnTo>
                  <a:lnTo>
                    <a:pt x="1256" y="1181"/>
                  </a:lnTo>
                  <a:lnTo>
                    <a:pt x="1245" y="1162"/>
                  </a:lnTo>
                  <a:lnTo>
                    <a:pt x="1237" y="1147"/>
                  </a:lnTo>
                  <a:lnTo>
                    <a:pt x="1230" y="1139"/>
                  </a:lnTo>
                  <a:lnTo>
                    <a:pt x="1224" y="1135"/>
                  </a:lnTo>
                  <a:lnTo>
                    <a:pt x="1217" y="1131"/>
                  </a:lnTo>
                  <a:lnTo>
                    <a:pt x="1206" y="1128"/>
                  </a:lnTo>
                  <a:lnTo>
                    <a:pt x="1196" y="1126"/>
                  </a:lnTo>
                  <a:lnTo>
                    <a:pt x="1185" y="1125"/>
                  </a:lnTo>
                  <a:lnTo>
                    <a:pt x="1175" y="1125"/>
                  </a:lnTo>
                  <a:lnTo>
                    <a:pt x="1169" y="1125"/>
                  </a:lnTo>
                  <a:lnTo>
                    <a:pt x="1165" y="1126"/>
                  </a:lnTo>
                  <a:lnTo>
                    <a:pt x="1162" y="1127"/>
                  </a:lnTo>
                  <a:lnTo>
                    <a:pt x="1159" y="1129"/>
                  </a:lnTo>
                  <a:lnTo>
                    <a:pt x="1154" y="1134"/>
                  </a:lnTo>
                  <a:lnTo>
                    <a:pt x="1150" y="1143"/>
                  </a:lnTo>
                  <a:lnTo>
                    <a:pt x="1146" y="1151"/>
                  </a:lnTo>
                  <a:lnTo>
                    <a:pt x="1143" y="1158"/>
                  </a:lnTo>
                  <a:lnTo>
                    <a:pt x="1141" y="1167"/>
                  </a:lnTo>
                  <a:lnTo>
                    <a:pt x="1139" y="1172"/>
                  </a:lnTo>
                  <a:lnTo>
                    <a:pt x="1138" y="1173"/>
                  </a:lnTo>
                  <a:lnTo>
                    <a:pt x="1137" y="1174"/>
                  </a:lnTo>
                  <a:lnTo>
                    <a:pt x="1135" y="1174"/>
                  </a:lnTo>
                  <a:lnTo>
                    <a:pt x="1134" y="1173"/>
                  </a:lnTo>
                  <a:lnTo>
                    <a:pt x="1132" y="1172"/>
                  </a:lnTo>
                  <a:lnTo>
                    <a:pt x="1131" y="1173"/>
                  </a:lnTo>
                  <a:lnTo>
                    <a:pt x="1129" y="1174"/>
                  </a:lnTo>
                  <a:lnTo>
                    <a:pt x="1127" y="1177"/>
                  </a:lnTo>
                  <a:lnTo>
                    <a:pt x="1123" y="1186"/>
                  </a:lnTo>
                  <a:lnTo>
                    <a:pt x="1119" y="1196"/>
                  </a:lnTo>
                  <a:lnTo>
                    <a:pt x="1115" y="1206"/>
                  </a:lnTo>
                  <a:lnTo>
                    <a:pt x="1111" y="1215"/>
                  </a:lnTo>
                  <a:lnTo>
                    <a:pt x="1108" y="1218"/>
                  </a:lnTo>
                  <a:lnTo>
                    <a:pt x="1106" y="1220"/>
                  </a:lnTo>
                  <a:lnTo>
                    <a:pt x="1103" y="1221"/>
                  </a:lnTo>
                  <a:lnTo>
                    <a:pt x="1100" y="1220"/>
                  </a:lnTo>
                  <a:lnTo>
                    <a:pt x="1098" y="1219"/>
                  </a:lnTo>
                  <a:lnTo>
                    <a:pt x="1095" y="1215"/>
                  </a:lnTo>
                  <a:lnTo>
                    <a:pt x="1093" y="1211"/>
                  </a:lnTo>
                  <a:lnTo>
                    <a:pt x="1090" y="1206"/>
                  </a:lnTo>
                  <a:lnTo>
                    <a:pt x="1085" y="1192"/>
                  </a:lnTo>
                  <a:lnTo>
                    <a:pt x="1079" y="1176"/>
                  </a:lnTo>
                  <a:lnTo>
                    <a:pt x="1075" y="1161"/>
                  </a:lnTo>
                  <a:lnTo>
                    <a:pt x="1073" y="1145"/>
                  </a:lnTo>
                  <a:lnTo>
                    <a:pt x="1071" y="1131"/>
                  </a:lnTo>
                  <a:lnTo>
                    <a:pt x="1072" y="1120"/>
                  </a:lnTo>
                  <a:lnTo>
                    <a:pt x="1075" y="1101"/>
                  </a:lnTo>
                  <a:lnTo>
                    <a:pt x="1080" y="1079"/>
                  </a:lnTo>
                  <a:lnTo>
                    <a:pt x="1084" y="1068"/>
                  </a:lnTo>
                  <a:lnTo>
                    <a:pt x="1087" y="1058"/>
                  </a:lnTo>
                  <a:lnTo>
                    <a:pt x="1092" y="1048"/>
                  </a:lnTo>
                  <a:lnTo>
                    <a:pt x="1099" y="1040"/>
                  </a:lnTo>
                  <a:lnTo>
                    <a:pt x="1119" y="1019"/>
                  </a:lnTo>
                  <a:lnTo>
                    <a:pt x="1143" y="993"/>
                  </a:lnTo>
                  <a:lnTo>
                    <a:pt x="1165" y="970"/>
                  </a:lnTo>
                  <a:lnTo>
                    <a:pt x="1174" y="960"/>
                  </a:lnTo>
                  <a:lnTo>
                    <a:pt x="1173" y="959"/>
                  </a:lnTo>
                  <a:lnTo>
                    <a:pt x="1173" y="955"/>
                  </a:lnTo>
                  <a:lnTo>
                    <a:pt x="1173" y="952"/>
                  </a:lnTo>
                  <a:lnTo>
                    <a:pt x="1174" y="950"/>
                  </a:lnTo>
                  <a:lnTo>
                    <a:pt x="1175" y="947"/>
                  </a:lnTo>
                  <a:lnTo>
                    <a:pt x="1179" y="944"/>
                  </a:lnTo>
                  <a:lnTo>
                    <a:pt x="1189" y="933"/>
                  </a:lnTo>
                  <a:lnTo>
                    <a:pt x="1197" y="928"/>
                  </a:lnTo>
                  <a:lnTo>
                    <a:pt x="1204" y="925"/>
                  </a:lnTo>
                  <a:lnTo>
                    <a:pt x="1215" y="921"/>
                  </a:lnTo>
                  <a:lnTo>
                    <a:pt x="1220" y="918"/>
                  </a:lnTo>
                  <a:lnTo>
                    <a:pt x="1224" y="915"/>
                  </a:lnTo>
                  <a:lnTo>
                    <a:pt x="1227" y="913"/>
                  </a:lnTo>
                  <a:lnTo>
                    <a:pt x="1229" y="911"/>
                  </a:lnTo>
                  <a:lnTo>
                    <a:pt x="1234" y="903"/>
                  </a:lnTo>
                  <a:lnTo>
                    <a:pt x="1242" y="891"/>
                  </a:lnTo>
                  <a:lnTo>
                    <a:pt x="1245" y="887"/>
                  </a:lnTo>
                  <a:lnTo>
                    <a:pt x="1249" y="884"/>
                  </a:lnTo>
                  <a:lnTo>
                    <a:pt x="1250" y="883"/>
                  </a:lnTo>
                  <a:lnTo>
                    <a:pt x="1252" y="883"/>
                  </a:lnTo>
                  <a:lnTo>
                    <a:pt x="1253" y="884"/>
                  </a:lnTo>
                  <a:lnTo>
                    <a:pt x="1253" y="885"/>
                  </a:lnTo>
                  <a:lnTo>
                    <a:pt x="1254" y="890"/>
                  </a:lnTo>
                  <a:lnTo>
                    <a:pt x="1252" y="896"/>
                  </a:lnTo>
                  <a:lnTo>
                    <a:pt x="1249" y="905"/>
                  </a:lnTo>
                  <a:lnTo>
                    <a:pt x="1245" y="913"/>
                  </a:lnTo>
                  <a:lnTo>
                    <a:pt x="1242" y="922"/>
                  </a:lnTo>
                  <a:lnTo>
                    <a:pt x="1239" y="929"/>
                  </a:lnTo>
                  <a:lnTo>
                    <a:pt x="1238" y="934"/>
                  </a:lnTo>
                  <a:lnTo>
                    <a:pt x="1238" y="937"/>
                  </a:lnTo>
                  <a:lnTo>
                    <a:pt x="1245" y="938"/>
                  </a:lnTo>
                  <a:lnTo>
                    <a:pt x="1255" y="939"/>
                  </a:lnTo>
                  <a:lnTo>
                    <a:pt x="1261" y="940"/>
                  </a:lnTo>
                  <a:lnTo>
                    <a:pt x="1266" y="943"/>
                  </a:lnTo>
                  <a:lnTo>
                    <a:pt x="1270" y="945"/>
                  </a:lnTo>
                  <a:lnTo>
                    <a:pt x="1273" y="949"/>
                  </a:lnTo>
                  <a:lnTo>
                    <a:pt x="1276" y="956"/>
                  </a:lnTo>
                  <a:lnTo>
                    <a:pt x="1278" y="961"/>
                  </a:lnTo>
                  <a:lnTo>
                    <a:pt x="1281" y="961"/>
                  </a:lnTo>
                  <a:lnTo>
                    <a:pt x="1283" y="960"/>
                  </a:lnTo>
                  <a:lnTo>
                    <a:pt x="1286" y="957"/>
                  </a:lnTo>
                  <a:lnTo>
                    <a:pt x="1291" y="953"/>
                  </a:lnTo>
                  <a:lnTo>
                    <a:pt x="1295" y="946"/>
                  </a:lnTo>
                  <a:lnTo>
                    <a:pt x="1299" y="938"/>
                  </a:lnTo>
                  <a:lnTo>
                    <a:pt x="1304" y="930"/>
                  </a:lnTo>
                  <a:lnTo>
                    <a:pt x="1307" y="922"/>
                  </a:lnTo>
                  <a:lnTo>
                    <a:pt x="1309" y="915"/>
                  </a:lnTo>
                  <a:lnTo>
                    <a:pt x="1312" y="911"/>
                  </a:lnTo>
                  <a:lnTo>
                    <a:pt x="1314" y="910"/>
                  </a:lnTo>
                  <a:lnTo>
                    <a:pt x="1316" y="910"/>
                  </a:lnTo>
                  <a:lnTo>
                    <a:pt x="1318" y="911"/>
                  </a:lnTo>
                  <a:lnTo>
                    <a:pt x="1320" y="913"/>
                  </a:lnTo>
                  <a:lnTo>
                    <a:pt x="1327" y="918"/>
                  </a:lnTo>
                  <a:lnTo>
                    <a:pt x="1335" y="923"/>
                  </a:lnTo>
                  <a:lnTo>
                    <a:pt x="1344" y="928"/>
                  </a:lnTo>
                  <a:lnTo>
                    <a:pt x="1355" y="931"/>
                  </a:lnTo>
                  <a:lnTo>
                    <a:pt x="1364" y="933"/>
                  </a:lnTo>
                  <a:lnTo>
                    <a:pt x="1373" y="934"/>
                  </a:lnTo>
                  <a:lnTo>
                    <a:pt x="1376" y="934"/>
                  </a:lnTo>
                  <a:lnTo>
                    <a:pt x="1378" y="934"/>
                  </a:lnTo>
                  <a:lnTo>
                    <a:pt x="1379" y="933"/>
                  </a:lnTo>
                  <a:lnTo>
                    <a:pt x="1380" y="932"/>
                  </a:lnTo>
                  <a:lnTo>
                    <a:pt x="1380" y="930"/>
                  </a:lnTo>
                  <a:lnTo>
                    <a:pt x="1379" y="926"/>
                  </a:lnTo>
                  <a:lnTo>
                    <a:pt x="1378" y="923"/>
                  </a:lnTo>
                  <a:lnTo>
                    <a:pt x="1375" y="917"/>
                  </a:lnTo>
                  <a:lnTo>
                    <a:pt x="1368" y="907"/>
                  </a:lnTo>
                  <a:lnTo>
                    <a:pt x="1355" y="893"/>
                  </a:lnTo>
                  <a:lnTo>
                    <a:pt x="1347" y="886"/>
                  </a:lnTo>
                  <a:lnTo>
                    <a:pt x="1337" y="880"/>
                  </a:lnTo>
                  <a:lnTo>
                    <a:pt x="1327" y="873"/>
                  </a:lnTo>
                  <a:lnTo>
                    <a:pt x="1317" y="869"/>
                  </a:lnTo>
                  <a:lnTo>
                    <a:pt x="1309" y="864"/>
                  </a:lnTo>
                  <a:lnTo>
                    <a:pt x="1303" y="860"/>
                  </a:lnTo>
                  <a:lnTo>
                    <a:pt x="1300" y="858"/>
                  </a:lnTo>
                  <a:lnTo>
                    <a:pt x="1299" y="857"/>
                  </a:lnTo>
                  <a:lnTo>
                    <a:pt x="1299" y="855"/>
                  </a:lnTo>
                  <a:lnTo>
                    <a:pt x="1300" y="852"/>
                  </a:lnTo>
                  <a:lnTo>
                    <a:pt x="1308" y="847"/>
                  </a:lnTo>
                  <a:lnTo>
                    <a:pt x="1317" y="843"/>
                  </a:lnTo>
                  <a:lnTo>
                    <a:pt x="1321" y="841"/>
                  </a:lnTo>
                  <a:lnTo>
                    <a:pt x="1325" y="838"/>
                  </a:lnTo>
                  <a:lnTo>
                    <a:pt x="1328" y="834"/>
                  </a:lnTo>
                  <a:lnTo>
                    <a:pt x="1329" y="828"/>
                  </a:lnTo>
                  <a:lnTo>
                    <a:pt x="1331" y="816"/>
                  </a:lnTo>
                  <a:lnTo>
                    <a:pt x="1334" y="804"/>
                  </a:lnTo>
                  <a:lnTo>
                    <a:pt x="1336" y="799"/>
                  </a:lnTo>
                  <a:lnTo>
                    <a:pt x="1339" y="796"/>
                  </a:lnTo>
                  <a:lnTo>
                    <a:pt x="1342" y="793"/>
                  </a:lnTo>
                  <a:lnTo>
                    <a:pt x="1347" y="791"/>
                  </a:lnTo>
                  <a:lnTo>
                    <a:pt x="1348" y="790"/>
                  </a:lnTo>
                  <a:lnTo>
                    <a:pt x="1350" y="788"/>
                  </a:lnTo>
                  <a:lnTo>
                    <a:pt x="1351" y="784"/>
                  </a:lnTo>
                  <a:lnTo>
                    <a:pt x="1352" y="780"/>
                  </a:lnTo>
                  <a:lnTo>
                    <a:pt x="1352" y="770"/>
                  </a:lnTo>
                  <a:lnTo>
                    <a:pt x="1352" y="759"/>
                  </a:lnTo>
                  <a:lnTo>
                    <a:pt x="1350" y="738"/>
                  </a:lnTo>
                  <a:lnTo>
                    <a:pt x="1349" y="729"/>
                  </a:lnTo>
                  <a:lnTo>
                    <a:pt x="1352" y="723"/>
                  </a:lnTo>
                  <a:lnTo>
                    <a:pt x="1358" y="707"/>
                  </a:lnTo>
                  <a:lnTo>
                    <a:pt x="1360" y="698"/>
                  </a:lnTo>
                  <a:lnTo>
                    <a:pt x="1361" y="690"/>
                  </a:lnTo>
                  <a:lnTo>
                    <a:pt x="1361" y="687"/>
                  </a:lnTo>
                  <a:lnTo>
                    <a:pt x="1360" y="684"/>
                  </a:lnTo>
                  <a:lnTo>
                    <a:pt x="1359" y="682"/>
                  </a:lnTo>
                  <a:lnTo>
                    <a:pt x="1357" y="680"/>
                  </a:lnTo>
                  <a:lnTo>
                    <a:pt x="1342" y="671"/>
                  </a:lnTo>
                  <a:lnTo>
                    <a:pt x="1322" y="662"/>
                  </a:lnTo>
                  <a:lnTo>
                    <a:pt x="1314" y="657"/>
                  </a:lnTo>
                  <a:lnTo>
                    <a:pt x="1307" y="653"/>
                  </a:lnTo>
                  <a:lnTo>
                    <a:pt x="1303" y="650"/>
                  </a:lnTo>
                  <a:lnTo>
                    <a:pt x="1303" y="648"/>
                  </a:lnTo>
                  <a:lnTo>
                    <a:pt x="1316" y="643"/>
                  </a:lnTo>
                  <a:lnTo>
                    <a:pt x="1342" y="634"/>
                  </a:lnTo>
                  <a:lnTo>
                    <a:pt x="1356" y="630"/>
                  </a:lnTo>
                  <a:lnTo>
                    <a:pt x="1369" y="628"/>
                  </a:lnTo>
                  <a:lnTo>
                    <a:pt x="1373" y="628"/>
                  </a:lnTo>
                  <a:lnTo>
                    <a:pt x="1377" y="629"/>
                  </a:lnTo>
                  <a:lnTo>
                    <a:pt x="1379" y="630"/>
                  </a:lnTo>
                  <a:lnTo>
                    <a:pt x="1380" y="634"/>
                  </a:lnTo>
                  <a:lnTo>
                    <a:pt x="1380" y="637"/>
                  </a:lnTo>
                  <a:lnTo>
                    <a:pt x="1381" y="640"/>
                  </a:lnTo>
                  <a:lnTo>
                    <a:pt x="1382" y="642"/>
                  </a:lnTo>
                  <a:lnTo>
                    <a:pt x="1384" y="645"/>
                  </a:lnTo>
                  <a:lnTo>
                    <a:pt x="1388" y="648"/>
                  </a:lnTo>
                  <a:lnTo>
                    <a:pt x="1393" y="651"/>
                  </a:lnTo>
                  <a:lnTo>
                    <a:pt x="1398" y="652"/>
                  </a:lnTo>
                  <a:lnTo>
                    <a:pt x="1402" y="652"/>
                  </a:lnTo>
                  <a:lnTo>
                    <a:pt x="1404" y="651"/>
                  </a:lnTo>
                  <a:lnTo>
                    <a:pt x="1405" y="650"/>
                  </a:lnTo>
                  <a:lnTo>
                    <a:pt x="1406" y="649"/>
                  </a:lnTo>
                  <a:lnTo>
                    <a:pt x="1406" y="646"/>
                  </a:lnTo>
                  <a:lnTo>
                    <a:pt x="1407" y="641"/>
                  </a:lnTo>
                  <a:lnTo>
                    <a:pt x="1409" y="636"/>
                  </a:lnTo>
                  <a:lnTo>
                    <a:pt x="1413" y="629"/>
                  </a:lnTo>
                  <a:lnTo>
                    <a:pt x="1417" y="625"/>
                  </a:lnTo>
                  <a:lnTo>
                    <a:pt x="1420" y="623"/>
                  </a:lnTo>
                  <a:lnTo>
                    <a:pt x="1422" y="622"/>
                  </a:lnTo>
                  <a:lnTo>
                    <a:pt x="1425" y="621"/>
                  </a:lnTo>
                  <a:lnTo>
                    <a:pt x="1427" y="621"/>
                  </a:lnTo>
                  <a:lnTo>
                    <a:pt x="1430" y="621"/>
                  </a:lnTo>
                  <a:lnTo>
                    <a:pt x="1434" y="623"/>
                  </a:lnTo>
                  <a:lnTo>
                    <a:pt x="1437" y="625"/>
                  </a:lnTo>
                  <a:lnTo>
                    <a:pt x="1440" y="628"/>
                  </a:lnTo>
                  <a:lnTo>
                    <a:pt x="1462" y="657"/>
                  </a:lnTo>
                  <a:lnTo>
                    <a:pt x="1493" y="698"/>
                  </a:lnTo>
                  <a:lnTo>
                    <a:pt x="1509" y="720"/>
                  </a:lnTo>
                  <a:lnTo>
                    <a:pt x="1522" y="740"/>
                  </a:lnTo>
                  <a:lnTo>
                    <a:pt x="1527" y="749"/>
                  </a:lnTo>
                  <a:lnTo>
                    <a:pt x="1530" y="756"/>
                  </a:lnTo>
                  <a:lnTo>
                    <a:pt x="1532" y="761"/>
                  </a:lnTo>
                  <a:lnTo>
                    <a:pt x="1532" y="766"/>
                  </a:lnTo>
                  <a:lnTo>
                    <a:pt x="1532" y="771"/>
                  </a:lnTo>
                  <a:lnTo>
                    <a:pt x="1532" y="775"/>
                  </a:lnTo>
                  <a:lnTo>
                    <a:pt x="1533" y="779"/>
                  </a:lnTo>
                  <a:lnTo>
                    <a:pt x="1535" y="782"/>
                  </a:lnTo>
                  <a:lnTo>
                    <a:pt x="1539" y="785"/>
                  </a:lnTo>
                  <a:lnTo>
                    <a:pt x="1541" y="788"/>
                  </a:lnTo>
                  <a:lnTo>
                    <a:pt x="1553" y="788"/>
                  </a:lnTo>
                  <a:lnTo>
                    <a:pt x="1578" y="791"/>
                  </a:lnTo>
                  <a:lnTo>
                    <a:pt x="1591" y="793"/>
                  </a:lnTo>
                  <a:lnTo>
                    <a:pt x="1600" y="795"/>
                  </a:lnTo>
                  <a:lnTo>
                    <a:pt x="1604" y="797"/>
                  </a:lnTo>
                  <a:lnTo>
                    <a:pt x="1606" y="799"/>
                  </a:lnTo>
                  <a:lnTo>
                    <a:pt x="1607" y="800"/>
                  </a:lnTo>
                  <a:lnTo>
                    <a:pt x="1606" y="803"/>
                  </a:lnTo>
                  <a:lnTo>
                    <a:pt x="1599" y="813"/>
                  </a:lnTo>
                  <a:lnTo>
                    <a:pt x="1592" y="821"/>
                  </a:lnTo>
                  <a:lnTo>
                    <a:pt x="1589" y="823"/>
                  </a:lnTo>
                  <a:lnTo>
                    <a:pt x="1585" y="825"/>
                  </a:lnTo>
                  <a:lnTo>
                    <a:pt x="1581" y="824"/>
                  </a:lnTo>
                  <a:lnTo>
                    <a:pt x="1578" y="822"/>
                  </a:lnTo>
                  <a:lnTo>
                    <a:pt x="1571" y="814"/>
                  </a:lnTo>
                  <a:lnTo>
                    <a:pt x="1561" y="804"/>
                  </a:lnTo>
                  <a:lnTo>
                    <a:pt x="1556" y="800"/>
                  </a:lnTo>
                  <a:lnTo>
                    <a:pt x="1550" y="797"/>
                  </a:lnTo>
                  <a:lnTo>
                    <a:pt x="1544" y="794"/>
                  </a:lnTo>
                  <a:lnTo>
                    <a:pt x="1537" y="793"/>
                  </a:lnTo>
                  <a:lnTo>
                    <a:pt x="1532" y="793"/>
                  </a:lnTo>
                  <a:lnTo>
                    <a:pt x="1527" y="793"/>
                  </a:lnTo>
                  <a:lnTo>
                    <a:pt x="1522" y="794"/>
                  </a:lnTo>
                  <a:lnTo>
                    <a:pt x="1518" y="796"/>
                  </a:lnTo>
                  <a:lnTo>
                    <a:pt x="1515" y="798"/>
                  </a:lnTo>
                  <a:lnTo>
                    <a:pt x="1513" y="802"/>
                  </a:lnTo>
                  <a:lnTo>
                    <a:pt x="1511" y="808"/>
                  </a:lnTo>
                  <a:lnTo>
                    <a:pt x="1510" y="816"/>
                  </a:lnTo>
                  <a:lnTo>
                    <a:pt x="1510" y="823"/>
                  </a:lnTo>
                  <a:lnTo>
                    <a:pt x="1512" y="829"/>
                  </a:lnTo>
                  <a:lnTo>
                    <a:pt x="1515" y="835"/>
                  </a:lnTo>
                  <a:lnTo>
                    <a:pt x="1517" y="839"/>
                  </a:lnTo>
                  <a:lnTo>
                    <a:pt x="1519" y="842"/>
                  </a:lnTo>
                  <a:lnTo>
                    <a:pt x="1518" y="843"/>
                  </a:lnTo>
                  <a:lnTo>
                    <a:pt x="1514" y="845"/>
                  </a:lnTo>
                  <a:lnTo>
                    <a:pt x="1507" y="845"/>
                  </a:lnTo>
                  <a:lnTo>
                    <a:pt x="1485" y="843"/>
                  </a:lnTo>
                  <a:lnTo>
                    <a:pt x="1465" y="842"/>
                  </a:lnTo>
                  <a:lnTo>
                    <a:pt x="1461" y="842"/>
                  </a:lnTo>
                  <a:lnTo>
                    <a:pt x="1457" y="842"/>
                  </a:lnTo>
                  <a:lnTo>
                    <a:pt x="1453" y="843"/>
                  </a:lnTo>
                  <a:lnTo>
                    <a:pt x="1449" y="845"/>
                  </a:lnTo>
                  <a:lnTo>
                    <a:pt x="1447" y="847"/>
                  </a:lnTo>
                  <a:lnTo>
                    <a:pt x="1445" y="850"/>
                  </a:lnTo>
                  <a:lnTo>
                    <a:pt x="1443" y="855"/>
                  </a:lnTo>
                  <a:lnTo>
                    <a:pt x="1442" y="860"/>
                  </a:lnTo>
                  <a:lnTo>
                    <a:pt x="1440" y="870"/>
                  </a:lnTo>
                  <a:lnTo>
                    <a:pt x="1436" y="879"/>
                  </a:lnTo>
                  <a:lnTo>
                    <a:pt x="1431" y="887"/>
                  </a:lnTo>
                  <a:lnTo>
                    <a:pt x="1427" y="894"/>
                  </a:lnTo>
                  <a:lnTo>
                    <a:pt x="1423" y="901"/>
                  </a:lnTo>
                  <a:lnTo>
                    <a:pt x="1421" y="906"/>
                  </a:lnTo>
                  <a:lnTo>
                    <a:pt x="1421" y="908"/>
                  </a:lnTo>
                  <a:lnTo>
                    <a:pt x="1421" y="910"/>
                  </a:lnTo>
                  <a:lnTo>
                    <a:pt x="1422" y="911"/>
                  </a:lnTo>
                  <a:lnTo>
                    <a:pt x="1423" y="913"/>
                  </a:lnTo>
                  <a:lnTo>
                    <a:pt x="1426" y="913"/>
                  </a:lnTo>
                  <a:lnTo>
                    <a:pt x="1429" y="913"/>
                  </a:lnTo>
                  <a:lnTo>
                    <a:pt x="1434" y="911"/>
                  </a:lnTo>
                  <a:lnTo>
                    <a:pt x="1439" y="909"/>
                  </a:lnTo>
                  <a:lnTo>
                    <a:pt x="1450" y="903"/>
                  </a:lnTo>
                  <a:lnTo>
                    <a:pt x="1464" y="895"/>
                  </a:lnTo>
                  <a:lnTo>
                    <a:pt x="1476" y="889"/>
                  </a:lnTo>
                  <a:lnTo>
                    <a:pt x="1489" y="884"/>
                  </a:lnTo>
                  <a:lnTo>
                    <a:pt x="1494" y="883"/>
                  </a:lnTo>
                  <a:lnTo>
                    <a:pt x="1498" y="883"/>
                  </a:lnTo>
                  <a:lnTo>
                    <a:pt x="1502" y="884"/>
                  </a:lnTo>
                  <a:lnTo>
                    <a:pt x="1505" y="886"/>
                  </a:lnTo>
                  <a:lnTo>
                    <a:pt x="1513" y="896"/>
                  </a:lnTo>
                  <a:lnTo>
                    <a:pt x="1522" y="904"/>
                  </a:lnTo>
                  <a:lnTo>
                    <a:pt x="1525" y="907"/>
                  </a:lnTo>
                  <a:lnTo>
                    <a:pt x="1527" y="909"/>
                  </a:lnTo>
                  <a:lnTo>
                    <a:pt x="1529" y="912"/>
                  </a:lnTo>
                  <a:lnTo>
                    <a:pt x="1529" y="916"/>
                  </a:lnTo>
                  <a:lnTo>
                    <a:pt x="1530" y="921"/>
                  </a:lnTo>
                  <a:lnTo>
                    <a:pt x="1532" y="923"/>
                  </a:lnTo>
                  <a:lnTo>
                    <a:pt x="1535" y="925"/>
                  </a:lnTo>
                  <a:lnTo>
                    <a:pt x="1539" y="927"/>
                  </a:lnTo>
                  <a:lnTo>
                    <a:pt x="1544" y="928"/>
                  </a:lnTo>
                  <a:lnTo>
                    <a:pt x="1547" y="929"/>
                  </a:lnTo>
                  <a:lnTo>
                    <a:pt x="1550" y="931"/>
                  </a:lnTo>
                  <a:lnTo>
                    <a:pt x="1552" y="933"/>
                  </a:lnTo>
                  <a:lnTo>
                    <a:pt x="1557" y="942"/>
                  </a:lnTo>
                  <a:lnTo>
                    <a:pt x="1563" y="954"/>
                  </a:lnTo>
                  <a:lnTo>
                    <a:pt x="1568" y="960"/>
                  </a:lnTo>
                  <a:lnTo>
                    <a:pt x="1572" y="966"/>
                  </a:lnTo>
                  <a:lnTo>
                    <a:pt x="1576" y="971"/>
                  </a:lnTo>
                  <a:lnTo>
                    <a:pt x="1580" y="973"/>
                  </a:lnTo>
                  <a:lnTo>
                    <a:pt x="1589" y="974"/>
                  </a:lnTo>
                  <a:lnTo>
                    <a:pt x="1598" y="974"/>
                  </a:lnTo>
                  <a:lnTo>
                    <a:pt x="1602" y="974"/>
                  </a:lnTo>
                  <a:lnTo>
                    <a:pt x="1606" y="974"/>
                  </a:lnTo>
                  <a:lnTo>
                    <a:pt x="1610" y="976"/>
                  </a:lnTo>
                  <a:lnTo>
                    <a:pt x="1614" y="978"/>
                  </a:lnTo>
                  <a:lnTo>
                    <a:pt x="1619" y="981"/>
                  </a:lnTo>
                  <a:lnTo>
                    <a:pt x="1628" y="985"/>
                  </a:lnTo>
                  <a:lnTo>
                    <a:pt x="1641" y="987"/>
                  </a:lnTo>
                  <a:lnTo>
                    <a:pt x="1654" y="989"/>
                  </a:lnTo>
                  <a:lnTo>
                    <a:pt x="1676" y="992"/>
                  </a:lnTo>
                  <a:lnTo>
                    <a:pt x="1684" y="991"/>
                  </a:lnTo>
                  <a:lnTo>
                    <a:pt x="1670" y="978"/>
                  </a:lnTo>
                  <a:lnTo>
                    <a:pt x="1645" y="954"/>
                  </a:lnTo>
                  <a:lnTo>
                    <a:pt x="1634" y="942"/>
                  </a:lnTo>
                  <a:lnTo>
                    <a:pt x="1624" y="930"/>
                  </a:lnTo>
                  <a:lnTo>
                    <a:pt x="1621" y="926"/>
                  </a:lnTo>
                  <a:lnTo>
                    <a:pt x="1620" y="923"/>
                  </a:lnTo>
                  <a:lnTo>
                    <a:pt x="1620" y="922"/>
                  </a:lnTo>
                  <a:lnTo>
                    <a:pt x="1620" y="921"/>
                  </a:lnTo>
                  <a:lnTo>
                    <a:pt x="1620" y="921"/>
                  </a:lnTo>
                  <a:lnTo>
                    <a:pt x="1621" y="921"/>
                  </a:lnTo>
                  <a:lnTo>
                    <a:pt x="1629" y="924"/>
                  </a:lnTo>
                  <a:lnTo>
                    <a:pt x="1641" y="933"/>
                  </a:lnTo>
                  <a:lnTo>
                    <a:pt x="1657" y="945"/>
                  </a:lnTo>
                  <a:lnTo>
                    <a:pt x="1672" y="958"/>
                  </a:lnTo>
                  <a:lnTo>
                    <a:pt x="1688" y="971"/>
                  </a:lnTo>
                  <a:lnTo>
                    <a:pt x="1702" y="980"/>
                  </a:lnTo>
                  <a:lnTo>
                    <a:pt x="1707" y="985"/>
                  </a:lnTo>
                  <a:lnTo>
                    <a:pt x="1711" y="986"/>
                  </a:lnTo>
                  <a:lnTo>
                    <a:pt x="1713" y="987"/>
                  </a:lnTo>
                  <a:lnTo>
                    <a:pt x="1714" y="987"/>
                  </a:lnTo>
                  <a:lnTo>
                    <a:pt x="1715" y="986"/>
                  </a:lnTo>
                  <a:lnTo>
                    <a:pt x="1715" y="985"/>
                  </a:lnTo>
                  <a:lnTo>
                    <a:pt x="1716" y="979"/>
                  </a:lnTo>
                  <a:lnTo>
                    <a:pt x="1714" y="973"/>
                  </a:lnTo>
                  <a:lnTo>
                    <a:pt x="1712" y="968"/>
                  </a:lnTo>
                  <a:lnTo>
                    <a:pt x="1709" y="961"/>
                  </a:lnTo>
                  <a:lnTo>
                    <a:pt x="1706" y="956"/>
                  </a:lnTo>
                  <a:lnTo>
                    <a:pt x="1704" y="952"/>
                  </a:lnTo>
                  <a:lnTo>
                    <a:pt x="1703" y="949"/>
                  </a:lnTo>
                  <a:lnTo>
                    <a:pt x="1704" y="948"/>
                  </a:lnTo>
                  <a:lnTo>
                    <a:pt x="1711" y="945"/>
                  </a:lnTo>
                  <a:lnTo>
                    <a:pt x="1722" y="940"/>
                  </a:lnTo>
                  <a:lnTo>
                    <a:pt x="1727" y="937"/>
                  </a:lnTo>
                  <a:lnTo>
                    <a:pt x="1730" y="934"/>
                  </a:lnTo>
                  <a:lnTo>
                    <a:pt x="1731" y="932"/>
                  </a:lnTo>
                  <a:lnTo>
                    <a:pt x="1732" y="931"/>
                  </a:lnTo>
                  <a:lnTo>
                    <a:pt x="1732" y="929"/>
                  </a:lnTo>
                  <a:lnTo>
                    <a:pt x="1731" y="927"/>
                  </a:lnTo>
                  <a:lnTo>
                    <a:pt x="1721" y="915"/>
                  </a:lnTo>
                  <a:lnTo>
                    <a:pt x="1703" y="901"/>
                  </a:lnTo>
                  <a:lnTo>
                    <a:pt x="1684" y="884"/>
                  </a:lnTo>
                  <a:lnTo>
                    <a:pt x="1671" y="872"/>
                  </a:lnTo>
                  <a:lnTo>
                    <a:pt x="1667" y="865"/>
                  </a:lnTo>
                  <a:lnTo>
                    <a:pt x="1662" y="855"/>
                  </a:lnTo>
                  <a:lnTo>
                    <a:pt x="1657" y="841"/>
                  </a:lnTo>
                  <a:lnTo>
                    <a:pt x="1652" y="827"/>
                  </a:lnTo>
                  <a:lnTo>
                    <a:pt x="1649" y="815"/>
                  </a:lnTo>
                  <a:lnTo>
                    <a:pt x="1647" y="804"/>
                  </a:lnTo>
                  <a:lnTo>
                    <a:pt x="1648" y="800"/>
                  </a:lnTo>
                  <a:lnTo>
                    <a:pt x="1648" y="798"/>
                  </a:lnTo>
                  <a:lnTo>
                    <a:pt x="1650" y="797"/>
                  </a:lnTo>
                  <a:lnTo>
                    <a:pt x="1654" y="798"/>
                  </a:lnTo>
                  <a:lnTo>
                    <a:pt x="1667" y="806"/>
                  </a:lnTo>
                  <a:lnTo>
                    <a:pt x="1683" y="814"/>
                  </a:lnTo>
                  <a:lnTo>
                    <a:pt x="1690" y="818"/>
                  </a:lnTo>
                  <a:lnTo>
                    <a:pt x="1696" y="822"/>
                  </a:lnTo>
                  <a:lnTo>
                    <a:pt x="1699" y="825"/>
                  </a:lnTo>
                  <a:lnTo>
                    <a:pt x="1701" y="827"/>
                  </a:lnTo>
                  <a:lnTo>
                    <a:pt x="1702" y="830"/>
                  </a:lnTo>
                  <a:lnTo>
                    <a:pt x="1703" y="834"/>
                  </a:lnTo>
                  <a:lnTo>
                    <a:pt x="1703" y="843"/>
                  </a:lnTo>
                  <a:lnTo>
                    <a:pt x="1704" y="848"/>
                  </a:lnTo>
                  <a:lnTo>
                    <a:pt x="1707" y="852"/>
                  </a:lnTo>
                  <a:lnTo>
                    <a:pt x="1711" y="857"/>
                  </a:lnTo>
                  <a:lnTo>
                    <a:pt x="1719" y="864"/>
                  </a:lnTo>
                  <a:lnTo>
                    <a:pt x="1728" y="873"/>
                  </a:lnTo>
                  <a:lnTo>
                    <a:pt x="1732" y="878"/>
                  </a:lnTo>
                  <a:lnTo>
                    <a:pt x="1736" y="880"/>
                  </a:lnTo>
                  <a:lnTo>
                    <a:pt x="1737" y="880"/>
                  </a:lnTo>
                  <a:lnTo>
                    <a:pt x="1739" y="879"/>
                  </a:lnTo>
                  <a:lnTo>
                    <a:pt x="1741" y="878"/>
                  </a:lnTo>
                  <a:lnTo>
                    <a:pt x="1742" y="876"/>
                  </a:lnTo>
                  <a:lnTo>
                    <a:pt x="1745" y="862"/>
                  </a:lnTo>
                  <a:lnTo>
                    <a:pt x="1747" y="844"/>
                  </a:lnTo>
                  <a:lnTo>
                    <a:pt x="1748" y="835"/>
                  </a:lnTo>
                  <a:lnTo>
                    <a:pt x="1749" y="827"/>
                  </a:lnTo>
                  <a:lnTo>
                    <a:pt x="1751" y="821"/>
                  </a:lnTo>
                  <a:lnTo>
                    <a:pt x="1754" y="817"/>
                  </a:lnTo>
                  <a:lnTo>
                    <a:pt x="1761" y="811"/>
                  </a:lnTo>
                  <a:lnTo>
                    <a:pt x="1769" y="803"/>
                  </a:lnTo>
                  <a:lnTo>
                    <a:pt x="1772" y="800"/>
                  </a:lnTo>
                  <a:lnTo>
                    <a:pt x="1773" y="797"/>
                  </a:lnTo>
                  <a:lnTo>
                    <a:pt x="1773" y="793"/>
                  </a:lnTo>
                  <a:lnTo>
                    <a:pt x="1771" y="789"/>
                  </a:lnTo>
                  <a:lnTo>
                    <a:pt x="1766" y="783"/>
                  </a:lnTo>
                  <a:lnTo>
                    <a:pt x="1759" y="779"/>
                  </a:lnTo>
                  <a:lnTo>
                    <a:pt x="1752" y="774"/>
                  </a:lnTo>
                  <a:lnTo>
                    <a:pt x="1743" y="769"/>
                  </a:lnTo>
                  <a:lnTo>
                    <a:pt x="1727" y="760"/>
                  </a:lnTo>
                  <a:lnTo>
                    <a:pt x="1715" y="753"/>
                  </a:lnTo>
                  <a:lnTo>
                    <a:pt x="1701" y="741"/>
                  </a:lnTo>
                  <a:lnTo>
                    <a:pt x="1674" y="722"/>
                  </a:lnTo>
                  <a:lnTo>
                    <a:pt x="1647" y="702"/>
                  </a:lnTo>
                  <a:lnTo>
                    <a:pt x="1633" y="690"/>
                  </a:lnTo>
                  <a:lnTo>
                    <a:pt x="1629" y="687"/>
                  </a:lnTo>
                  <a:lnTo>
                    <a:pt x="1627" y="683"/>
                  </a:lnTo>
                  <a:lnTo>
                    <a:pt x="1625" y="679"/>
                  </a:lnTo>
                  <a:lnTo>
                    <a:pt x="1623" y="674"/>
                  </a:lnTo>
                  <a:lnTo>
                    <a:pt x="1622" y="670"/>
                  </a:lnTo>
                  <a:lnTo>
                    <a:pt x="1622" y="665"/>
                  </a:lnTo>
                  <a:lnTo>
                    <a:pt x="1622" y="660"/>
                  </a:lnTo>
                  <a:lnTo>
                    <a:pt x="1624" y="656"/>
                  </a:lnTo>
                  <a:lnTo>
                    <a:pt x="1628" y="651"/>
                  </a:lnTo>
                  <a:lnTo>
                    <a:pt x="1634" y="647"/>
                  </a:lnTo>
                  <a:lnTo>
                    <a:pt x="1640" y="645"/>
                  </a:lnTo>
                  <a:lnTo>
                    <a:pt x="1646" y="642"/>
                  </a:lnTo>
                  <a:lnTo>
                    <a:pt x="1651" y="640"/>
                  </a:lnTo>
                  <a:lnTo>
                    <a:pt x="1654" y="638"/>
                  </a:lnTo>
                  <a:lnTo>
                    <a:pt x="1655" y="636"/>
                  </a:lnTo>
                  <a:lnTo>
                    <a:pt x="1654" y="635"/>
                  </a:lnTo>
                  <a:lnTo>
                    <a:pt x="1652" y="632"/>
                  </a:lnTo>
                  <a:lnTo>
                    <a:pt x="1649" y="630"/>
                  </a:lnTo>
                  <a:lnTo>
                    <a:pt x="1643" y="627"/>
                  </a:lnTo>
                  <a:lnTo>
                    <a:pt x="1637" y="627"/>
                  </a:lnTo>
                  <a:lnTo>
                    <a:pt x="1630" y="627"/>
                  </a:lnTo>
                  <a:lnTo>
                    <a:pt x="1624" y="629"/>
                  </a:lnTo>
                  <a:lnTo>
                    <a:pt x="1616" y="634"/>
                  </a:lnTo>
                  <a:lnTo>
                    <a:pt x="1613" y="636"/>
                  </a:lnTo>
                  <a:lnTo>
                    <a:pt x="1608" y="637"/>
                  </a:lnTo>
                  <a:lnTo>
                    <a:pt x="1600" y="639"/>
                  </a:lnTo>
                  <a:lnTo>
                    <a:pt x="1597" y="639"/>
                  </a:lnTo>
                  <a:lnTo>
                    <a:pt x="1594" y="638"/>
                  </a:lnTo>
                  <a:lnTo>
                    <a:pt x="1594" y="637"/>
                  </a:lnTo>
                  <a:lnTo>
                    <a:pt x="1594" y="635"/>
                  </a:lnTo>
                  <a:lnTo>
                    <a:pt x="1594" y="634"/>
                  </a:lnTo>
                  <a:lnTo>
                    <a:pt x="1596" y="630"/>
                  </a:lnTo>
                  <a:lnTo>
                    <a:pt x="1599" y="626"/>
                  </a:lnTo>
                  <a:lnTo>
                    <a:pt x="1604" y="624"/>
                  </a:lnTo>
                  <a:lnTo>
                    <a:pt x="1610" y="622"/>
                  </a:lnTo>
                  <a:lnTo>
                    <a:pt x="1614" y="621"/>
                  </a:lnTo>
                  <a:lnTo>
                    <a:pt x="1617" y="620"/>
                  </a:lnTo>
                  <a:lnTo>
                    <a:pt x="1618" y="618"/>
                  </a:lnTo>
                  <a:lnTo>
                    <a:pt x="1618" y="616"/>
                  </a:lnTo>
                  <a:lnTo>
                    <a:pt x="1615" y="613"/>
                  </a:lnTo>
                  <a:lnTo>
                    <a:pt x="1608" y="609"/>
                  </a:lnTo>
                  <a:lnTo>
                    <a:pt x="1602" y="606"/>
                  </a:lnTo>
                  <a:lnTo>
                    <a:pt x="1596" y="604"/>
                  </a:lnTo>
                  <a:lnTo>
                    <a:pt x="1590" y="603"/>
                  </a:lnTo>
                  <a:lnTo>
                    <a:pt x="1583" y="602"/>
                  </a:lnTo>
                  <a:lnTo>
                    <a:pt x="1578" y="602"/>
                  </a:lnTo>
                  <a:lnTo>
                    <a:pt x="1574" y="603"/>
                  </a:lnTo>
                  <a:lnTo>
                    <a:pt x="1571" y="604"/>
                  </a:lnTo>
                  <a:lnTo>
                    <a:pt x="1568" y="604"/>
                  </a:lnTo>
                  <a:lnTo>
                    <a:pt x="1562" y="604"/>
                  </a:lnTo>
                  <a:lnTo>
                    <a:pt x="1556" y="602"/>
                  </a:lnTo>
                  <a:lnTo>
                    <a:pt x="1551" y="600"/>
                  </a:lnTo>
                  <a:lnTo>
                    <a:pt x="1546" y="597"/>
                  </a:lnTo>
                  <a:lnTo>
                    <a:pt x="1542" y="594"/>
                  </a:lnTo>
                  <a:lnTo>
                    <a:pt x="1542" y="593"/>
                  </a:lnTo>
                  <a:lnTo>
                    <a:pt x="1542" y="591"/>
                  </a:lnTo>
                  <a:lnTo>
                    <a:pt x="1544" y="588"/>
                  </a:lnTo>
                  <a:lnTo>
                    <a:pt x="1547" y="587"/>
                  </a:lnTo>
                  <a:lnTo>
                    <a:pt x="1557" y="582"/>
                  </a:lnTo>
                  <a:lnTo>
                    <a:pt x="1566" y="580"/>
                  </a:lnTo>
                  <a:lnTo>
                    <a:pt x="1568" y="579"/>
                  </a:lnTo>
                  <a:lnTo>
                    <a:pt x="1569" y="578"/>
                  </a:lnTo>
                  <a:lnTo>
                    <a:pt x="1569" y="576"/>
                  </a:lnTo>
                  <a:lnTo>
                    <a:pt x="1568" y="573"/>
                  </a:lnTo>
                  <a:lnTo>
                    <a:pt x="1562" y="562"/>
                  </a:lnTo>
                  <a:lnTo>
                    <a:pt x="1554" y="550"/>
                  </a:lnTo>
                  <a:lnTo>
                    <a:pt x="1552" y="548"/>
                  </a:lnTo>
                  <a:lnTo>
                    <a:pt x="1549" y="547"/>
                  </a:lnTo>
                  <a:lnTo>
                    <a:pt x="1547" y="545"/>
                  </a:lnTo>
                  <a:lnTo>
                    <a:pt x="1545" y="545"/>
                  </a:lnTo>
                  <a:lnTo>
                    <a:pt x="1542" y="547"/>
                  </a:lnTo>
                  <a:lnTo>
                    <a:pt x="1540" y="548"/>
                  </a:lnTo>
                  <a:lnTo>
                    <a:pt x="1539" y="551"/>
                  </a:lnTo>
                  <a:lnTo>
                    <a:pt x="1537" y="556"/>
                  </a:lnTo>
                  <a:lnTo>
                    <a:pt x="1535" y="564"/>
                  </a:lnTo>
                  <a:lnTo>
                    <a:pt x="1532" y="571"/>
                  </a:lnTo>
                  <a:lnTo>
                    <a:pt x="1529" y="574"/>
                  </a:lnTo>
                  <a:lnTo>
                    <a:pt x="1525" y="576"/>
                  </a:lnTo>
                  <a:lnTo>
                    <a:pt x="1522" y="575"/>
                  </a:lnTo>
                  <a:lnTo>
                    <a:pt x="1518" y="574"/>
                  </a:lnTo>
                  <a:lnTo>
                    <a:pt x="1515" y="573"/>
                  </a:lnTo>
                  <a:lnTo>
                    <a:pt x="1512" y="571"/>
                  </a:lnTo>
                  <a:lnTo>
                    <a:pt x="1508" y="566"/>
                  </a:lnTo>
                  <a:lnTo>
                    <a:pt x="1502" y="563"/>
                  </a:lnTo>
                  <a:lnTo>
                    <a:pt x="1498" y="561"/>
                  </a:lnTo>
                  <a:lnTo>
                    <a:pt x="1496" y="558"/>
                  </a:lnTo>
                  <a:lnTo>
                    <a:pt x="1494" y="555"/>
                  </a:lnTo>
                  <a:lnTo>
                    <a:pt x="1493" y="551"/>
                  </a:lnTo>
                  <a:lnTo>
                    <a:pt x="1492" y="543"/>
                  </a:lnTo>
                  <a:lnTo>
                    <a:pt x="1494" y="535"/>
                  </a:lnTo>
                  <a:lnTo>
                    <a:pt x="1494" y="532"/>
                  </a:lnTo>
                  <a:lnTo>
                    <a:pt x="1494" y="529"/>
                  </a:lnTo>
                  <a:lnTo>
                    <a:pt x="1493" y="526"/>
                  </a:lnTo>
                  <a:lnTo>
                    <a:pt x="1490" y="523"/>
                  </a:lnTo>
                  <a:lnTo>
                    <a:pt x="1476" y="511"/>
                  </a:lnTo>
                  <a:lnTo>
                    <a:pt x="1466" y="504"/>
                  </a:lnTo>
                  <a:lnTo>
                    <a:pt x="1464" y="503"/>
                  </a:lnTo>
                  <a:lnTo>
                    <a:pt x="1463" y="500"/>
                  </a:lnTo>
                  <a:lnTo>
                    <a:pt x="1463" y="499"/>
                  </a:lnTo>
                  <a:lnTo>
                    <a:pt x="1463" y="497"/>
                  </a:lnTo>
                  <a:lnTo>
                    <a:pt x="1465" y="493"/>
                  </a:lnTo>
                  <a:lnTo>
                    <a:pt x="1468" y="489"/>
                  </a:lnTo>
                  <a:lnTo>
                    <a:pt x="1470" y="487"/>
                  </a:lnTo>
                  <a:lnTo>
                    <a:pt x="1469" y="483"/>
                  </a:lnTo>
                  <a:lnTo>
                    <a:pt x="1468" y="478"/>
                  </a:lnTo>
                  <a:lnTo>
                    <a:pt x="1466" y="473"/>
                  </a:lnTo>
                  <a:lnTo>
                    <a:pt x="1462" y="469"/>
                  </a:lnTo>
                  <a:lnTo>
                    <a:pt x="1458" y="465"/>
                  </a:lnTo>
                  <a:lnTo>
                    <a:pt x="1453" y="462"/>
                  </a:lnTo>
                  <a:lnTo>
                    <a:pt x="1448" y="461"/>
                  </a:lnTo>
                  <a:lnTo>
                    <a:pt x="1432" y="461"/>
                  </a:lnTo>
                  <a:lnTo>
                    <a:pt x="1413" y="462"/>
                  </a:lnTo>
                  <a:lnTo>
                    <a:pt x="1404" y="463"/>
                  </a:lnTo>
                  <a:lnTo>
                    <a:pt x="1397" y="464"/>
                  </a:lnTo>
                  <a:lnTo>
                    <a:pt x="1395" y="465"/>
                  </a:lnTo>
                  <a:lnTo>
                    <a:pt x="1393" y="465"/>
                  </a:lnTo>
                  <a:lnTo>
                    <a:pt x="1393" y="466"/>
                  </a:lnTo>
                  <a:lnTo>
                    <a:pt x="1393" y="467"/>
                  </a:lnTo>
                  <a:lnTo>
                    <a:pt x="1401" y="473"/>
                  </a:lnTo>
                  <a:lnTo>
                    <a:pt x="1416" y="482"/>
                  </a:lnTo>
                  <a:lnTo>
                    <a:pt x="1430" y="489"/>
                  </a:lnTo>
                  <a:lnTo>
                    <a:pt x="1437" y="492"/>
                  </a:lnTo>
                  <a:lnTo>
                    <a:pt x="1441" y="492"/>
                  </a:lnTo>
                  <a:lnTo>
                    <a:pt x="1449" y="492"/>
                  </a:lnTo>
                  <a:lnTo>
                    <a:pt x="1453" y="493"/>
                  </a:lnTo>
                  <a:lnTo>
                    <a:pt x="1457" y="493"/>
                  </a:lnTo>
                  <a:lnTo>
                    <a:pt x="1458" y="494"/>
                  </a:lnTo>
                  <a:lnTo>
                    <a:pt x="1458" y="495"/>
                  </a:lnTo>
                  <a:lnTo>
                    <a:pt x="1458" y="496"/>
                  </a:lnTo>
                  <a:lnTo>
                    <a:pt x="1458" y="497"/>
                  </a:lnTo>
                  <a:lnTo>
                    <a:pt x="1452" y="501"/>
                  </a:lnTo>
                  <a:lnTo>
                    <a:pt x="1445" y="506"/>
                  </a:lnTo>
                  <a:lnTo>
                    <a:pt x="1442" y="509"/>
                  </a:lnTo>
                  <a:lnTo>
                    <a:pt x="1439" y="511"/>
                  </a:lnTo>
                  <a:lnTo>
                    <a:pt x="1437" y="514"/>
                  </a:lnTo>
                  <a:lnTo>
                    <a:pt x="1435" y="518"/>
                  </a:lnTo>
                  <a:lnTo>
                    <a:pt x="1432" y="528"/>
                  </a:lnTo>
                  <a:lnTo>
                    <a:pt x="1429" y="537"/>
                  </a:lnTo>
                  <a:lnTo>
                    <a:pt x="1426" y="540"/>
                  </a:lnTo>
                  <a:lnTo>
                    <a:pt x="1423" y="542"/>
                  </a:lnTo>
                  <a:lnTo>
                    <a:pt x="1422" y="542"/>
                  </a:lnTo>
                  <a:lnTo>
                    <a:pt x="1420" y="542"/>
                  </a:lnTo>
                  <a:lnTo>
                    <a:pt x="1418" y="541"/>
                  </a:lnTo>
                  <a:lnTo>
                    <a:pt x="1416" y="539"/>
                  </a:lnTo>
                  <a:lnTo>
                    <a:pt x="1408" y="531"/>
                  </a:lnTo>
                  <a:lnTo>
                    <a:pt x="1403" y="525"/>
                  </a:lnTo>
                  <a:lnTo>
                    <a:pt x="1402" y="523"/>
                  </a:lnTo>
                  <a:lnTo>
                    <a:pt x="1400" y="522"/>
                  </a:lnTo>
                  <a:lnTo>
                    <a:pt x="1399" y="523"/>
                  </a:lnTo>
                  <a:lnTo>
                    <a:pt x="1397" y="527"/>
                  </a:lnTo>
                  <a:lnTo>
                    <a:pt x="1393" y="535"/>
                  </a:lnTo>
                  <a:lnTo>
                    <a:pt x="1386" y="543"/>
                  </a:lnTo>
                  <a:lnTo>
                    <a:pt x="1383" y="547"/>
                  </a:lnTo>
                  <a:lnTo>
                    <a:pt x="1381" y="548"/>
                  </a:lnTo>
                  <a:lnTo>
                    <a:pt x="1380" y="549"/>
                  </a:lnTo>
                  <a:lnTo>
                    <a:pt x="1379" y="548"/>
                  </a:lnTo>
                  <a:lnTo>
                    <a:pt x="1378" y="548"/>
                  </a:lnTo>
                  <a:lnTo>
                    <a:pt x="1378" y="547"/>
                  </a:lnTo>
                  <a:lnTo>
                    <a:pt x="1380" y="538"/>
                  </a:lnTo>
                  <a:lnTo>
                    <a:pt x="1383" y="527"/>
                  </a:lnTo>
                  <a:lnTo>
                    <a:pt x="1385" y="520"/>
                  </a:lnTo>
                  <a:lnTo>
                    <a:pt x="1387" y="514"/>
                  </a:lnTo>
                  <a:lnTo>
                    <a:pt x="1387" y="509"/>
                  </a:lnTo>
                  <a:lnTo>
                    <a:pt x="1386" y="506"/>
                  </a:lnTo>
                  <a:lnTo>
                    <a:pt x="1382" y="494"/>
                  </a:lnTo>
                  <a:lnTo>
                    <a:pt x="1378" y="477"/>
                  </a:lnTo>
                  <a:lnTo>
                    <a:pt x="1375" y="469"/>
                  </a:lnTo>
                  <a:lnTo>
                    <a:pt x="1373" y="462"/>
                  </a:lnTo>
                  <a:lnTo>
                    <a:pt x="1371" y="457"/>
                  </a:lnTo>
                  <a:lnTo>
                    <a:pt x="1369" y="455"/>
                  </a:lnTo>
                  <a:lnTo>
                    <a:pt x="1364" y="456"/>
                  </a:lnTo>
                  <a:lnTo>
                    <a:pt x="1355" y="462"/>
                  </a:lnTo>
                  <a:lnTo>
                    <a:pt x="1342" y="470"/>
                  </a:lnTo>
                  <a:lnTo>
                    <a:pt x="1330" y="479"/>
                  </a:lnTo>
                  <a:lnTo>
                    <a:pt x="1316" y="489"/>
                  </a:lnTo>
                  <a:lnTo>
                    <a:pt x="1306" y="498"/>
                  </a:lnTo>
                  <a:lnTo>
                    <a:pt x="1303" y="501"/>
                  </a:lnTo>
                  <a:lnTo>
                    <a:pt x="1299" y="506"/>
                  </a:lnTo>
                  <a:lnTo>
                    <a:pt x="1298" y="508"/>
                  </a:lnTo>
                  <a:lnTo>
                    <a:pt x="1298" y="510"/>
                  </a:lnTo>
                  <a:lnTo>
                    <a:pt x="1305" y="517"/>
                  </a:lnTo>
                  <a:lnTo>
                    <a:pt x="1311" y="526"/>
                  </a:lnTo>
                  <a:lnTo>
                    <a:pt x="1314" y="529"/>
                  </a:lnTo>
                  <a:lnTo>
                    <a:pt x="1315" y="533"/>
                  </a:lnTo>
                  <a:lnTo>
                    <a:pt x="1316" y="535"/>
                  </a:lnTo>
                  <a:lnTo>
                    <a:pt x="1315" y="538"/>
                  </a:lnTo>
                  <a:lnTo>
                    <a:pt x="1312" y="541"/>
                  </a:lnTo>
                  <a:lnTo>
                    <a:pt x="1308" y="544"/>
                  </a:lnTo>
                  <a:lnTo>
                    <a:pt x="1306" y="548"/>
                  </a:lnTo>
                  <a:lnTo>
                    <a:pt x="1305" y="551"/>
                  </a:lnTo>
                  <a:lnTo>
                    <a:pt x="1307" y="554"/>
                  </a:lnTo>
                  <a:lnTo>
                    <a:pt x="1309" y="559"/>
                  </a:lnTo>
                  <a:lnTo>
                    <a:pt x="1311" y="564"/>
                  </a:lnTo>
                  <a:lnTo>
                    <a:pt x="1311" y="571"/>
                  </a:lnTo>
                  <a:lnTo>
                    <a:pt x="1310" y="578"/>
                  </a:lnTo>
                  <a:lnTo>
                    <a:pt x="1309" y="587"/>
                  </a:lnTo>
                  <a:lnTo>
                    <a:pt x="1307" y="595"/>
                  </a:lnTo>
                  <a:lnTo>
                    <a:pt x="1305" y="599"/>
                  </a:lnTo>
                  <a:lnTo>
                    <a:pt x="1299" y="597"/>
                  </a:lnTo>
                  <a:lnTo>
                    <a:pt x="1292" y="594"/>
                  </a:lnTo>
                  <a:lnTo>
                    <a:pt x="1288" y="591"/>
                  </a:lnTo>
                  <a:lnTo>
                    <a:pt x="1285" y="587"/>
                  </a:lnTo>
                  <a:lnTo>
                    <a:pt x="1283" y="584"/>
                  </a:lnTo>
                  <a:lnTo>
                    <a:pt x="1282" y="580"/>
                  </a:lnTo>
                  <a:lnTo>
                    <a:pt x="1279" y="571"/>
                  </a:lnTo>
                  <a:lnTo>
                    <a:pt x="1274" y="557"/>
                  </a:lnTo>
                  <a:lnTo>
                    <a:pt x="1269" y="544"/>
                  </a:lnTo>
                  <a:lnTo>
                    <a:pt x="1266" y="536"/>
                  </a:lnTo>
                  <a:lnTo>
                    <a:pt x="1266" y="534"/>
                  </a:lnTo>
                  <a:lnTo>
                    <a:pt x="1267" y="532"/>
                  </a:lnTo>
                  <a:lnTo>
                    <a:pt x="1268" y="530"/>
                  </a:lnTo>
                  <a:lnTo>
                    <a:pt x="1270" y="529"/>
                  </a:lnTo>
                  <a:lnTo>
                    <a:pt x="1273" y="526"/>
                  </a:lnTo>
                  <a:lnTo>
                    <a:pt x="1275" y="523"/>
                  </a:lnTo>
                  <a:lnTo>
                    <a:pt x="1273" y="520"/>
                  </a:lnTo>
                  <a:lnTo>
                    <a:pt x="1269" y="516"/>
                  </a:lnTo>
                  <a:lnTo>
                    <a:pt x="1267" y="513"/>
                  </a:lnTo>
                  <a:lnTo>
                    <a:pt x="1266" y="511"/>
                  </a:lnTo>
                  <a:lnTo>
                    <a:pt x="1266" y="509"/>
                  </a:lnTo>
                  <a:lnTo>
                    <a:pt x="1268" y="506"/>
                  </a:lnTo>
                  <a:lnTo>
                    <a:pt x="1279" y="495"/>
                  </a:lnTo>
                  <a:lnTo>
                    <a:pt x="1296" y="478"/>
                  </a:lnTo>
                  <a:lnTo>
                    <a:pt x="1305" y="469"/>
                  </a:lnTo>
                  <a:lnTo>
                    <a:pt x="1311" y="462"/>
                  </a:lnTo>
                  <a:lnTo>
                    <a:pt x="1313" y="459"/>
                  </a:lnTo>
                  <a:lnTo>
                    <a:pt x="1314" y="455"/>
                  </a:lnTo>
                  <a:lnTo>
                    <a:pt x="1315" y="454"/>
                  </a:lnTo>
                  <a:lnTo>
                    <a:pt x="1314" y="453"/>
                  </a:lnTo>
                  <a:lnTo>
                    <a:pt x="1310" y="453"/>
                  </a:lnTo>
                  <a:lnTo>
                    <a:pt x="1301" y="453"/>
                  </a:lnTo>
                  <a:lnTo>
                    <a:pt x="1290" y="455"/>
                  </a:lnTo>
                  <a:lnTo>
                    <a:pt x="1277" y="459"/>
                  </a:lnTo>
                  <a:lnTo>
                    <a:pt x="1265" y="462"/>
                  </a:lnTo>
                  <a:lnTo>
                    <a:pt x="1253" y="465"/>
                  </a:lnTo>
                  <a:lnTo>
                    <a:pt x="1245" y="469"/>
                  </a:lnTo>
                  <a:lnTo>
                    <a:pt x="1241" y="473"/>
                  </a:lnTo>
                  <a:lnTo>
                    <a:pt x="1232" y="485"/>
                  </a:lnTo>
                  <a:lnTo>
                    <a:pt x="1221" y="501"/>
                  </a:lnTo>
                  <a:lnTo>
                    <a:pt x="1215" y="510"/>
                  </a:lnTo>
                  <a:lnTo>
                    <a:pt x="1209" y="519"/>
                  </a:lnTo>
                  <a:lnTo>
                    <a:pt x="1205" y="529"/>
                  </a:lnTo>
                  <a:lnTo>
                    <a:pt x="1203" y="537"/>
                  </a:lnTo>
                  <a:lnTo>
                    <a:pt x="1202" y="553"/>
                  </a:lnTo>
                  <a:lnTo>
                    <a:pt x="1203" y="567"/>
                  </a:lnTo>
                  <a:lnTo>
                    <a:pt x="1203" y="574"/>
                  </a:lnTo>
                  <a:lnTo>
                    <a:pt x="1205" y="579"/>
                  </a:lnTo>
                  <a:lnTo>
                    <a:pt x="1207" y="583"/>
                  </a:lnTo>
                  <a:lnTo>
                    <a:pt x="1210" y="586"/>
                  </a:lnTo>
                  <a:lnTo>
                    <a:pt x="1223" y="590"/>
                  </a:lnTo>
                  <a:lnTo>
                    <a:pt x="1241" y="592"/>
                  </a:lnTo>
                  <a:lnTo>
                    <a:pt x="1248" y="593"/>
                  </a:lnTo>
                  <a:lnTo>
                    <a:pt x="1253" y="595"/>
                  </a:lnTo>
                  <a:lnTo>
                    <a:pt x="1255" y="595"/>
                  </a:lnTo>
                  <a:lnTo>
                    <a:pt x="1255" y="596"/>
                  </a:lnTo>
                  <a:lnTo>
                    <a:pt x="1255" y="597"/>
                  </a:lnTo>
                  <a:lnTo>
                    <a:pt x="1253" y="598"/>
                  </a:lnTo>
                  <a:lnTo>
                    <a:pt x="1241" y="602"/>
                  </a:lnTo>
                  <a:lnTo>
                    <a:pt x="1224" y="606"/>
                  </a:lnTo>
                  <a:lnTo>
                    <a:pt x="1217" y="607"/>
                  </a:lnTo>
                  <a:lnTo>
                    <a:pt x="1211" y="609"/>
                  </a:lnTo>
                  <a:lnTo>
                    <a:pt x="1210" y="610"/>
                  </a:lnTo>
                  <a:lnTo>
                    <a:pt x="1209" y="612"/>
                  </a:lnTo>
                  <a:lnTo>
                    <a:pt x="1209" y="612"/>
                  </a:lnTo>
                  <a:lnTo>
                    <a:pt x="1210" y="613"/>
                  </a:lnTo>
                  <a:lnTo>
                    <a:pt x="1227" y="620"/>
                  </a:lnTo>
                  <a:lnTo>
                    <a:pt x="1254" y="635"/>
                  </a:lnTo>
                  <a:lnTo>
                    <a:pt x="1279" y="648"/>
                  </a:lnTo>
                  <a:lnTo>
                    <a:pt x="1291" y="653"/>
                  </a:lnTo>
                  <a:lnTo>
                    <a:pt x="1290" y="659"/>
                  </a:lnTo>
                  <a:lnTo>
                    <a:pt x="1288" y="670"/>
                  </a:lnTo>
                  <a:lnTo>
                    <a:pt x="1287" y="676"/>
                  </a:lnTo>
                  <a:lnTo>
                    <a:pt x="1287" y="683"/>
                  </a:lnTo>
                  <a:lnTo>
                    <a:pt x="1287" y="687"/>
                  </a:lnTo>
                  <a:lnTo>
                    <a:pt x="1289" y="690"/>
                  </a:lnTo>
                  <a:lnTo>
                    <a:pt x="1292" y="692"/>
                  </a:lnTo>
                  <a:lnTo>
                    <a:pt x="1297" y="693"/>
                  </a:lnTo>
                  <a:lnTo>
                    <a:pt x="1298" y="694"/>
                  </a:lnTo>
                  <a:lnTo>
                    <a:pt x="1299" y="696"/>
                  </a:lnTo>
                  <a:lnTo>
                    <a:pt x="1300" y="697"/>
                  </a:lnTo>
                  <a:lnTo>
                    <a:pt x="1299" y="700"/>
                  </a:lnTo>
                  <a:lnTo>
                    <a:pt x="1287" y="707"/>
                  </a:lnTo>
                  <a:lnTo>
                    <a:pt x="1272" y="717"/>
                  </a:lnTo>
                  <a:lnTo>
                    <a:pt x="1271" y="725"/>
                  </a:lnTo>
                  <a:lnTo>
                    <a:pt x="1270" y="733"/>
                  </a:lnTo>
                  <a:lnTo>
                    <a:pt x="1270" y="737"/>
                  </a:lnTo>
                  <a:lnTo>
                    <a:pt x="1268" y="741"/>
                  </a:lnTo>
                  <a:lnTo>
                    <a:pt x="1267" y="746"/>
                  </a:lnTo>
                  <a:lnTo>
                    <a:pt x="1264" y="750"/>
                  </a:lnTo>
                  <a:lnTo>
                    <a:pt x="1254" y="763"/>
                  </a:lnTo>
                  <a:lnTo>
                    <a:pt x="1248" y="774"/>
                  </a:lnTo>
                  <a:lnTo>
                    <a:pt x="1245" y="774"/>
                  </a:lnTo>
                  <a:lnTo>
                    <a:pt x="1240" y="771"/>
                  </a:lnTo>
                  <a:lnTo>
                    <a:pt x="1235" y="767"/>
                  </a:lnTo>
                  <a:lnTo>
                    <a:pt x="1230" y="760"/>
                  </a:lnTo>
                  <a:lnTo>
                    <a:pt x="1227" y="754"/>
                  </a:lnTo>
                  <a:lnTo>
                    <a:pt x="1225" y="748"/>
                  </a:lnTo>
                  <a:lnTo>
                    <a:pt x="1224" y="744"/>
                  </a:lnTo>
                  <a:lnTo>
                    <a:pt x="1224" y="740"/>
                  </a:lnTo>
                  <a:lnTo>
                    <a:pt x="1225" y="738"/>
                  </a:lnTo>
                  <a:lnTo>
                    <a:pt x="1226" y="735"/>
                  </a:lnTo>
                  <a:lnTo>
                    <a:pt x="1232" y="726"/>
                  </a:lnTo>
                  <a:lnTo>
                    <a:pt x="1237" y="717"/>
                  </a:lnTo>
                  <a:lnTo>
                    <a:pt x="1238" y="709"/>
                  </a:lnTo>
                  <a:lnTo>
                    <a:pt x="1239" y="702"/>
                  </a:lnTo>
                  <a:lnTo>
                    <a:pt x="1237" y="697"/>
                  </a:lnTo>
                  <a:lnTo>
                    <a:pt x="1233" y="694"/>
                  </a:lnTo>
                  <a:lnTo>
                    <a:pt x="1228" y="691"/>
                  </a:lnTo>
                  <a:lnTo>
                    <a:pt x="1222" y="689"/>
                  </a:lnTo>
                  <a:lnTo>
                    <a:pt x="1210" y="686"/>
                  </a:lnTo>
                  <a:lnTo>
                    <a:pt x="1205" y="686"/>
                  </a:lnTo>
                  <a:lnTo>
                    <a:pt x="1203" y="694"/>
                  </a:lnTo>
                  <a:lnTo>
                    <a:pt x="1200" y="712"/>
                  </a:lnTo>
                  <a:lnTo>
                    <a:pt x="1199" y="720"/>
                  </a:lnTo>
                  <a:lnTo>
                    <a:pt x="1197" y="728"/>
                  </a:lnTo>
                  <a:lnTo>
                    <a:pt x="1196" y="730"/>
                  </a:lnTo>
                  <a:lnTo>
                    <a:pt x="1194" y="732"/>
                  </a:lnTo>
                  <a:lnTo>
                    <a:pt x="1193" y="733"/>
                  </a:lnTo>
                  <a:lnTo>
                    <a:pt x="1190" y="732"/>
                  </a:lnTo>
                  <a:lnTo>
                    <a:pt x="1185" y="731"/>
                  </a:lnTo>
                  <a:lnTo>
                    <a:pt x="1181" y="729"/>
                  </a:lnTo>
                  <a:lnTo>
                    <a:pt x="1179" y="728"/>
                  </a:lnTo>
                  <a:lnTo>
                    <a:pt x="1179" y="726"/>
                  </a:lnTo>
                  <a:lnTo>
                    <a:pt x="1179" y="723"/>
                  </a:lnTo>
                  <a:lnTo>
                    <a:pt x="1179" y="718"/>
                  </a:lnTo>
                  <a:lnTo>
                    <a:pt x="1182" y="707"/>
                  </a:lnTo>
                  <a:lnTo>
                    <a:pt x="1184" y="696"/>
                  </a:lnTo>
                  <a:lnTo>
                    <a:pt x="1185" y="691"/>
                  </a:lnTo>
                  <a:lnTo>
                    <a:pt x="1184" y="686"/>
                  </a:lnTo>
                  <a:lnTo>
                    <a:pt x="1183" y="682"/>
                  </a:lnTo>
                  <a:lnTo>
                    <a:pt x="1181" y="679"/>
                  </a:lnTo>
                  <a:lnTo>
                    <a:pt x="1177" y="676"/>
                  </a:lnTo>
                  <a:lnTo>
                    <a:pt x="1171" y="674"/>
                  </a:lnTo>
                  <a:lnTo>
                    <a:pt x="1163" y="673"/>
                  </a:lnTo>
                  <a:lnTo>
                    <a:pt x="1156" y="671"/>
                  </a:lnTo>
                  <a:lnTo>
                    <a:pt x="1150" y="669"/>
                  </a:lnTo>
                  <a:lnTo>
                    <a:pt x="1145" y="667"/>
                  </a:lnTo>
                  <a:lnTo>
                    <a:pt x="1144" y="665"/>
                  </a:lnTo>
                  <a:lnTo>
                    <a:pt x="1143" y="664"/>
                  </a:lnTo>
                  <a:lnTo>
                    <a:pt x="1143" y="661"/>
                  </a:lnTo>
                  <a:lnTo>
                    <a:pt x="1144" y="659"/>
                  </a:lnTo>
                  <a:lnTo>
                    <a:pt x="1151" y="648"/>
                  </a:lnTo>
                  <a:lnTo>
                    <a:pt x="1154" y="640"/>
                  </a:lnTo>
                  <a:lnTo>
                    <a:pt x="1156" y="635"/>
                  </a:lnTo>
                  <a:lnTo>
                    <a:pt x="1155" y="629"/>
                  </a:lnTo>
                  <a:lnTo>
                    <a:pt x="1145" y="621"/>
                  </a:lnTo>
                  <a:lnTo>
                    <a:pt x="1131" y="603"/>
                  </a:lnTo>
                  <a:lnTo>
                    <a:pt x="1128" y="599"/>
                  </a:lnTo>
                  <a:lnTo>
                    <a:pt x="1124" y="594"/>
                  </a:lnTo>
                  <a:lnTo>
                    <a:pt x="1122" y="588"/>
                  </a:lnTo>
                  <a:lnTo>
                    <a:pt x="1121" y="583"/>
                  </a:lnTo>
                  <a:lnTo>
                    <a:pt x="1120" y="578"/>
                  </a:lnTo>
                  <a:lnTo>
                    <a:pt x="1120" y="574"/>
                  </a:lnTo>
                  <a:lnTo>
                    <a:pt x="1122" y="569"/>
                  </a:lnTo>
                  <a:lnTo>
                    <a:pt x="1125" y="564"/>
                  </a:lnTo>
                  <a:lnTo>
                    <a:pt x="1138" y="552"/>
                  </a:lnTo>
                  <a:lnTo>
                    <a:pt x="1145" y="545"/>
                  </a:lnTo>
                  <a:lnTo>
                    <a:pt x="1147" y="542"/>
                  </a:lnTo>
                  <a:lnTo>
                    <a:pt x="1149" y="540"/>
                  </a:lnTo>
                  <a:lnTo>
                    <a:pt x="1147" y="538"/>
                  </a:lnTo>
                  <a:lnTo>
                    <a:pt x="1145" y="535"/>
                  </a:lnTo>
                  <a:lnTo>
                    <a:pt x="1136" y="530"/>
                  </a:lnTo>
                  <a:lnTo>
                    <a:pt x="1124" y="526"/>
                  </a:lnTo>
                  <a:lnTo>
                    <a:pt x="1122" y="525"/>
                  </a:lnTo>
                  <a:lnTo>
                    <a:pt x="1121" y="523"/>
                  </a:lnTo>
                  <a:lnTo>
                    <a:pt x="1121" y="522"/>
                  </a:lnTo>
                  <a:lnTo>
                    <a:pt x="1121" y="521"/>
                  </a:lnTo>
                  <a:lnTo>
                    <a:pt x="1125" y="519"/>
                  </a:lnTo>
                  <a:lnTo>
                    <a:pt x="1135" y="516"/>
                  </a:lnTo>
                  <a:lnTo>
                    <a:pt x="1145" y="514"/>
                  </a:lnTo>
                  <a:lnTo>
                    <a:pt x="1152" y="513"/>
                  </a:lnTo>
                  <a:lnTo>
                    <a:pt x="1156" y="513"/>
                  </a:lnTo>
                  <a:lnTo>
                    <a:pt x="1158" y="514"/>
                  </a:lnTo>
                  <a:lnTo>
                    <a:pt x="1161" y="518"/>
                  </a:lnTo>
                  <a:lnTo>
                    <a:pt x="1166" y="522"/>
                  </a:lnTo>
                  <a:lnTo>
                    <a:pt x="1171" y="523"/>
                  </a:lnTo>
                  <a:lnTo>
                    <a:pt x="1174" y="523"/>
                  </a:lnTo>
                  <a:lnTo>
                    <a:pt x="1176" y="521"/>
                  </a:lnTo>
                  <a:lnTo>
                    <a:pt x="1178" y="518"/>
                  </a:lnTo>
                  <a:lnTo>
                    <a:pt x="1181" y="511"/>
                  </a:lnTo>
                  <a:lnTo>
                    <a:pt x="1183" y="505"/>
                  </a:lnTo>
                  <a:lnTo>
                    <a:pt x="1185" y="498"/>
                  </a:lnTo>
                  <a:lnTo>
                    <a:pt x="1190" y="487"/>
                  </a:lnTo>
                  <a:lnTo>
                    <a:pt x="1197" y="475"/>
                  </a:lnTo>
                  <a:lnTo>
                    <a:pt x="1202" y="469"/>
                  </a:lnTo>
                  <a:lnTo>
                    <a:pt x="1208" y="465"/>
                  </a:lnTo>
                  <a:lnTo>
                    <a:pt x="1218" y="459"/>
                  </a:lnTo>
                  <a:lnTo>
                    <a:pt x="1222" y="454"/>
                  </a:lnTo>
                  <a:lnTo>
                    <a:pt x="1224" y="451"/>
                  </a:lnTo>
                  <a:lnTo>
                    <a:pt x="1225" y="449"/>
                  </a:lnTo>
                  <a:lnTo>
                    <a:pt x="1225" y="448"/>
                  </a:lnTo>
                  <a:lnTo>
                    <a:pt x="1224" y="446"/>
                  </a:lnTo>
                  <a:lnTo>
                    <a:pt x="1223" y="445"/>
                  </a:lnTo>
                  <a:lnTo>
                    <a:pt x="1219" y="443"/>
                  </a:lnTo>
                  <a:lnTo>
                    <a:pt x="1213" y="443"/>
                  </a:lnTo>
                  <a:lnTo>
                    <a:pt x="1207" y="444"/>
                  </a:lnTo>
                  <a:lnTo>
                    <a:pt x="1201" y="445"/>
                  </a:lnTo>
                  <a:lnTo>
                    <a:pt x="1188" y="448"/>
                  </a:lnTo>
                  <a:lnTo>
                    <a:pt x="1179" y="448"/>
                  </a:lnTo>
                  <a:lnTo>
                    <a:pt x="1172" y="448"/>
                  </a:lnTo>
                  <a:lnTo>
                    <a:pt x="1165" y="448"/>
                  </a:lnTo>
                  <a:lnTo>
                    <a:pt x="1160" y="449"/>
                  </a:lnTo>
                  <a:lnTo>
                    <a:pt x="1155" y="451"/>
                  </a:lnTo>
                  <a:lnTo>
                    <a:pt x="1147" y="454"/>
                  </a:lnTo>
                  <a:lnTo>
                    <a:pt x="1135" y="460"/>
                  </a:lnTo>
                  <a:lnTo>
                    <a:pt x="1130" y="463"/>
                  </a:lnTo>
                  <a:lnTo>
                    <a:pt x="1123" y="466"/>
                  </a:lnTo>
                  <a:lnTo>
                    <a:pt x="1119" y="470"/>
                  </a:lnTo>
                  <a:lnTo>
                    <a:pt x="1117" y="473"/>
                  </a:lnTo>
                  <a:lnTo>
                    <a:pt x="1120" y="482"/>
                  </a:lnTo>
                  <a:lnTo>
                    <a:pt x="1121" y="492"/>
                  </a:lnTo>
                  <a:lnTo>
                    <a:pt x="1118" y="501"/>
                  </a:lnTo>
                  <a:lnTo>
                    <a:pt x="1115" y="511"/>
                  </a:lnTo>
                  <a:lnTo>
                    <a:pt x="1114" y="519"/>
                  </a:lnTo>
                  <a:lnTo>
                    <a:pt x="1113" y="525"/>
                  </a:lnTo>
                  <a:lnTo>
                    <a:pt x="1114" y="530"/>
                  </a:lnTo>
                  <a:lnTo>
                    <a:pt x="1117" y="537"/>
                  </a:lnTo>
                  <a:lnTo>
                    <a:pt x="1118" y="541"/>
                  </a:lnTo>
                  <a:lnTo>
                    <a:pt x="1118" y="545"/>
                  </a:lnTo>
                  <a:lnTo>
                    <a:pt x="1118" y="550"/>
                  </a:lnTo>
                  <a:lnTo>
                    <a:pt x="1116" y="555"/>
                  </a:lnTo>
                  <a:lnTo>
                    <a:pt x="1106" y="572"/>
                  </a:lnTo>
                  <a:lnTo>
                    <a:pt x="1098" y="583"/>
                  </a:lnTo>
                  <a:lnTo>
                    <a:pt x="1094" y="586"/>
                  </a:lnTo>
                  <a:lnTo>
                    <a:pt x="1089" y="590"/>
                  </a:lnTo>
                  <a:lnTo>
                    <a:pt x="1087" y="592"/>
                  </a:lnTo>
                  <a:lnTo>
                    <a:pt x="1084" y="594"/>
                  </a:lnTo>
                  <a:lnTo>
                    <a:pt x="1083" y="598"/>
                  </a:lnTo>
                  <a:lnTo>
                    <a:pt x="1083" y="603"/>
                  </a:lnTo>
                  <a:lnTo>
                    <a:pt x="1084" y="607"/>
                  </a:lnTo>
                  <a:lnTo>
                    <a:pt x="1085" y="610"/>
                  </a:lnTo>
                  <a:lnTo>
                    <a:pt x="1087" y="614"/>
                  </a:lnTo>
                  <a:lnTo>
                    <a:pt x="1088" y="616"/>
                  </a:lnTo>
                  <a:lnTo>
                    <a:pt x="1090" y="618"/>
                  </a:lnTo>
                  <a:lnTo>
                    <a:pt x="1090" y="620"/>
                  </a:lnTo>
                  <a:lnTo>
                    <a:pt x="1090" y="623"/>
                  </a:lnTo>
                  <a:lnTo>
                    <a:pt x="1088" y="627"/>
                  </a:lnTo>
                  <a:lnTo>
                    <a:pt x="1083" y="638"/>
                  </a:lnTo>
                  <a:lnTo>
                    <a:pt x="1080" y="645"/>
                  </a:lnTo>
                  <a:lnTo>
                    <a:pt x="1081" y="648"/>
                  </a:lnTo>
                  <a:lnTo>
                    <a:pt x="1087" y="652"/>
                  </a:lnTo>
                  <a:lnTo>
                    <a:pt x="1094" y="658"/>
                  </a:lnTo>
                  <a:lnTo>
                    <a:pt x="1102" y="663"/>
                  </a:lnTo>
                  <a:lnTo>
                    <a:pt x="1111" y="668"/>
                  </a:lnTo>
                  <a:lnTo>
                    <a:pt x="1118" y="673"/>
                  </a:lnTo>
                  <a:lnTo>
                    <a:pt x="1121" y="675"/>
                  </a:lnTo>
                  <a:lnTo>
                    <a:pt x="1122" y="678"/>
                  </a:lnTo>
                  <a:lnTo>
                    <a:pt x="1123" y="680"/>
                  </a:lnTo>
                  <a:lnTo>
                    <a:pt x="1123" y="681"/>
                  </a:lnTo>
                  <a:lnTo>
                    <a:pt x="1121" y="692"/>
                  </a:lnTo>
                  <a:lnTo>
                    <a:pt x="1119" y="709"/>
                  </a:lnTo>
                  <a:lnTo>
                    <a:pt x="1118" y="718"/>
                  </a:lnTo>
                  <a:lnTo>
                    <a:pt x="1116" y="727"/>
                  </a:lnTo>
                  <a:lnTo>
                    <a:pt x="1113" y="734"/>
                  </a:lnTo>
                  <a:lnTo>
                    <a:pt x="1110" y="739"/>
                  </a:lnTo>
                  <a:lnTo>
                    <a:pt x="1100" y="747"/>
                  </a:lnTo>
                  <a:lnTo>
                    <a:pt x="1090" y="753"/>
                  </a:lnTo>
                  <a:lnTo>
                    <a:pt x="1086" y="756"/>
                  </a:lnTo>
                  <a:lnTo>
                    <a:pt x="1083" y="759"/>
                  </a:lnTo>
                  <a:lnTo>
                    <a:pt x="1080" y="762"/>
                  </a:lnTo>
                  <a:lnTo>
                    <a:pt x="1080" y="764"/>
                  </a:lnTo>
                  <a:lnTo>
                    <a:pt x="1083" y="771"/>
                  </a:lnTo>
                  <a:lnTo>
                    <a:pt x="1087" y="778"/>
                  </a:lnTo>
                  <a:lnTo>
                    <a:pt x="1088" y="781"/>
                  </a:lnTo>
                  <a:lnTo>
                    <a:pt x="1088" y="783"/>
                  </a:lnTo>
                  <a:lnTo>
                    <a:pt x="1087" y="785"/>
                  </a:lnTo>
                  <a:lnTo>
                    <a:pt x="1085" y="786"/>
                  </a:lnTo>
                  <a:lnTo>
                    <a:pt x="1080" y="786"/>
                  </a:lnTo>
                  <a:lnTo>
                    <a:pt x="1076" y="785"/>
                  </a:lnTo>
                  <a:lnTo>
                    <a:pt x="1072" y="783"/>
                  </a:lnTo>
                  <a:lnTo>
                    <a:pt x="1069" y="781"/>
                  </a:lnTo>
                  <a:lnTo>
                    <a:pt x="1066" y="779"/>
                  </a:lnTo>
                  <a:lnTo>
                    <a:pt x="1064" y="776"/>
                  </a:lnTo>
                  <a:lnTo>
                    <a:pt x="1062" y="774"/>
                  </a:lnTo>
                  <a:lnTo>
                    <a:pt x="1062" y="771"/>
                  </a:lnTo>
                  <a:lnTo>
                    <a:pt x="1064" y="764"/>
                  </a:lnTo>
                  <a:lnTo>
                    <a:pt x="1068" y="755"/>
                  </a:lnTo>
                  <a:lnTo>
                    <a:pt x="1070" y="751"/>
                  </a:lnTo>
                  <a:lnTo>
                    <a:pt x="1070" y="747"/>
                  </a:lnTo>
                  <a:lnTo>
                    <a:pt x="1070" y="745"/>
                  </a:lnTo>
                  <a:lnTo>
                    <a:pt x="1069" y="742"/>
                  </a:lnTo>
                  <a:lnTo>
                    <a:pt x="1067" y="740"/>
                  </a:lnTo>
                  <a:lnTo>
                    <a:pt x="1065" y="739"/>
                  </a:lnTo>
                  <a:lnTo>
                    <a:pt x="1062" y="737"/>
                  </a:lnTo>
                  <a:lnTo>
                    <a:pt x="1058" y="734"/>
                  </a:lnTo>
                  <a:lnTo>
                    <a:pt x="1057" y="732"/>
                  </a:lnTo>
                  <a:lnTo>
                    <a:pt x="1057" y="730"/>
                  </a:lnTo>
                  <a:lnTo>
                    <a:pt x="1057" y="728"/>
                  </a:lnTo>
                  <a:lnTo>
                    <a:pt x="1059" y="727"/>
                  </a:lnTo>
                  <a:lnTo>
                    <a:pt x="1062" y="726"/>
                  </a:lnTo>
                  <a:lnTo>
                    <a:pt x="1065" y="726"/>
                  </a:lnTo>
                  <a:lnTo>
                    <a:pt x="1068" y="725"/>
                  </a:lnTo>
                  <a:lnTo>
                    <a:pt x="1071" y="723"/>
                  </a:lnTo>
                  <a:lnTo>
                    <a:pt x="1074" y="719"/>
                  </a:lnTo>
                  <a:lnTo>
                    <a:pt x="1077" y="715"/>
                  </a:lnTo>
                  <a:lnTo>
                    <a:pt x="1079" y="710"/>
                  </a:lnTo>
                  <a:lnTo>
                    <a:pt x="1081" y="705"/>
                  </a:lnTo>
                  <a:lnTo>
                    <a:pt x="1083" y="700"/>
                  </a:lnTo>
                  <a:lnTo>
                    <a:pt x="1084" y="694"/>
                  </a:lnTo>
                  <a:lnTo>
                    <a:pt x="1084" y="688"/>
                  </a:lnTo>
                  <a:lnTo>
                    <a:pt x="1083" y="682"/>
                  </a:lnTo>
                  <a:lnTo>
                    <a:pt x="1079" y="674"/>
                  </a:lnTo>
                  <a:lnTo>
                    <a:pt x="1076" y="668"/>
                  </a:lnTo>
                  <a:lnTo>
                    <a:pt x="1071" y="664"/>
                  </a:lnTo>
                  <a:lnTo>
                    <a:pt x="1067" y="661"/>
                  </a:lnTo>
                  <a:lnTo>
                    <a:pt x="1064" y="661"/>
                  </a:lnTo>
                  <a:lnTo>
                    <a:pt x="1062" y="661"/>
                  </a:lnTo>
                  <a:lnTo>
                    <a:pt x="1058" y="662"/>
                  </a:lnTo>
                  <a:lnTo>
                    <a:pt x="1056" y="664"/>
                  </a:lnTo>
                  <a:lnTo>
                    <a:pt x="1043" y="679"/>
                  </a:lnTo>
                  <a:lnTo>
                    <a:pt x="1040" y="681"/>
                  </a:lnTo>
                  <a:lnTo>
                    <a:pt x="1033" y="684"/>
                  </a:lnTo>
                  <a:lnTo>
                    <a:pt x="1020" y="691"/>
                  </a:lnTo>
                  <a:lnTo>
                    <a:pt x="1014" y="696"/>
                  </a:lnTo>
                  <a:lnTo>
                    <a:pt x="1010" y="703"/>
                  </a:lnTo>
                  <a:lnTo>
                    <a:pt x="1009" y="706"/>
                  </a:lnTo>
                  <a:lnTo>
                    <a:pt x="1010" y="708"/>
                  </a:lnTo>
                  <a:lnTo>
                    <a:pt x="1011" y="711"/>
                  </a:lnTo>
                  <a:lnTo>
                    <a:pt x="1014" y="714"/>
                  </a:lnTo>
                  <a:lnTo>
                    <a:pt x="1022" y="719"/>
                  </a:lnTo>
                  <a:lnTo>
                    <a:pt x="1027" y="724"/>
                  </a:lnTo>
                  <a:lnTo>
                    <a:pt x="1032" y="725"/>
                  </a:lnTo>
                  <a:lnTo>
                    <a:pt x="1036" y="726"/>
                  </a:lnTo>
                  <a:lnTo>
                    <a:pt x="1042" y="726"/>
                  </a:lnTo>
                  <a:lnTo>
                    <a:pt x="1043" y="727"/>
                  </a:lnTo>
                  <a:lnTo>
                    <a:pt x="1045" y="729"/>
                  </a:lnTo>
                  <a:lnTo>
                    <a:pt x="1050" y="729"/>
                  </a:lnTo>
                  <a:lnTo>
                    <a:pt x="1052" y="730"/>
                  </a:lnTo>
                  <a:lnTo>
                    <a:pt x="1053" y="730"/>
                  </a:lnTo>
                  <a:lnTo>
                    <a:pt x="1053" y="732"/>
                  </a:lnTo>
                  <a:lnTo>
                    <a:pt x="1051" y="733"/>
                  </a:lnTo>
                  <a:lnTo>
                    <a:pt x="1043" y="738"/>
                  </a:lnTo>
                  <a:lnTo>
                    <a:pt x="1033" y="742"/>
                  </a:lnTo>
                  <a:lnTo>
                    <a:pt x="1029" y="745"/>
                  </a:lnTo>
                  <a:lnTo>
                    <a:pt x="1025" y="747"/>
                  </a:lnTo>
                  <a:lnTo>
                    <a:pt x="1024" y="749"/>
                  </a:lnTo>
                  <a:lnTo>
                    <a:pt x="1023" y="751"/>
                  </a:lnTo>
                  <a:lnTo>
                    <a:pt x="1024" y="757"/>
                  </a:lnTo>
                  <a:lnTo>
                    <a:pt x="1025" y="764"/>
                  </a:lnTo>
                  <a:lnTo>
                    <a:pt x="1025" y="767"/>
                  </a:lnTo>
                  <a:lnTo>
                    <a:pt x="1025" y="769"/>
                  </a:lnTo>
                  <a:lnTo>
                    <a:pt x="1024" y="770"/>
                  </a:lnTo>
                  <a:lnTo>
                    <a:pt x="1022" y="770"/>
                  </a:lnTo>
                  <a:lnTo>
                    <a:pt x="1006" y="769"/>
                  </a:lnTo>
                  <a:lnTo>
                    <a:pt x="980" y="769"/>
                  </a:lnTo>
                  <a:lnTo>
                    <a:pt x="965" y="769"/>
                  </a:lnTo>
                  <a:lnTo>
                    <a:pt x="953" y="768"/>
                  </a:lnTo>
                  <a:lnTo>
                    <a:pt x="942" y="767"/>
                  </a:lnTo>
                  <a:lnTo>
                    <a:pt x="935" y="763"/>
                  </a:lnTo>
                  <a:lnTo>
                    <a:pt x="924" y="755"/>
                  </a:lnTo>
                  <a:lnTo>
                    <a:pt x="911" y="747"/>
                  </a:lnTo>
                  <a:lnTo>
                    <a:pt x="903" y="745"/>
                  </a:lnTo>
                  <a:lnTo>
                    <a:pt x="897" y="744"/>
                  </a:lnTo>
                  <a:lnTo>
                    <a:pt x="894" y="744"/>
                  </a:lnTo>
                  <a:lnTo>
                    <a:pt x="891" y="745"/>
                  </a:lnTo>
                  <a:lnTo>
                    <a:pt x="889" y="746"/>
                  </a:lnTo>
                  <a:lnTo>
                    <a:pt x="888" y="749"/>
                  </a:lnTo>
                  <a:lnTo>
                    <a:pt x="879" y="759"/>
                  </a:lnTo>
                  <a:lnTo>
                    <a:pt x="871" y="769"/>
                  </a:lnTo>
                  <a:lnTo>
                    <a:pt x="867" y="773"/>
                  </a:lnTo>
                  <a:lnTo>
                    <a:pt x="865" y="777"/>
                  </a:lnTo>
                  <a:lnTo>
                    <a:pt x="864" y="780"/>
                  </a:lnTo>
                  <a:lnTo>
                    <a:pt x="864" y="783"/>
                  </a:lnTo>
                  <a:lnTo>
                    <a:pt x="868" y="790"/>
                  </a:lnTo>
                  <a:lnTo>
                    <a:pt x="873" y="798"/>
                  </a:lnTo>
                  <a:lnTo>
                    <a:pt x="874" y="802"/>
                  </a:lnTo>
                  <a:lnTo>
                    <a:pt x="876" y="805"/>
                  </a:lnTo>
                  <a:lnTo>
                    <a:pt x="876" y="808"/>
                  </a:lnTo>
                  <a:lnTo>
                    <a:pt x="875" y="811"/>
                  </a:lnTo>
                  <a:lnTo>
                    <a:pt x="870" y="818"/>
                  </a:lnTo>
                  <a:lnTo>
                    <a:pt x="865" y="828"/>
                  </a:lnTo>
                  <a:lnTo>
                    <a:pt x="861" y="833"/>
                  </a:lnTo>
                  <a:lnTo>
                    <a:pt x="858" y="836"/>
                  </a:lnTo>
                  <a:lnTo>
                    <a:pt x="857" y="836"/>
                  </a:lnTo>
                  <a:lnTo>
                    <a:pt x="856" y="836"/>
                  </a:lnTo>
                  <a:lnTo>
                    <a:pt x="854" y="835"/>
                  </a:lnTo>
                  <a:lnTo>
                    <a:pt x="853" y="833"/>
                  </a:lnTo>
                  <a:lnTo>
                    <a:pt x="849" y="822"/>
                  </a:lnTo>
                  <a:lnTo>
                    <a:pt x="843" y="810"/>
                  </a:lnTo>
                  <a:lnTo>
                    <a:pt x="839" y="804"/>
                  </a:lnTo>
                  <a:lnTo>
                    <a:pt x="836" y="798"/>
                  </a:lnTo>
                  <a:lnTo>
                    <a:pt x="833" y="794"/>
                  </a:lnTo>
                  <a:lnTo>
                    <a:pt x="829" y="790"/>
                  </a:lnTo>
                  <a:lnTo>
                    <a:pt x="816" y="784"/>
                  </a:lnTo>
                  <a:lnTo>
                    <a:pt x="811" y="783"/>
                  </a:lnTo>
                  <a:lnTo>
                    <a:pt x="803" y="789"/>
                  </a:lnTo>
                  <a:lnTo>
                    <a:pt x="794" y="794"/>
                  </a:lnTo>
                  <a:lnTo>
                    <a:pt x="785" y="795"/>
                  </a:lnTo>
                  <a:lnTo>
                    <a:pt x="765" y="797"/>
                  </a:lnTo>
                  <a:lnTo>
                    <a:pt x="744" y="798"/>
                  </a:lnTo>
                  <a:lnTo>
                    <a:pt x="734" y="799"/>
                  </a:lnTo>
                  <a:lnTo>
                    <a:pt x="730" y="797"/>
                  </a:lnTo>
                  <a:lnTo>
                    <a:pt x="728" y="795"/>
                  </a:lnTo>
                  <a:lnTo>
                    <a:pt x="728" y="793"/>
                  </a:lnTo>
                  <a:lnTo>
                    <a:pt x="729" y="792"/>
                  </a:lnTo>
                  <a:lnTo>
                    <a:pt x="730" y="790"/>
                  </a:lnTo>
                  <a:lnTo>
                    <a:pt x="734" y="788"/>
                  </a:lnTo>
                  <a:lnTo>
                    <a:pt x="741" y="782"/>
                  </a:lnTo>
                  <a:lnTo>
                    <a:pt x="747" y="776"/>
                  </a:lnTo>
                  <a:lnTo>
                    <a:pt x="750" y="771"/>
                  </a:lnTo>
                  <a:lnTo>
                    <a:pt x="751" y="769"/>
                  </a:lnTo>
                  <a:lnTo>
                    <a:pt x="750" y="766"/>
                  </a:lnTo>
                  <a:lnTo>
                    <a:pt x="747" y="758"/>
                  </a:lnTo>
                  <a:lnTo>
                    <a:pt x="744" y="754"/>
                  </a:lnTo>
                  <a:lnTo>
                    <a:pt x="740" y="751"/>
                  </a:lnTo>
                  <a:lnTo>
                    <a:pt x="736" y="749"/>
                  </a:lnTo>
                  <a:lnTo>
                    <a:pt x="729" y="748"/>
                  </a:lnTo>
                  <a:lnTo>
                    <a:pt x="719" y="750"/>
                  </a:lnTo>
                  <a:lnTo>
                    <a:pt x="710" y="753"/>
                  </a:lnTo>
                  <a:lnTo>
                    <a:pt x="706" y="754"/>
                  </a:lnTo>
                  <a:lnTo>
                    <a:pt x="702" y="755"/>
                  </a:lnTo>
                  <a:lnTo>
                    <a:pt x="700" y="754"/>
                  </a:lnTo>
                  <a:lnTo>
                    <a:pt x="697" y="753"/>
                  </a:lnTo>
                  <a:lnTo>
                    <a:pt x="684" y="746"/>
                  </a:lnTo>
                  <a:lnTo>
                    <a:pt x="663" y="736"/>
                  </a:lnTo>
                  <a:lnTo>
                    <a:pt x="652" y="732"/>
                  </a:lnTo>
                  <a:lnTo>
                    <a:pt x="640" y="730"/>
                  </a:lnTo>
                  <a:lnTo>
                    <a:pt x="636" y="730"/>
                  </a:lnTo>
                  <a:lnTo>
                    <a:pt x="632" y="730"/>
                  </a:lnTo>
                  <a:lnTo>
                    <a:pt x="629" y="730"/>
                  </a:lnTo>
                  <a:lnTo>
                    <a:pt x="627" y="732"/>
                  </a:lnTo>
                  <a:lnTo>
                    <a:pt x="620" y="740"/>
                  </a:lnTo>
                  <a:lnTo>
                    <a:pt x="615" y="747"/>
                  </a:lnTo>
                  <a:lnTo>
                    <a:pt x="612" y="749"/>
                  </a:lnTo>
                  <a:lnTo>
                    <a:pt x="611" y="751"/>
                  </a:lnTo>
                  <a:lnTo>
                    <a:pt x="609" y="751"/>
                  </a:lnTo>
                  <a:lnTo>
                    <a:pt x="607" y="750"/>
                  </a:lnTo>
                  <a:lnTo>
                    <a:pt x="605" y="742"/>
                  </a:lnTo>
                  <a:lnTo>
                    <a:pt x="603" y="730"/>
                  </a:lnTo>
                  <a:lnTo>
                    <a:pt x="603" y="725"/>
                  </a:lnTo>
                  <a:lnTo>
                    <a:pt x="602" y="719"/>
                  </a:lnTo>
                  <a:lnTo>
                    <a:pt x="601" y="718"/>
                  </a:lnTo>
                  <a:lnTo>
                    <a:pt x="600" y="718"/>
                  </a:lnTo>
                  <a:lnTo>
                    <a:pt x="598" y="718"/>
                  </a:lnTo>
                  <a:lnTo>
                    <a:pt x="597" y="719"/>
                  </a:lnTo>
                  <a:lnTo>
                    <a:pt x="591" y="730"/>
                  </a:lnTo>
                  <a:lnTo>
                    <a:pt x="583" y="741"/>
                  </a:lnTo>
                  <a:lnTo>
                    <a:pt x="579" y="748"/>
                  </a:lnTo>
                  <a:lnTo>
                    <a:pt x="575" y="752"/>
                  </a:lnTo>
                  <a:lnTo>
                    <a:pt x="573" y="754"/>
                  </a:lnTo>
                  <a:lnTo>
                    <a:pt x="572" y="755"/>
                  </a:lnTo>
                  <a:lnTo>
                    <a:pt x="569" y="746"/>
                  </a:lnTo>
                  <a:lnTo>
                    <a:pt x="565" y="730"/>
                  </a:lnTo>
                  <a:lnTo>
                    <a:pt x="563" y="722"/>
                  </a:lnTo>
                  <a:lnTo>
                    <a:pt x="561" y="715"/>
                  </a:lnTo>
                  <a:lnTo>
                    <a:pt x="559" y="713"/>
                  </a:lnTo>
                  <a:lnTo>
                    <a:pt x="558" y="711"/>
                  </a:lnTo>
                  <a:lnTo>
                    <a:pt x="555" y="711"/>
                  </a:lnTo>
                  <a:lnTo>
                    <a:pt x="554" y="711"/>
                  </a:lnTo>
                  <a:lnTo>
                    <a:pt x="549" y="716"/>
                  </a:lnTo>
                  <a:lnTo>
                    <a:pt x="547" y="720"/>
                  </a:lnTo>
                  <a:lnTo>
                    <a:pt x="546" y="725"/>
                  </a:lnTo>
                  <a:lnTo>
                    <a:pt x="547" y="729"/>
                  </a:lnTo>
                  <a:lnTo>
                    <a:pt x="548" y="733"/>
                  </a:lnTo>
                  <a:lnTo>
                    <a:pt x="547" y="737"/>
                  </a:lnTo>
                  <a:lnTo>
                    <a:pt x="544" y="742"/>
                  </a:lnTo>
                  <a:lnTo>
                    <a:pt x="538" y="749"/>
                  </a:lnTo>
                  <a:lnTo>
                    <a:pt x="533" y="751"/>
                  </a:lnTo>
                  <a:lnTo>
                    <a:pt x="529" y="751"/>
                  </a:lnTo>
                  <a:lnTo>
                    <a:pt x="526" y="751"/>
                  </a:lnTo>
                  <a:lnTo>
                    <a:pt x="522" y="749"/>
                  </a:lnTo>
                  <a:lnTo>
                    <a:pt x="519" y="748"/>
                  </a:lnTo>
                  <a:lnTo>
                    <a:pt x="516" y="747"/>
                  </a:lnTo>
                  <a:lnTo>
                    <a:pt x="513" y="749"/>
                  </a:lnTo>
                  <a:lnTo>
                    <a:pt x="510" y="752"/>
                  </a:lnTo>
                  <a:lnTo>
                    <a:pt x="501" y="764"/>
                  </a:lnTo>
                  <a:lnTo>
                    <a:pt x="489" y="779"/>
                  </a:lnTo>
                  <a:lnTo>
                    <a:pt x="483" y="790"/>
                  </a:lnTo>
                  <a:lnTo>
                    <a:pt x="476" y="801"/>
                  </a:lnTo>
                  <a:lnTo>
                    <a:pt x="471" y="810"/>
                  </a:lnTo>
                  <a:lnTo>
                    <a:pt x="467" y="813"/>
                  </a:lnTo>
                  <a:lnTo>
                    <a:pt x="465" y="812"/>
                  </a:lnTo>
                  <a:lnTo>
                    <a:pt x="460" y="811"/>
                  </a:lnTo>
                  <a:lnTo>
                    <a:pt x="457" y="810"/>
                  </a:lnTo>
                  <a:lnTo>
                    <a:pt x="456" y="808"/>
                  </a:lnTo>
                  <a:lnTo>
                    <a:pt x="455" y="806"/>
                  </a:lnTo>
                  <a:lnTo>
                    <a:pt x="455" y="804"/>
                  </a:lnTo>
                  <a:lnTo>
                    <a:pt x="456" y="801"/>
                  </a:lnTo>
                  <a:lnTo>
                    <a:pt x="457" y="797"/>
                  </a:lnTo>
                  <a:lnTo>
                    <a:pt x="457" y="793"/>
                  </a:lnTo>
                  <a:lnTo>
                    <a:pt x="457" y="790"/>
                  </a:lnTo>
                  <a:lnTo>
                    <a:pt x="456" y="785"/>
                  </a:lnTo>
                  <a:lnTo>
                    <a:pt x="455" y="783"/>
                  </a:lnTo>
                  <a:lnTo>
                    <a:pt x="453" y="782"/>
                  </a:lnTo>
                  <a:lnTo>
                    <a:pt x="451" y="782"/>
                  </a:lnTo>
                  <a:lnTo>
                    <a:pt x="445" y="783"/>
                  </a:lnTo>
                  <a:lnTo>
                    <a:pt x="441" y="785"/>
                  </a:lnTo>
                  <a:lnTo>
                    <a:pt x="439" y="788"/>
                  </a:lnTo>
                  <a:lnTo>
                    <a:pt x="437" y="791"/>
                  </a:lnTo>
                  <a:lnTo>
                    <a:pt x="436" y="794"/>
                  </a:lnTo>
                  <a:lnTo>
                    <a:pt x="436" y="797"/>
                  </a:lnTo>
                  <a:lnTo>
                    <a:pt x="436" y="805"/>
                  </a:lnTo>
                  <a:lnTo>
                    <a:pt x="435" y="812"/>
                  </a:lnTo>
                  <a:lnTo>
                    <a:pt x="434" y="817"/>
                  </a:lnTo>
                  <a:lnTo>
                    <a:pt x="432" y="821"/>
                  </a:lnTo>
                  <a:lnTo>
                    <a:pt x="431" y="822"/>
                  </a:lnTo>
                  <a:lnTo>
                    <a:pt x="429" y="822"/>
                  </a:lnTo>
                  <a:lnTo>
                    <a:pt x="427" y="822"/>
                  </a:lnTo>
                  <a:lnTo>
                    <a:pt x="425" y="821"/>
                  </a:lnTo>
                  <a:lnTo>
                    <a:pt x="420" y="819"/>
                  </a:lnTo>
                  <a:lnTo>
                    <a:pt x="418" y="818"/>
                  </a:lnTo>
                  <a:lnTo>
                    <a:pt x="415" y="815"/>
                  </a:lnTo>
                  <a:lnTo>
                    <a:pt x="409" y="806"/>
                  </a:lnTo>
                  <a:lnTo>
                    <a:pt x="404" y="802"/>
                  </a:lnTo>
                  <a:lnTo>
                    <a:pt x="399" y="799"/>
                  </a:lnTo>
                  <a:lnTo>
                    <a:pt x="394" y="797"/>
                  </a:lnTo>
                  <a:lnTo>
                    <a:pt x="390" y="796"/>
                  </a:lnTo>
                  <a:lnTo>
                    <a:pt x="382" y="797"/>
                  </a:lnTo>
                  <a:lnTo>
                    <a:pt x="370" y="798"/>
                  </a:lnTo>
                  <a:lnTo>
                    <a:pt x="361" y="799"/>
                  </a:lnTo>
                  <a:lnTo>
                    <a:pt x="357" y="799"/>
                  </a:lnTo>
                  <a:lnTo>
                    <a:pt x="357" y="797"/>
                  </a:lnTo>
                  <a:lnTo>
                    <a:pt x="356" y="792"/>
                  </a:lnTo>
                  <a:lnTo>
                    <a:pt x="354" y="790"/>
                  </a:lnTo>
                  <a:lnTo>
                    <a:pt x="352" y="789"/>
                  </a:lnTo>
                  <a:lnTo>
                    <a:pt x="348" y="790"/>
                  </a:lnTo>
                  <a:lnTo>
                    <a:pt x="343" y="793"/>
                  </a:lnTo>
                  <a:lnTo>
                    <a:pt x="333" y="800"/>
                  </a:lnTo>
                  <a:lnTo>
                    <a:pt x="328" y="805"/>
                  </a:lnTo>
                  <a:lnTo>
                    <a:pt x="326" y="806"/>
                  </a:lnTo>
                  <a:lnTo>
                    <a:pt x="325" y="806"/>
                  </a:lnTo>
                  <a:lnTo>
                    <a:pt x="324" y="806"/>
                  </a:lnTo>
                  <a:lnTo>
                    <a:pt x="324" y="805"/>
                  </a:lnTo>
                  <a:lnTo>
                    <a:pt x="321" y="801"/>
                  </a:lnTo>
                  <a:lnTo>
                    <a:pt x="319" y="799"/>
                  </a:lnTo>
                  <a:lnTo>
                    <a:pt x="317" y="798"/>
                  </a:lnTo>
                  <a:lnTo>
                    <a:pt x="316" y="798"/>
                  </a:lnTo>
                  <a:lnTo>
                    <a:pt x="315" y="798"/>
                  </a:lnTo>
                  <a:lnTo>
                    <a:pt x="312" y="799"/>
                  </a:lnTo>
                  <a:lnTo>
                    <a:pt x="305" y="805"/>
                  </a:lnTo>
                  <a:lnTo>
                    <a:pt x="300" y="808"/>
                  </a:lnTo>
                  <a:lnTo>
                    <a:pt x="297" y="807"/>
                  </a:lnTo>
                  <a:lnTo>
                    <a:pt x="290" y="804"/>
                  </a:lnTo>
                  <a:lnTo>
                    <a:pt x="286" y="803"/>
                  </a:lnTo>
                  <a:lnTo>
                    <a:pt x="283" y="803"/>
                  </a:lnTo>
                  <a:lnTo>
                    <a:pt x="280" y="803"/>
                  </a:lnTo>
                  <a:lnTo>
                    <a:pt x="278" y="803"/>
                  </a:lnTo>
                  <a:lnTo>
                    <a:pt x="275" y="807"/>
                  </a:lnTo>
                  <a:lnTo>
                    <a:pt x="271" y="813"/>
                  </a:lnTo>
                  <a:lnTo>
                    <a:pt x="269" y="815"/>
                  </a:lnTo>
                  <a:lnTo>
                    <a:pt x="268" y="816"/>
                  </a:lnTo>
                  <a:lnTo>
                    <a:pt x="267" y="816"/>
                  </a:lnTo>
                  <a:lnTo>
                    <a:pt x="267" y="814"/>
                  </a:lnTo>
                  <a:lnTo>
                    <a:pt x="267" y="808"/>
                  </a:lnTo>
                  <a:lnTo>
                    <a:pt x="268" y="801"/>
                  </a:lnTo>
                  <a:lnTo>
                    <a:pt x="267" y="799"/>
                  </a:lnTo>
                  <a:lnTo>
                    <a:pt x="266" y="797"/>
                  </a:lnTo>
                  <a:lnTo>
                    <a:pt x="265" y="797"/>
                  </a:lnTo>
                  <a:lnTo>
                    <a:pt x="262" y="799"/>
                  </a:lnTo>
                  <a:lnTo>
                    <a:pt x="256" y="805"/>
                  </a:lnTo>
                  <a:lnTo>
                    <a:pt x="252" y="811"/>
                  </a:lnTo>
                  <a:lnTo>
                    <a:pt x="249" y="816"/>
                  </a:lnTo>
                  <a:lnTo>
                    <a:pt x="247" y="819"/>
                  </a:lnTo>
                  <a:lnTo>
                    <a:pt x="246" y="822"/>
                  </a:lnTo>
                  <a:lnTo>
                    <a:pt x="245" y="823"/>
                  </a:lnTo>
                  <a:lnTo>
                    <a:pt x="245" y="818"/>
                  </a:lnTo>
                  <a:lnTo>
                    <a:pt x="249" y="810"/>
                  </a:lnTo>
                  <a:lnTo>
                    <a:pt x="249" y="808"/>
                  </a:lnTo>
                  <a:lnTo>
                    <a:pt x="249" y="806"/>
                  </a:lnTo>
                  <a:lnTo>
                    <a:pt x="249" y="805"/>
                  </a:lnTo>
                  <a:lnTo>
                    <a:pt x="246" y="805"/>
                  </a:lnTo>
                  <a:lnTo>
                    <a:pt x="245" y="804"/>
                  </a:lnTo>
                  <a:lnTo>
                    <a:pt x="243" y="802"/>
                  </a:lnTo>
                  <a:lnTo>
                    <a:pt x="241" y="802"/>
                  </a:lnTo>
                  <a:lnTo>
                    <a:pt x="239" y="802"/>
                  </a:lnTo>
                  <a:lnTo>
                    <a:pt x="237" y="804"/>
                  </a:lnTo>
                  <a:lnTo>
                    <a:pt x="234" y="806"/>
                  </a:lnTo>
                  <a:lnTo>
                    <a:pt x="228" y="815"/>
                  </a:lnTo>
                  <a:lnTo>
                    <a:pt x="219" y="824"/>
                  </a:lnTo>
                  <a:lnTo>
                    <a:pt x="212" y="832"/>
                  </a:lnTo>
                  <a:lnTo>
                    <a:pt x="209" y="835"/>
                  </a:lnTo>
                  <a:lnTo>
                    <a:pt x="209" y="833"/>
                  </a:lnTo>
                  <a:lnTo>
                    <a:pt x="209" y="832"/>
                  </a:lnTo>
                  <a:lnTo>
                    <a:pt x="208" y="833"/>
                  </a:lnTo>
                  <a:lnTo>
                    <a:pt x="208" y="834"/>
                  </a:lnTo>
                  <a:lnTo>
                    <a:pt x="203" y="837"/>
                  </a:lnTo>
                  <a:lnTo>
                    <a:pt x="201" y="841"/>
                  </a:lnTo>
                  <a:lnTo>
                    <a:pt x="192" y="854"/>
                  </a:lnTo>
                  <a:lnTo>
                    <a:pt x="181" y="867"/>
                  </a:lnTo>
                  <a:lnTo>
                    <a:pt x="177" y="871"/>
                  </a:lnTo>
                  <a:lnTo>
                    <a:pt x="173" y="877"/>
                  </a:lnTo>
                  <a:lnTo>
                    <a:pt x="169" y="884"/>
                  </a:lnTo>
                  <a:lnTo>
                    <a:pt x="165" y="892"/>
                  </a:lnTo>
                  <a:lnTo>
                    <a:pt x="154" y="911"/>
                  </a:lnTo>
                  <a:lnTo>
                    <a:pt x="147" y="924"/>
                  </a:lnTo>
                  <a:lnTo>
                    <a:pt x="138" y="932"/>
                  </a:lnTo>
                  <a:lnTo>
                    <a:pt x="129" y="945"/>
                  </a:lnTo>
                  <a:lnTo>
                    <a:pt x="124" y="954"/>
                  </a:lnTo>
                  <a:lnTo>
                    <a:pt x="122" y="961"/>
                  </a:lnTo>
                  <a:lnTo>
                    <a:pt x="123" y="965"/>
                  </a:lnTo>
                  <a:lnTo>
                    <a:pt x="126" y="968"/>
                  </a:lnTo>
                  <a:lnTo>
                    <a:pt x="129" y="973"/>
                  </a:lnTo>
                  <a:lnTo>
                    <a:pt x="129" y="978"/>
                  </a:lnTo>
                  <a:lnTo>
                    <a:pt x="129" y="990"/>
                  </a:lnTo>
                  <a:lnTo>
                    <a:pt x="129" y="995"/>
                  </a:lnTo>
                  <a:lnTo>
                    <a:pt x="131" y="994"/>
                  </a:lnTo>
                  <a:lnTo>
                    <a:pt x="134" y="992"/>
                  </a:lnTo>
                  <a:lnTo>
                    <a:pt x="135" y="991"/>
                  </a:lnTo>
                  <a:lnTo>
                    <a:pt x="136" y="991"/>
                  </a:lnTo>
                  <a:lnTo>
                    <a:pt x="137" y="992"/>
                  </a:lnTo>
                  <a:lnTo>
                    <a:pt x="137" y="993"/>
                  </a:lnTo>
                  <a:lnTo>
                    <a:pt x="135" y="1001"/>
                  </a:lnTo>
                  <a:lnTo>
                    <a:pt x="135" y="1005"/>
                  </a:lnTo>
                  <a:lnTo>
                    <a:pt x="134" y="1011"/>
                  </a:lnTo>
                  <a:lnTo>
                    <a:pt x="132" y="1017"/>
                  </a:lnTo>
                  <a:lnTo>
                    <a:pt x="130" y="1020"/>
                  </a:lnTo>
                  <a:lnTo>
                    <a:pt x="129" y="1022"/>
                  </a:lnTo>
                  <a:lnTo>
                    <a:pt x="127" y="1022"/>
                  </a:lnTo>
                  <a:lnTo>
                    <a:pt x="125" y="1020"/>
                  </a:lnTo>
                  <a:lnTo>
                    <a:pt x="121" y="1013"/>
                  </a:lnTo>
                  <a:lnTo>
                    <a:pt x="120" y="1011"/>
                  </a:lnTo>
                  <a:lnTo>
                    <a:pt x="118" y="1015"/>
                  </a:lnTo>
                  <a:lnTo>
                    <a:pt x="111" y="1024"/>
                  </a:lnTo>
                  <a:lnTo>
                    <a:pt x="104" y="1035"/>
                  </a:lnTo>
                  <a:lnTo>
                    <a:pt x="98" y="1045"/>
                  </a:lnTo>
                  <a:lnTo>
                    <a:pt x="88" y="1056"/>
                  </a:lnTo>
                  <a:lnTo>
                    <a:pt x="84" y="1062"/>
                  </a:lnTo>
                  <a:lnTo>
                    <a:pt x="86" y="1067"/>
                  </a:lnTo>
                  <a:lnTo>
                    <a:pt x="88" y="1073"/>
                  </a:lnTo>
                  <a:lnTo>
                    <a:pt x="87" y="1076"/>
                  </a:lnTo>
                  <a:lnTo>
                    <a:pt x="86" y="1081"/>
                  </a:lnTo>
                  <a:lnTo>
                    <a:pt x="86" y="1085"/>
                  </a:lnTo>
                  <a:lnTo>
                    <a:pt x="87" y="1088"/>
                  </a:lnTo>
                  <a:lnTo>
                    <a:pt x="96" y="1088"/>
                  </a:lnTo>
                  <a:lnTo>
                    <a:pt x="103" y="1087"/>
                  </a:lnTo>
                  <a:lnTo>
                    <a:pt x="108" y="1084"/>
                  </a:lnTo>
                  <a:lnTo>
                    <a:pt x="113" y="1078"/>
                  </a:lnTo>
                  <a:lnTo>
                    <a:pt x="115" y="1074"/>
                  </a:lnTo>
                  <a:lnTo>
                    <a:pt x="118" y="1069"/>
                  </a:lnTo>
                  <a:lnTo>
                    <a:pt x="119" y="1068"/>
                  </a:lnTo>
                  <a:lnTo>
                    <a:pt x="119" y="1067"/>
                  </a:lnTo>
                  <a:lnTo>
                    <a:pt x="120" y="1068"/>
                  </a:lnTo>
                  <a:lnTo>
                    <a:pt x="119" y="1070"/>
                  </a:lnTo>
                  <a:lnTo>
                    <a:pt x="119" y="1080"/>
                  </a:lnTo>
                  <a:lnTo>
                    <a:pt x="120" y="1085"/>
                  </a:lnTo>
                  <a:lnTo>
                    <a:pt x="120" y="1087"/>
                  </a:lnTo>
                  <a:lnTo>
                    <a:pt x="120" y="1089"/>
                  </a:lnTo>
                  <a:lnTo>
                    <a:pt x="119" y="1091"/>
                  </a:lnTo>
                  <a:lnTo>
                    <a:pt x="116" y="1095"/>
                  </a:lnTo>
                  <a:lnTo>
                    <a:pt x="109" y="1102"/>
                  </a:lnTo>
                  <a:lnTo>
                    <a:pt x="104" y="1106"/>
                  </a:lnTo>
                  <a:lnTo>
                    <a:pt x="101" y="1117"/>
                  </a:lnTo>
                  <a:lnTo>
                    <a:pt x="96" y="1125"/>
                  </a:lnTo>
                  <a:lnTo>
                    <a:pt x="93" y="1124"/>
                  </a:lnTo>
                  <a:lnTo>
                    <a:pt x="92" y="1123"/>
                  </a:lnTo>
                  <a:lnTo>
                    <a:pt x="91" y="1123"/>
                  </a:lnTo>
                  <a:lnTo>
                    <a:pt x="90" y="1123"/>
                  </a:lnTo>
                  <a:lnTo>
                    <a:pt x="89" y="1124"/>
                  </a:lnTo>
                  <a:lnTo>
                    <a:pt x="88" y="1126"/>
                  </a:lnTo>
                  <a:lnTo>
                    <a:pt x="82" y="1137"/>
                  </a:lnTo>
                  <a:lnTo>
                    <a:pt x="79" y="1147"/>
                  </a:lnTo>
                  <a:lnTo>
                    <a:pt x="78" y="1153"/>
                  </a:lnTo>
                  <a:lnTo>
                    <a:pt x="75" y="1158"/>
                  </a:lnTo>
                  <a:lnTo>
                    <a:pt x="72" y="1161"/>
                  </a:lnTo>
                  <a:lnTo>
                    <a:pt x="71" y="1163"/>
                  </a:lnTo>
                  <a:lnTo>
                    <a:pt x="68" y="1168"/>
                  </a:lnTo>
                  <a:lnTo>
                    <a:pt x="66" y="1178"/>
                  </a:lnTo>
                  <a:lnTo>
                    <a:pt x="64" y="1192"/>
                  </a:lnTo>
                  <a:lnTo>
                    <a:pt x="63" y="1202"/>
                  </a:lnTo>
                  <a:lnTo>
                    <a:pt x="63" y="1210"/>
                  </a:lnTo>
                  <a:lnTo>
                    <a:pt x="64" y="1214"/>
                  </a:lnTo>
                  <a:lnTo>
                    <a:pt x="66" y="1220"/>
                  </a:lnTo>
                  <a:lnTo>
                    <a:pt x="70" y="1232"/>
                  </a:lnTo>
                  <a:lnTo>
                    <a:pt x="70" y="1233"/>
                  </a:lnTo>
                  <a:lnTo>
                    <a:pt x="71" y="1234"/>
                  </a:lnTo>
                  <a:lnTo>
                    <a:pt x="72" y="1234"/>
                  </a:lnTo>
                  <a:lnTo>
                    <a:pt x="75" y="1234"/>
                  </a:lnTo>
                  <a:lnTo>
                    <a:pt x="77" y="1232"/>
                  </a:lnTo>
                  <a:lnTo>
                    <a:pt x="79" y="1230"/>
                  </a:lnTo>
                  <a:lnTo>
                    <a:pt x="81" y="1227"/>
                  </a:lnTo>
                  <a:lnTo>
                    <a:pt x="83" y="1224"/>
                  </a:lnTo>
                  <a:lnTo>
                    <a:pt x="84" y="1223"/>
                  </a:lnTo>
                  <a:lnTo>
                    <a:pt x="85" y="1224"/>
                  </a:lnTo>
                  <a:lnTo>
                    <a:pt x="84" y="1232"/>
                  </a:lnTo>
                  <a:lnTo>
                    <a:pt x="81" y="1244"/>
                  </a:lnTo>
                  <a:lnTo>
                    <a:pt x="80" y="1251"/>
                  </a:lnTo>
                  <a:lnTo>
                    <a:pt x="79" y="1257"/>
                  </a:lnTo>
                  <a:lnTo>
                    <a:pt x="79" y="1262"/>
                  </a:lnTo>
                  <a:lnTo>
                    <a:pt x="80" y="1266"/>
                  </a:lnTo>
                  <a:lnTo>
                    <a:pt x="81" y="1268"/>
                  </a:lnTo>
                  <a:lnTo>
                    <a:pt x="83" y="1269"/>
                  </a:lnTo>
                  <a:lnTo>
                    <a:pt x="86" y="1269"/>
                  </a:lnTo>
                  <a:lnTo>
                    <a:pt x="88" y="1267"/>
                  </a:lnTo>
                  <a:lnTo>
                    <a:pt x="92" y="1263"/>
                  </a:lnTo>
                  <a:lnTo>
                    <a:pt x="97" y="1258"/>
                  </a:lnTo>
                  <a:lnTo>
                    <a:pt x="99" y="1259"/>
                  </a:lnTo>
                  <a:lnTo>
                    <a:pt x="103" y="1263"/>
                  </a:lnTo>
                  <a:lnTo>
                    <a:pt x="108" y="1259"/>
                  </a:lnTo>
                  <a:lnTo>
                    <a:pt x="115" y="1251"/>
                  </a:lnTo>
                  <a:lnTo>
                    <a:pt x="119" y="1247"/>
                  </a:lnTo>
                  <a:lnTo>
                    <a:pt x="121" y="1245"/>
                  </a:lnTo>
                  <a:lnTo>
                    <a:pt x="122" y="1244"/>
                  </a:lnTo>
                  <a:lnTo>
                    <a:pt x="121" y="1247"/>
                  </a:lnTo>
                  <a:lnTo>
                    <a:pt x="119" y="1252"/>
                  </a:lnTo>
                  <a:lnTo>
                    <a:pt x="116" y="1256"/>
                  </a:lnTo>
                  <a:lnTo>
                    <a:pt x="114" y="1259"/>
                  </a:lnTo>
                  <a:lnTo>
                    <a:pt x="113" y="1264"/>
                  </a:lnTo>
                  <a:lnTo>
                    <a:pt x="114" y="1273"/>
                  </a:lnTo>
                  <a:lnTo>
                    <a:pt x="114" y="1275"/>
                  </a:lnTo>
                  <a:lnTo>
                    <a:pt x="110" y="1284"/>
                  </a:lnTo>
                  <a:lnTo>
                    <a:pt x="104" y="1297"/>
                  </a:lnTo>
                  <a:lnTo>
                    <a:pt x="97" y="1307"/>
                  </a:lnTo>
                  <a:lnTo>
                    <a:pt x="83" y="1326"/>
                  </a:lnTo>
                  <a:lnTo>
                    <a:pt x="69" y="1345"/>
                  </a:lnTo>
                  <a:lnTo>
                    <a:pt x="61" y="1356"/>
                  </a:lnTo>
                  <a:lnTo>
                    <a:pt x="53" y="1371"/>
                  </a:lnTo>
                  <a:lnTo>
                    <a:pt x="45" y="1383"/>
                  </a:lnTo>
                  <a:lnTo>
                    <a:pt x="40" y="1386"/>
                  </a:lnTo>
                  <a:lnTo>
                    <a:pt x="37" y="1391"/>
                  </a:lnTo>
                  <a:lnTo>
                    <a:pt x="37" y="1394"/>
                  </a:lnTo>
                  <a:lnTo>
                    <a:pt x="36" y="1397"/>
                  </a:lnTo>
                  <a:lnTo>
                    <a:pt x="35" y="1399"/>
                  </a:lnTo>
                  <a:lnTo>
                    <a:pt x="34" y="1400"/>
                  </a:lnTo>
                  <a:lnTo>
                    <a:pt x="31" y="1402"/>
                  </a:lnTo>
                  <a:lnTo>
                    <a:pt x="27" y="1404"/>
                  </a:lnTo>
                  <a:lnTo>
                    <a:pt x="25" y="1406"/>
                  </a:lnTo>
                  <a:lnTo>
                    <a:pt x="24" y="1409"/>
                  </a:lnTo>
                  <a:lnTo>
                    <a:pt x="21" y="1414"/>
                  </a:lnTo>
                  <a:lnTo>
                    <a:pt x="17" y="1419"/>
                  </a:lnTo>
                  <a:lnTo>
                    <a:pt x="13" y="1426"/>
                  </a:lnTo>
                  <a:lnTo>
                    <a:pt x="10" y="1434"/>
                  </a:lnTo>
                  <a:lnTo>
                    <a:pt x="9" y="1436"/>
                  </a:lnTo>
                  <a:lnTo>
                    <a:pt x="8" y="1437"/>
                  </a:lnTo>
                  <a:lnTo>
                    <a:pt x="6" y="1437"/>
                  </a:lnTo>
                  <a:lnTo>
                    <a:pt x="4" y="1438"/>
                  </a:lnTo>
                  <a:lnTo>
                    <a:pt x="3" y="1438"/>
                  </a:lnTo>
                  <a:lnTo>
                    <a:pt x="1" y="1439"/>
                  </a:lnTo>
                  <a:lnTo>
                    <a:pt x="1" y="1442"/>
                  </a:lnTo>
                  <a:lnTo>
                    <a:pt x="0" y="1447"/>
                  </a:lnTo>
                  <a:lnTo>
                    <a:pt x="0" y="1454"/>
                  </a:lnTo>
                  <a:lnTo>
                    <a:pt x="1" y="1458"/>
                  </a:lnTo>
                  <a:lnTo>
                    <a:pt x="2" y="1458"/>
                  </a:lnTo>
                  <a:lnTo>
                    <a:pt x="3" y="1455"/>
                  </a:lnTo>
                  <a:lnTo>
                    <a:pt x="6" y="1446"/>
                  </a:lnTo>
                  <a:lnTo>
                    <a:pt x="10" y="1439"/>
                  </a:lnTo>
                  <a:lnTo>
                    <a:pt x="12" y="1440"/>
                  </a:lnTo>
                  <a:lnTo>
                    <a:pt x="15" y="1438"/>
                  </a:lnTo>
                  <a:lnTo>
                    <a:pt x="18" y="1435"/>
                  </a:lnTo>
                  <a:lnTo>
                    <a:pt x="21" y="1430"/>
                  </a:lnTo>
                  <a:lnTo>
                    <a:pt x="23" y="1422"/>
                  </a:lnTo>
                  <a:lnTo>
                    <a:pt x="24" y="1415"/>
                  </a:lnTo>
                  <a:lnTo>
                    <a:pt x="25" y="1413"/>
                  </a:lnTo>
                  <a:lnTo>
                    <a:pt x="26" y="1410"/>
                  </a:lnTo>
                  <a:lnTo>
                    <a:pt x="27" y="1409"/>
                  </a:lnTo>
                  <a:lnTo>
                    <a:pt x="30" y="1408"/>
                  </a:lnTo>
                  <a:lnTo>
                    <a:pt x="34" y="1409"/>
                  </a:lnTo>
                  <a:lnTo>
                    <a:pt x="36" y="1409"/>
                  </a:lnTo>
                  <a:lnTo>
                    <a:pt x="39" y="1407"/>
                  </a:lnTo>
                  <a:lnTo>
                    <a:pt x="42" y="1400"/>
                  </a:lnTo>
                  <a:lnTo>
                    <a:pt x="46" y="1392"/>
                  </a:lnTo>
                  <a:lnTo>
                    <a:pt x="48" y="1387"/>
                  </a:lnTo>
                  <a:lnTo>
                    <a:pt x="50" y="1385"/>
                  </a:lnTo>
                  <a:lnTo>
                    <a:pt x="52" y="1384"/>
                  </a:lnTo>
                  <a:lnTo>
                    <a:pt x="54" y="1384"/>
                  </a:lnTo>
                  <a:lnTo>
                    <a:pt x="55" y="1385"/>
                  </a:lnTo>
                  <a:lnTo>
                    <a:pt x="57" y="1385"/>
                  </a:lnTo>
                  <a:lnTo>
                    <a:pt x="59" y="1384"/>
                  </a:lnTo>
                  <a:lnTo>
                    <a:pt x="61" y="1383"/>
                  </a:lnTo>
                  <a:lnTo>
                    <a:pt x="62" y="1381"/>
                  </a:lnTo>
                  <a:lnTo>
                    <a:pt x="65" y="1377"/>
                  </a:lnTo>
                  <a:lnTo>
                    <a:pt x="66" y="1375"/>
                  </a:lnTo>
                  <a:lnTo>
                    <a:pt x="66" y="1371"/>
                  </a:lnTo>
                  <a:lnTo>
                    <a:pt x="68" y="1365"/>
                  </a:lnTo>
                  <a:lnTo>
                    <a:pt x="70" y="1362"/>
                  </a:lnTo>
                  <a:lnTo>
                    <a:pt x="72" y="1361"/>
                  </a:lnTo>
                  <a:lnTo>
                    <a:pt x="75" y="1361"/>
                  </a:lnTo>
                  <a:lnTo>
                    <a:pt x="77" y="1364"/>
                  </a:lnTo>
                  <a:lnTo>
                    <a:pt x="79" y="1369"/>
                  </a:lnTo>
                  <a:lnTo>
                    <a:pt x="82" y="1372"/>
                  </a:lnTo>
                  <a:lnTo>
                    <a:pt x="85" y="1374"/>
                  </a:lnTo>
                  <a:lnTo>
                    <a:pt x="88" y="1375"/>
                  </a:lnTo>
                  <a:lnTo>
                    <a:pt x="91" y="1375"/>
                  </a:lnTo>
                  <a:lnTo>
                    <a:pt x="92" y="1375"/>
                  </a:lnTo>
                  <a:lnTo>
                    <a:pt x="93" y="1373"/>
                  </a:lnTo>
                  <a:lnTo>
                    <a:pt x="92" y="1369"/>
                  </a:lnTo>
                  <a:lnTo>
                    <a:pt x="89" y="1361"/>
                  </a:lnTo>
                  <a:lnTo>
                    <a:pt x="85" y="1354"/>
                  </a:lnTo>
                  <a:lnTo>
                    <a:pt x="84" y="1351"/>
                  </a:lnTo>
                  <a:lnTo>
                    <a:pt x="83" y="1349"/>
                  </a:lnTo>
                  <a:lnTo>
                    <a:pt x="83" y="1347"/>
                  </a:lnTo>
                  <a:lnTo>
                    <a:pt x="84" y="1346"/>
                  </a:lnTo>
                  <a:lnTo>
                    <a:pt x="88" y="1345"/>
                  </a:lnTo>
                  <a:lnTo>
                    <a:pt x="92" y="1343"/>
                  </a:lnTo>
                  <a:lnTo>
                    <a:pt x="96" y="1342"/>
                  </a:lnTo>
                  <a:lnTo>
                    <a:pt x="98" y="1340"/>
                  </a:lnTo>
                  <a:lnTo>
                    <a:pt x="99" y="1338"/>
                  </a:lnTo>
                  <a:lnTo>
                    <a:pt x="101" y="1335"/>
                  </a:lnTo>
                  <a:lnTo>
                    <a:pt x="106" y="1325"/>
                  </a:lnTo>
                  <a:lnTo>
                    <a:pt x="115" y="1310"/>
                  </a:lnTo>
                  <a:lnTo>
                    <a:pt x="126" y="1294"/>
                  </a:lnTo>
                  <a:lnTo>
                    <a:pt x="132" y="1281"/>
                  </a:lnTo>
                  <a:lnTo>
                    <a:pt x="136" y="1271"/>
                  </a:lnTo>
                  <a:lnTo>
                    <a:pt x="143" y="1258"/>
                  </a:lnTo>
                  <a:lnTo>
                    <a:pt x="149" y="1245"/>
                  </a:lnTo>
                  <a:lnTo>
                    <a:pt x="153" y="1237"/>
                  </a:lnTo>
                  <a:lnTo>
                    <a:pt x="158" y="1225"/>
                  </a:lnTo>
                  <a:lnTo>
                    <a:pt x="166" y="1207"/>
                  </a:lnTo>
                  <a:lnTo>
                    <a:pt x="172" y="1189"/>
                  </a:lnTo>
                  <a:lnTo>
                    <a:pt x="175" y="1180"/>
                  </a:lnTo>
                  <a:lnTo>
                    <a:pt x="179" y="1174"/>
                  </a:lnTo>
                  <a:lnTo>
                    <a:pt x="190" y="1159"/>
                  </a:lnTo>
                  <a:lnTo>
                    <a:pt x="195" y="1153"/>
                  </a:lnTo>
                  <a:lnTo>
                    <a:pt x="199" y="1148"/>
                  </a:lnTo>
                  <a:lnTo>
                    <a:pt x="201" y="1146"/>
                  </a:lnTo>
                  <a:lnTo>
                    <a:pt x="202" y="1145"/>
                  </a:lnTo>
                  <a:lnTo>
                    <a:pt x="203" y="1145"/>
                  </a:lnTo>
                  <a:lnTo>
                    <a:pt x="203" y="1146"/>
                  </a:lnTo>
                  <a:lnTo>
                    <a:pt x="203" y="1153"/>
                  </a:lnTo>
                  <a:lnTo>
                    <a:pt x="202" y="1158"/>
                  </a:lnTo>
                  <a:lnTo>
                    <a:pt x="200" y="1162"/>
                  </a:lnTo>
                  <a:lnTo>
                    <a:pt x="198" y="1163"/>
                  </a:lnTo>
                  <a:lnTo>
                    <a:pt x="196" y="1164"/>
                  </a:lnTo>
                  <a:lnTo>
                    <a:pt x="194" y="1164"/>
                  </a:lnTo>
                  <a:lnTo>
                    <a:pt x="192" y="1166"/>
                  </a:lnTo>
                  <a:lnTo>
                    <a:pt x="189" y="1172"/>
                  </a:lnTo>
                  <a:lnTo>
                    <a:pt x="181" y="1189"/>
                  </a:lnTo>
                  <a:lnTo>
                    <a:pt x="177" y="1201"/>
                  </a:lnTo>
                  <a:lnTo>
                    <a:pt x="176" y="1207"/>
                  </a:lnTo>
                  <a:lnTo>
                    <a:pt x="174" y="1214"/>
                  </a:lnTo>
                  <a:lnTo>
                    <a:pt x="172" y="1221"/>
                  </a:lnTo>
                  <a:lnTo>
                    <a:pt x="169" y="1225"/>
                  </a:lnTo>
                  <a:lnTo>
                    <a:pt x="167" y="1232"/>
                  </a:lnTo>
                  <a:lnTo>
                    <a:pt x="164" y="1242"/>
                  </a:lnTo>
                  <a:lnTo>
                    <a:pt x="159" y="1254"/>
                  </a:lnTo>
                  <a:lnTo>
                    <a:pt x="153" y="1263"/>
                  </a:lnTo>
                  <a:lnTo>
                    <a:pt x="147" y="1269"/>
                  </a:lnTo>
                  <a:lnTo>
                    <a:pt x="142" y="1274"/>
                  </a:lnTo>
                  <a:lnTo>
                    <a:pt x="140" y="1276"/>
                  </a:lnTo>
                  <a:lnTo>
                    <a:pt x="137" y="1278"/>
                  </a:lnTo>
                  <a:lnTo>
                    <a:pt x="136" y="1280"/>
                  </a:lnTo>
                  <a:lnTo>
                    <a:pt x="136" y="1283"/>
                  </a:lnTo>
                  <a:lnTo>
                    <a:pt x="136" y="1286"/>
                  </a:lnTo>
                  <a:lnTo>
                    <a:pt x="137" y="1288"/>
                  </a:lnTo>
                  <a:lnTo>
                    <a:pt x="138" y="1290"/>
                  </a:lnTo>
                  <a:lnTo>
                    <a:pt x="141" y="1291"/>
                  </a:lnTo>
                  <a:lnTo>
                    <a:pt x="142" y="1293"/>
                  </a:lnTo>
                  <a:lnTo>
                    <a:pt x="143" y="1295"/>
                  </a:lnTo>
                  <a:lnTo>
                    <a:pt x="142" y="1297"/>
                  </a:lnTo>
                  <a:lnTo>
                    <a:pt x="141" y="1300"/>
                  </a:lnTo>
                  <a:lnTo>
                    <a:pt x="137" y="1307"/>
                  </a:lnTo>
                  <a:lnTo>
                    <a:pt x="135" y="1313"/>
                  </a:lnTo>
                  <a:lnTo>
                    <a:pt x="135" y="1318"/>
                  </a:lnTo>
                  <a:lnTo>
                    <a:pt x="136" y="1320"/>
                  </a:lnTo>
                  <a:lnTo>
                    <a:pt x="143" y="1312"/>
                  </a:lnTo>
                  <a:lnTo>
                    <a:pt x="148" y="1304"/>
                  </a:lnTo>
                  <a:lnTo>
                    <a:pt x="154" y="1299"/>
                  </a:lnTo>
                  <a:lnTo>
                    <a:pt x="163" y="1288"/>
                  </a:lnTo>
                  <a:lnTo>
                    <a:pt x="165" y="1282"/>
                  </a:lnTo>
                  <a:lnTo>
                    <a:pt x="167" y="1271"/>
                  </a:lnTo>
                  <a:lnTo>
                    <a:pt x="169" y="1260"/>
                  </a:lnTo>
                  <a:lnTo>
                    <a:pt x="169" y="1255"/>
                  </a:lnTo>
                  <a:lnTo>
                    <a:pt x="169" y="1252"/>
                  </a:lnTo>
                  <a:lnTo>
                    <a:pt x="169" y="1244"/>
                  </a:lnTo>
                  <a:lnTo>
                    <a:pt x="170" y="1239"/>
                  </a:lnTo>
                  <a:lnTo>
                    <a:pt x="172" y="1234"/>
                  </a:lnTo>
                  <a:lnTo>
                    <a:pt x="175" y="1228"/>
                  </a:lnTo>
                  <a:lnTo>
                    <a:pt x="180" y="1221"/>
                  </a:lnTo>
                  <a:lnTo>
                    <a:pt x="198" y="1202"/>
                  </a:lnTo>
                  <a:lnTo>
                    <a:pt x="205" y="1196"/>
                  </a:lnTo>
                  <a:lnTo>
                    <a:pt x="208" y="1192"/>
                  </a:lnTo>
                  <a:lnTo>
                    <a:pt x="211" y="1186"/>
                  </a:lnTo>
                  <a:lnTo>
                    <a:pt x="213" y="1184"/>
                  </a:lnTo>
                  <a:lnTo>
                    <a:pt x="215" y="1181"/>
                  </a:lnTo>
                  <a:lnTo>
                    <a:pt x="216" y="1183"/>
                  </a:lnTo>
                  <a:lnTo>
                    <a:pt x="218" y="1185"/>
                  </a:lnTo>
                  <a:lnTo>
                    <a:pt x="219" y="1186"/>
                  </a:lnTo>
                  <a:lnTo>
                    <a:pt x="219" y="1186"/>
                  </a:lnTo>
                  <a:lnTo>
                    <a:pt x="220" y="1186"/>
                  </a:lnTo>
                  <a:lnTo>
                    <a:pt x="221" y="1186"/>
                  </a:lnTo>
                  <a:lnTo>
                    <a:pt x="224" y="1183"/>
                  </a:lnTo>
                  <a:lnTo>
                    <a:pt x="227" y="1179"/>
                  </a:lnTo>
                  <a:lnTo>
                    <a:pt x="228" y="1174"/>
                  </a:lnTo>
                  <a:lnTo>
                    <a:pt x="229" y="1170"/>
                  </a:lnTo>
                  <a:lnTo>
                    <a:pt x="230" y="1167"/>
                  </a:lnTo>
                  <a:lnTo>
                    <a:pt x="229" y="1165"/>
                  </a:lnTo>
                  <a:lnTo>
                    <a:pt x="229" y="1162"/>
                  </a:lnTo>
                  <a:lnTo>
                    <a:pt x="229" y="1158"/>
                  </a:lnTo>
                  <a:lnTo>
                    <a:pt x="230" y="1154"/>
                  </a:lnTo>
                  <a:lnTo>
                    <a:pt x="232" y="1150"/>
                  </a:lnTo>
                  <a:lnTo>
                    <a:pt x="233" y="1147"/>
                  </a:lnTo>
                  <a:lnTo>
                    <a:pt x="235" y="1145"/>
                  </a:lnTo>
                  <a:lnTo>
                    <a:pt x="236" y="1145"/>
                  </a:lnTo>
                  <a:lnTo>
                    <a:pt x="238" y="1146"/>
                  </a:lnTo>
                  <a:lnTo>
                    <a:pt x="238" y="1147"/>
                  </a:lnTo>
                  <a:lnTo>
                    <a:pt x="239" y="1149"/>
                  </a:lnTo>
                  <a:lnTo>
                    <a:pt x="243" y="1157"/>
                  </a:lnTo>
                  <a:lnTo>
                    <a:pt x="249" y="1162"/>
                  </a:lnTo>
                  <a:lnTo>
                    <a:pt x="252" y="1165"/>
                  </a:lnTo>
                  <a:lnTo>
                    <a:pt x="253" y="1166"/>
                  </a:lnTo>
                  <a:lnTo>
                    <a:pt x="257" y="1168"/>
                  </a:lnTo>
                  <a:lnTo>
                    <a:pt x="267" y="1174"/>
                  </a:lnTo>
                  <a:lnTo>
                    <a:pt x="271" y="1174"/>
                  </a:lnTo>
                  <a:lnTo>
                    <a:pt x="273" y="1173"/>
                  </a:lnTo>
                  <a:lnTo>
                    <a:pt x="275" y="1172"/>
                  </a:lnTo>
                  <a:lnTo>
                    <a:pt x="277" y="1170"/>
                  </a:lnTo>
                  <a:lnTo>
                    <a:pt x="280" y="1168"/>
                  </a:lnTo>
                  <a:lnTo>
                    <a:pt x="283" y="1168"/>
                  </a:lnTo>
                  <a:lnTo>
                    <a:pt x="288" y="1169"/>
                  </a:lnTo>
                  <a:lnTo>
                    <a:pt x="295" y="1172"/>
                  </a:lnTo>
                  <a:lnTo>
                    <a:pt x="306" y="1181"/>
                  </a:lnTo>
                  <a:lnTo>
                    <a:pt x="315" y="1188"/>
                  </a:lnTo>
                  <a:lnTo>
                    <a:pt x="322" y="1194"/>
                  </a:lnTo>
                  <a:lnTo>
                    <a:pt x="327" y="1200"/>
                  </a:lnTo>
                  <a:lnTo>
                    <a:pt x="331" y="1202"/>
                  </a:lnTo>
                  <a:lnTo>
                    <a:pt x="337" y="1203"/>
                  </a:lnTo>
                  <a:lnTo>
                    <a:pt x="341" y="1203"/>
                  </a:lnTo>
                  <a:lnTo>
                    <a:pt x="346" y="1205"/>
                  </a:lnTo>
                  <a:lnTo>
                    <a:pt x="349" y="1206"/>
                  </a:lnTo>
                  <a:lnTo>
                    <a:pt x="352" y="1209"/>
                  </a:lnTo>
                  <a:lnTo>
                    <a:pt x="354" y="1214"/>
                  </a:lnTo>
                  <a:lnTo>
                    <a:pt x="355" y="1223"/>
                  </a:lnTo>
                  <a:lnTo>
                    <a:pt x="354" y="1241"/>
                  </a:lnTo>
                  <a:lnTo>
                    <a:pt x="354" y="1256"/>
                  </a:lnTo>
                  <a:lnTo>
                    <a:pt x="354" y="1261"/>
                  </a:lnTo>
                  <a:lnTo>
                    <a:pt x="355" y="1266"/>
                  </a:lnTo>
                  <a:lnTo>
                    <a:pt x="357" y="1271"/>
                  </a:lnTo>
                  <a:lnTo>
                    <a:pt x="361" y="1275"/>
                  </a:lnTo>
                  <a:lnTo>
                    <a:pt x="371" y="1285"/>
                  </a:lnTo>
                  <a:lnTo>
                    <a:pt x="386" y="1302"/>
                  </a:lnTo>
                  <a:lnTo>
                    <a:pt x="400" y="1320"/>
                  </a:lnTo>
                  <a:lnTo>
                    <a:pt x="411" y="1330"/>
                  </a:lnTo>
                  <a:lnTo>
                    <a:pt x="415" y="1333"/>
                  </a:lnTo>
                  <a:lnTo>
                    <a:pt x="420" y="1335"/>
                  </a:lnTo>
                  <a:lnTo>
                    <a:pt x="426" y="1335"/>
                  </a:lnTo>
                  <a:lnTo>
                    <a:pt x="430" y="1337"/>
                  </a:lnTo>
                  <a:lnTo>
                    <a:pt x="435" y="1338"/>
                  </a:lnTo>
                  <a:lnTo>
                    <a:pt x="439" y="1340"/>
                  </a:lnTo>
                  <a:lnTo>
                    <a:pt x="442" y="1345"/>
                  </a:lnTo>
                  <a:lnTo>
                    <a:pt x="444" y="1351"/>
                  </a:lnTo>
                  <a:lnTo>
                    <a:pt x="447" y="1361"/>
                  </a:lnTo>
                  <a:lnTo>
                    <a:pt x="451" y="1370"/>
                  </a:lnTo>
                  <a:lnTo>
                    <a:pt x="455" y="1380"/>
                  </a:lnTo>
                  <a:lnTo>
                    <a:pt x="459" y="1389"/>
                  </a:lnTo>
                  <a:lnTo>
                    <a:pt x="466" y="1404"/>
                  </a:lnTo>
                  <a:lnTo>
                    <a:pt x="470" y="1410"/>
                  </a:lnTo>
                  <a:lnTo>
                    <a:pt x="471" y="1412"/>
                  </a:lnTo>
                  <a:lnTo>
                    <a:pt x="472" y="1419"/>
                  </a:lnTo>
                  <a:lnTo>
                    <a:pt x="473" y="1426"/>
                  </a:lnTo>
                  <a:lnTo>
                    <a:pt x="472" y="1432"/>
                  </a:lnTo>
                  <a:lnTo>
                    <a:pt x="471" y="1440"/>
                  </a:lnTo>
                  <a:lnTo>
                    <a:pt x="469" y="1449"/>
                  </a:lnTo>
                  <a:lnTo>
                    <a:pt x="467" y="1454"/>
                  </a:lnTo>
                  <a:lnTo>
                    <a:pt x="466" y="1458"/>
                  </a:lnTo>
                  <a:lnTo>
                    <a:pt x="467" y="1461"/>
                  </a:lnTo>
                  <a:lnTo>
                    <a:pt x="469" y="1464"/>
                  </a:lnTo>
                  <a:lnTo>
                    <a:pt x="474" y="1471"/>
                  </a:lnTo>
                  <a:lnTo>
                    <a:pt x="480" y="1476"/>
                  </a:lnTo>
                  <a:lnTo>
                    <a:pt x="487" y="1482"/>
                  </a:lnTo>
                  <a:lnTo>
                    <a:pt x="495" y="1488"/>
                  </a:lnTo>
                  <a:lnTo>
                    <a:pt x="498" y="1493"/>
                  </a:lnTo>
                  <a:lnTo>
                    <a:pt x="501" y="1497"/>
                  </a:lnTo>
                  <a:lnTo>
                    <a:pt x="503" y="1502"/>
                  </a:lnTo>
                  <a:lnTo>
                    <a:pt x="505" y="1508"/>
                  </a:lnTo>
                  <a:lnTo>
                    <a:pt x="514" y="1530"/>
                  </a:lnTo>
                  <a:lnTo>
                    <a:pt x="520" y="1550"/>
                  </a:lnTo>
                  <a:lnTo>
                    <a:pt x="522" y="1562"/>
                  </a:lnTo>
                  <a:lnTo>
                    <a:pt x="524" y="1573"/>
                  </a:lnTo>
                  <a:lnTo>
                    <a:pt x="525" y="1586"/>
                  </a:lnTo>
                  <a:lnTo>
                    <a:pt x="525" y="1601"/>
                  </a:lnTo>
                  <a:lnTo>
                    <a:pt x="523" y="1615"/>
                  </a:lnTo>
                  <a:lnTo>
                    <a:pt x="521" y="1630"/>
                  </a:lnTo>
                  <a:lnTo>
                    <a:pt x="517" y="1642"/>
                  </a:lnTo>
                  <a:lnTo>
                    <a:pt x="513" y="1655"/>
                  </a:lnTo>
                  <a:lnTo>
                    <a:pt x="509" y="1668"/>
                  </a:lnTo>
                  <a:lnTo>
                    <a:pt x="506" y="1679"/>
                  </a:lnTo>
                  <a:lnTo>
                    <a:pt x="504" y="1691"/>
                  </a:lnTo>
                  <a:lnTo>
                    <a:pt x="504" y="1701"/>
                  </a:lnTo>
                  <a:lnTo>
                    <a:pt x="506" y="1713"/>
                  </a:lnTo>
                  <a:lnTo>
                    <a:pt x="509" y="1725"/>
                  </a:lnTo>
                  <a:lnTo>
                    <a:pt x="515" y="1739"/>
                  </a:lnTo>
                  <a:lnTo>
                    <a:pt x="521" y="1754"/>
                  </a:lnTo>
                  <a:lnTo>
                    <a:pt x="533" y="1781"/>
                  </a:lnTo>
                  <a:lnTo>
                    <a:pt x="545" y="1806"/>
                  </a:lnTo>
                  <a:lnTo>
                    <a:pt x="554" y="1830"/>
                  </a:lnTo>
                  <a:lnTo>
                    <a:pt x="565" y="1854"/>
                  </a:lnTo>
                  <a:lnTo>
                    <a:pt x="570" y="1865"/>
                  </a:lnTo>
                  <a:lnTo>
                    <a:pt x="575" y="1874"/>
                  </a:lnTo>
                  <a:lnTo>
                    <a:pt x="581" y="1882"/>
                  </a:lnTo>
                  <a:lnTo>
                    <a:pt x="586" y="1888"/>
                  </a:lnTo>
                  <a:lnTo>
                    <a:pt x="598" y="1894"/>
                  </a:lnTo>
                  <a:lnTo>
                    <a:pt x="613" y="1900"/>
                  </a:lnTo>
                  <a:lnTo>
                    <a:pt x="620" y="1902"/>
                  </a:lnTo>
                  <a:lnTo>
                    <a:pt x="627" y="1905"/>
                  </a:lnTo>
                  <a:lnTo>
                    <a:pt x="632" y="1910"/>
                  </a:lnTo>
                  <a:lnTo>
                    <a:pt x="635" y="1915"/>
                  </a:lnTo>
                  <a:lnTo>
                    <a:pt x="641" y="1926"/>
                  </a:lnTo>
                  <a:lnTo>
                    <a:pt x="649" y="1940"/>
                  </a:lnTo>
                  <a:lnTo>
                    <a:pt x="656" y="1954"/>
                  </a:lnTo>
                  <a:lnTo>
                    <a:pt x="659" y="1963"/>
                  </a:lnTo>
                  <a:lnTo>
                    <a:pt x="661" y="1970"/>
                  </a:lnTo>
                  <a:lnTo>
                    <a:pt x="662" y="1981"/>
                  </a:lnTo>
                  <a:lnTo>
                    <a:pt x="666" y="1992"/>
                  </a:lnTo>
                  <a:lnTo>
                    <a:pt x="670" y="2002"/>
                  </a:lnTo>
                  <a:lnTo>
                    <a:pt x="684" y="2012"/>
                  </a:lnTo>
                  <a:lnTo>
                    <a:pt x="696" y="2022"/>
                  </a:lnTo>
                  <a:lnTo>
                    <a:pt x="698" y="2036"/>
                  </a:lnTo>
                  <a:lnTo>
                    <a:pt x="698" y="2042"/>
                  </a:lnTo>
                  <a:lnTo>
                    <a:pt x="696" y="2043"/>
                  </a:lnTo>
                  <a:lnTo>
                    <a:pt x="693" y="2045"/>
                  </a:lnTo>
                  <a:lnTo>
                    <a:pt x="692" y="2047"/>
                  </a:lnTo>
                  <a:lnTo>
                    <a:pt x="691" y="2049"/>
                  </a:lnTo>
                  <a:lnTo>
                    <a:pt x="691" y="2052"/>
                  </a:lnTo>
                  <a:lnTo>
                    <a:pt x="692" y="2054"/>
                  </a:lnTo>
                  <a:lnTo>
                    <a:pt x="705" y="2064"/>
                  </a:lnTo>
                  <a:lnTo>
                    <a:pt x="721" y="2072"/>
                  </a:lnTo>
                  <a:lnTo>
                    <a:pt x="726" y="2078"/>
                  </a:lnTo>
                  <a:lnTo>
                    <a:pt x="733" y="2088"/>
                  </a:lnTo>
                  <a:lnTo>
                    <a:pt x="735" y="2092"/>
                  </a:lnTo>
                  <a:lnTo>
                    <a:pt x="737" y="2097"/>
                  </a:lnTo>
                  <a:lnTo>
                    <a:pt x="739" y="2102"/>
                  </a:lnTo>
                  <a:lnTo>
                    <a:pt x="739" y="2107"/>
                  </a:lnTo>
                  <a:lnTo>
                    <a:pt x="739" y="2114"/>
                  </a:lnTo>
                  <a:lnTo>
                    <a:pt x="740" y="2118"/>
                  </a:lnTo>
                  <a:lnTo>
                    <a:pt x="742" y="2122"/>
                  </a:lnTo>
                  <a:lnTo>
                    <a:pt x="746" y="2127"/>
                  </a:lnTo>
                  <a:lnTo>
                    <a:pt x="759" y="2132"/>
                  </a:lnTo>
                  <a:lnTo>
                    <a:pt x="771" y="2137"/>
                  </a:lnTo>
                  <a:lnTo>
                    <a:pt x="777" y="2141"/>
                  </a:lnTo>
                  <a:lnTo>
                    <a:pt x="780" y="2141"/>
                  </a:lnTo>
                  <a:lnTo>
                    <a:pt x="781" y="2142"/>
                  </a:lnTo>
                  <a:lnTo>
                    <a:pt x="782" y="2143"/>
                  </a:lnTo>
                  <a:lnTo>
                    <a:pt x="783" y="2144"/>
                  </a:lnTo>
                  <a:lnTo>
                    <a:pt x="783" y="2148"/>
                  </a:lnTo>
                  <a:lnTo>
                    <a:pt x="783" y="2155"/>
                  </a:lnTo>
                  <a:lnTo>
                    <a:pt x="784" y="2159"/>
                  </a:lnTo>
                  <a:lnTo>
                    <a:pt x="785" y="2162"/>
                  </a:lnTo>
                  <a:lnTo>
                    <a:pt x="787" y="2163"/>
                  </a:lnTo>
                  <a:lnTo>
                    <a:pt x="791" y="2163"/>
                  </a:lnTo>
                  <a:lnTo>
                    <a:pt x="796" y="2161"/>
                  </a:lnTo>
                  <a:lnTo>
                    <a:pt x="799" y="2159"/>
                  </a:lnTo>
                  <a:lnTo>
                    <a:pt x="801" y="2157"/>
                  </a:lnTo>
                  <a:lnTo>
                    <a:pt x="802" y="2154"/>
                  </a:lnTo>
                  <a:lnTo>
                    <a:pt x="801" y="2151"/>
                  </a:lnTo>
                  <a:lnTo>
                    <a:pt x="799" y="2144"/>
                  </a:lnTo>
                  <a:lnTo>
                    <a:pt x="795" y="2138"/>
                  </a:lnTo>
                  <a:lnTo>
                    <a:pt x="790" y="2133"/>
                  </a:lnTo>
                  <a:lnTo>
                    <a:pt x="783" y="2126"/>
                  </a:lnTo>
                  <a:lnTo>
                    <a:pt x="776" y="2115"/>
                  </a:lnTo>
                  <a:lnTo>
                    <a:pt x="768" y="2104"/>
                  </a:lnTo>
                  <a:lnTo>
                    <a:pt x="763" y="2093"/>
                  </a:lnTo>
                  <a:lnTo>
                    <a:pt x="761" y="2086"/>
                  </a:lnTo>
                  <a:lnTo>
                    <a:pt x="759" y="2081"/>
                  </a:lnTo>
                  <a:lnTo>
                    <a:pt x="757" y="2077"/>
                  </a:lnTo>
                  <a:lnTo>
                    <a:pt x="754" y="2074"/>
                  </a:lnTo>
                  <a:lnTo>
                    <a:pt x="752" y="2073"/>
                  </a:lnTo>
                  <a:lnTo>
                    <a:pt x="744" y="2062"/>
                  </a:lnTo>
                  <a:lnTo>
                    <a:pt x="728" y="2040"/>
                  </a:lnTo>
                  <a:lnTo>
                    <a:pt x="713" y="2018"/>
                  </a:lnTo>
                  <a:lnTo>
                    <a:pt x="705" y="2007"/>
                  </a:lnTo>
                  <a:lnTo>
                    <a:pt x="702" y="2001"/>
                  </a:lnTo>
                  <a:lnTo>
                    <a:pt x="697" y="1991"/>
                  </a:lnTo>
                  <a:lnTo>
                    <a:pt x="696" y="1986"/>
                  </a:lnTo>
                  <a:lnTo>
                    <a:pt x="694" y="1981"/>
                  </a:lnTo>
                  <a:lnTo>
                    <a:pt x="694" y="1977"/>
                  </a:lnTo>
                  <a:lnTo>
                    <a:pt x="696" y="1974"/>
                  </a:lnTo>
                  <a:lnTo>
                    <a:pt x="701" y="1970"/>
                  </a:lnTo>
                  <a:lnTo>
                    <a:pt x="705" y="1968"/>
                  </a:lnTo>
                  <a:lnTo>
                    <a:pt x="707" y="1967"/>
                  </a:lnTo>
                  <a:lnTo>
                    <a:pt x="710" y="1968"/>
                  </a:lnTo>
                  <a:lnTo>
                    <a:pt x="713" y="1970"/>
                  </a:lnTo>
                  <a:lnTo>
                    <a:pt x="715" y="1975"/>
                  </a:lnTo>
                  <a:lnTo>
                    <a:pt x="720" y="1985"/>
                  </a:lnTo>
                  <a:lnTo>
                    <a:pt x="725" y="1996"/>
                  </a:lnTo>
                  <a:lnTo>
                    <a:pt x="727" y="1999"/>
                  </a:lnTo>
                  <a:lnTo>
                    <a:pt x="728" y="2003"/>
                  </a:lnTo>
                  <a:lnTo>
                    <a:pt x="728" y="2007"/>
                  </a:lnTo>
                  <a:lnTo>
                    <a:pt x="729" y="2011"/>
                  </a:lnTo>
                  <a:lnTo>
                    <a:pt x="729" y="2017"/>
                  </a:lnTo>
                  <a:lnTo>
                    <a:pt x="730" y="2021"/>
                  </a:lnTo>
                  <a:lnTo>
                    <a:pt x="734" y="2025"/>
                  </a:lnTo>
                  <a:lnTo>
                    <a:pt x="739" y="2029"/>
                  </a:lnTo>
                  <a:lnTo>
                    <a:pt x="745" y="2035"/>
                  </a:lnTo>
                  <a:lnTo>
                    <a:pt x="751" y="2043"/>
                  </a:lnTo>
                  <a:lnTo>
                    <a:pt x="759" y="2051"/>
                  </a:lnTo>
                  <a:lnTo>
                    <a:pt x="766" y="2061"/>
                  </a:lnTo>
                  <a:lnTo>
                    <a:pt x="778" y="2077"/>
                  </a:lnTo>
                  <a:lnTo>
                    <a:pt x="785" y="2088"/>
                  </a:lnTo>
                  <a:lnTo>
                    <a:pt x="789" y="2093"/>
                  </a:lnTo>
                  <a:lnTo>
                    <a:pt x="796" y="2100"/>
                  </a:lnTo>
                  <a:lnTo>
                    <a:pt x="807" y="2109"/>
                  </a:lnTo>
                  <a:lnTo>
                    <a:pt x="817" y="2119"/>
                  </a:lnTo>
                  <a:lnTo>
                    <a:pt x="828" y="2128"/>
                  </a:lnTo>
                  <a:lnTo>
                    <a:pt x="836" y="2136"/>
                  </a:lnTo>
                  <a:lnTo>
                    <a:pt x="844" y="2144"/>
                  </a:lnTo>
                  <a:lnTo>
                    <a:pt x="851" y="2155"/>
                  </a:lnTo>
                  <a:lnTo>
                    <a:pt x="858" y="2166"/>
                  </a:lnTo>
                  <a:lnTo>
                    <a:pt x="867" y="2175"/>
                  </a:lnTo>
                  <a:lnTo>
                    <a:pt x="871" y="2179"/>
                  </a:lnTo>
                  <a:lnTo>
                    <a:pt x="873" y="2182"/>
                  </a:lnTo>
                  <a:lnTo>
                    <a:pt x="874" y="2186"/>
                  </a:lnTo>
                  <a:lnTo>
                    <a:pt x="873" y="2192"/>
                  </a:lnTo>
                  <a:lnTo>
                    <a:pt x="870" y="2200"/>
                  </a:lnTo>
                  <a:lnTo>
                    <a:pt x="867" y="2206"/>
                  </a:lnTo>
                  <a:lnTo>
                    <a:pt x="866" y="2208"/>
                  </a:lnTo>
                  <a:lnTo>
                    <a:pt x="865" y="2211"/>
                  </a:lnTo>
                  <a:lnTo>
                    <a:pt x="865" y="2212"/>
                  </a:lnTo>
                  <a:lnTo>
                    <a:pt x="866" y="2215"/>
                  </a:lnTo>
                  <a:lnTo>
                    <a:pt x="870" y="2222"/>
                  </a:lnTo>
                  <a:lnTo>
                    <a:pt x="879" y="2231"/>
                  </a:lnTo>
                  <a:lnTo>
                    <a:pt x="893" y="2244"/>
                  </a:lnTo>
                  <a:lnTo>
                    <a:pt x="908" y="2255"/>
                  </a:lnTo>
                  <a:lnTo>
                    <a:pt x="916" y="2262"/>
                  </a:lnTo>
                  <a:lnTo>
                    <a:pt x="927" y="2267"/>
                  </a:lnTo>
                  <a:lnTo>
                    <a:pt x="939" y="2273"/>
                  </a:lnTo>
                  <a:lnTo>
                    <a:pt x="953" y="2278"/>
                  </a:lnTo>
                  <a:lnTo>
                    <a:pt x="978" y="2289"/>
                  </a:lnTo>
                  <a:lnTo>
                    <a:pt x="997" y="2297"/>
                  </a:lnTo>
                  <a:lnTo>
                    <a:pt x="1014" y="2307"/>
                  </a:lnTo>
                  <a:lnTo>
                    <a:pt x="1033" y="2319"/>
                  </a:lnTo>
                  <a:lnTo>
                    <a:pt x="1043" y="2324"/>
                  </a:lnTo>
                  <a:lnTo>
                    <a:pt x="1051" y="2328"/>
                  </a:lnTo>
                  <a:lnTo>
                    <a:pt x="1054" y="2329"/>
                  </a:lnTo>
                  <a:lnTo>
                    <a:pt x="1057" y="2329"/>
                  </a:lnTo>
                  <a:lnTo>
                    <a:pt x="1059" y="2329"/>
                  </a:lnTo>
                  <a:lnTo>
                    <a:pt x="1061" y="2327"/>
                  </a:lnTo>
                  <a:lnTo>
                    <a:pt x="1068" y="2318"/>
                  </a:lnTo>
                  <a:lnTo>
                    <a:pt x="1077" y="2311"/>
                  </a:lnTo>
                  <a:lnTo>
                    <a:pt x="1081" y="2307"/>
                  </a:lnTo>
                  <a:lnTo>
                    <a:pt x="1087" y="2305"/>
                  </a:lnTo>
                  <a:lnTo>
                    <a:pt x="1090" y="2304"/>
                  </a:lnTo>
                  <a:lnTo>
                    <a:pt x="1093" y="2305"/>
                  </a:lnTo>
                  <a:lnTo>
                    <a:pt x="1097" y="2309"/>
                  </a:lnTo>
                  <a:lnTo>
                    <a:pt x="1101" y="2315"/>
                  </a:lnTo>
                  <a:lnTo>
                    <a:pt x="1103" y="2317"/>
                  </a:lnTo>
                  <a:lnTo>
                    <a:pt x="1107" y="2320"/>
                  </a:lnTo>
                  <a:lnTo>
                    <a:pt x="1111" y="2322"/>
                  </a:lnTo>
                  <a:lnTo>
                    <a:pt x="1116" y="2322"/>
                  </a:lnTo>
                  <a:lnTo>
                    <a:pt x="1122" y="2324"/>
                  </a:lnTo>
                  <a:lnTo>
                    <a:pt x="1129" y="2327"/>
                  </a:lnTo>
                  <a:lnTo>
                    <a:pt x="1134" y="2330"/>
                  </a:lnTo>
                  <a:lnTo>
                    <a:pt x="1140" y="2334"/>
                  </a:lnTo>
                  <a:lnTo>
                    <a:pt x="1150" y="2343"/>
                  </a:lnTo>
                  <a:lnTo>
                    <a:pt x="1158" y="2351"/>
                  </a:lnTo>
                  <a:lnTo>
                    <a:pt x="1167" y="2358"/>
                  </a:lnTo>
                  <a:lnTo>
                    <a:pt x="1182" y="2365"/>
                  </a:lnTo>
                  <a:lnTo>
                    <a:pt x="1196" y="2372"/>
                  </a:lnTo>
                  <a:lnTo>
                    <a:pt x="1205" y="2377"/>
                  </a:lnTo>
                  <a:lnTo>
                    <a:pt x="1207" y="2377"/>
                  </a:lnTo>
                  <a:lnTo>
                    <a:pt x="1210" y="2376"/>
                  </a:lnTo>
                  <a:lnTo>
                    <a:pt x="1215" y="2375"/>
                  </a:lnTo>
                  <a:lnTo>
                    <a:pt x="1219" y="2373"/>
                  </a:lnTo>
                  <a:lnTo>
                    <a:pt x="1221" y="2373"/>
                  </a:lnTo>
                  <a:lnTo>
                    <a:pt x="1223" y="2373"/>
                  </a:lnTo>
                  <a:lnTo>
                    <a:pt x="1225" y="2373"/>
                  </a:lnTo>
                  <a:lnTo>
                    <a:pt x="1227" y="2374"/>
                  </a:lnTo>
                  <a:lnTo>
                    <a:pt x="1230" y="2376"/>
                  </a:lnTo>
                  <a:lnTo>
                    <a:pt x="1232" y="2379"/>
                  </a:lnTo>
                  <a:lnTo>
                    <a:pt x="1235" y="2383"/>
                  </a:lnTo>
                  <a:lnTo>
                    <a:pt x="1239" y="2388"/>
                  </a:lnTo>
                  <a:lnTo>
                    <a:pt x="1248" y="2407"/>
                  </a:lnTo>
                  <a:lnTo>
                    <a:pt x="1255" y="2420"/>
                  </a:lnTo>
                  <a:lnTo>
                    <a:pt x="1262" y="2428"/>
                  </a:lnTo>
                  <a:lnTo>
                    <a:pt x="1269" y="2437"/>
                  </a:lnTo>
                  <a:lnTo>
                    <a:pt x="1274" y="2443"/>
                  </a:lnTo>
                  <a:lnTo>
                    <a:pt x="1283" y="2449"/>
                  </a:lnTo>
                  <a:lnTo>
                    <a:pt x="1292" y="2457"/>
                  </a:lnTo>
                  <a:lnTo>
                    <a:pt x="1303" y="2464"/>
                  </a:lnTo>
                  <a:lnTo>
                    <a:pt x="1321" y="2476"/>
                  </a:lnTo>
                  <a:lnTo>
                    <a:pt x="1331" y="2484"/>
                  </a:lnTo>
                  <a:lnTo>
                    <a:pt x="1337" y="2489"/>
                  </a:lnTo>
                  <a:lnTo>
                    <a:pt x="1349" y="2496"/>
                  </a:lnTo>
                  <a:lnTo>
                    <a:pt x="1356" y="2499"/>
                  </a:lnTo>
                  <a:lnTo>
                    <a:pt x="1363" y="2501"/>
                  </a:lnTo>
                  <a:lnTo>
                    <a:pt x="1371" y="2501"/>
                  </a:lnTo>
                  <a:lnTo>
                    <a:pt x="1378" y="2500"/>
                  </a:lnTo>
                  <a:lnTo>
                    <a:pt x="1384" y="2496"/>
                  </a:lnTo>
                  <a:lnTo>
                    <a:pt x="1390" y="2493"/>
                  </a:lnTo>
                  <a:lnTo>
                    <a:pt x="1394" y="2490"/>
                  </a:lnTo>
                  <a:lnTo>
                    <a:pt x="1398" y="2487"/>
                  </a:lnTo>
                  <a:lnTo>
                    <a:pt x="1401" y="2485"/>
                  </a:lnTo>
                  <a:lnTo>
                    <a:pt x="1405" y="2484"/>
                  </a:lnTo>
                  <a:lnTo>
                    <a:pt x="1410" y="2485"/>
                  </a:lnTo>
                  <a:lnTo>
                    <a:pt x="1417" y="2488"/>
                  </a:lnTo>
                  <a:lnTo>
                    <a:pt x="1422" y="2491"/>
                  </a:lnTo>
                  <a:lnTo>
                    <a:pt x="1428" y="2493"/>
                  </a:lnTo>
                  <a:lnTo>
                    <a:pt x="1432" y="2494"/>
                  </a:lnTo>
                  <a:lnTo>
                    <a:pt x="1437" y="2495"/>
                  </a:lnTo>
                  <a:lnTo>
                    <a:pt x="1441" y="2496"/>
                  </a:lnTo>
                  <a:lnTo>
                    <a:pt x="1443" y="2497"/>
                  </a:lnTo>
                  <a:lnTo>
                    <a:pt x="1445" y="2501"/>
                  </a:lnTo>
                  <a:lnTo>
                    <a:pt x="1446" y="2505"/>
                  </a:lnTo>
                  <a:lnTo>
                    <a:pt x="1446" y="2510"/>
                  </a:lnTo>
                  <a:lnTo>
                    <a:pt x="1449" y="2515"/>
                  </a:lnTo>
                  <a:lnTo>
                    <a:pt x="1452" y="2521"/>
                  </a:lnTo>
                  <a:lnTo>
                    <a:pt x="1456" y="2527"/>
                  </a:lnTo>
                  <a:lnTo>
                    <a:pt x="1458" y="2533"/>
                  </a:lnTo>
                  <a:lnTo>
                    <a:pt x="1458" y="2540"/>
                  </a:lnTo>
                  <a:lnTo>
                    <a:pt x="1458" y="2545"/>
                  </a:lnTo>
                  <a:lnTo>
                    <a:pt x="1456" y="2548"/>
                  </a:lnTo>
                  <a:lnTo>
                    <a:pt x="1453" y="2552"/>
                  </a:lnTo>
                  <a:lnTo>
                    <a:pt x="1449" y="2557"/>
                  </a:lnTo>
                  <a:lnTo>
                    <a:pt x="1430" y="2577"/>
                  </a:lnTo>
                  <a:lnTo>
                    <a:pt x="1409" y="2599"/>
                  </a:lnTo>
                  <a:lnTo>
                    <a:pt x="1400" y="2610"/>
                  </a:lnTo>
                  <a:lnTo>
                    <a:pt x="1392" y="2620"/>
                  </a:lnTo>
                  <a:lnTo>
                    <a:pt x="1385" y="2627"/>
                  </a:lnTo>
                  <a:lnTo>
                    <a:pt x="1382" y="2634"/>
                  </a:lnTo>
                  <a:lnTo>
                    <a:pt x="1382" y="2640"/>
                  </a:lnTo>
                  <a:lnTo>
                    <a:pt x="1382" y="2648"/>
                  </a:lnTo>
                  <a:lnTo>
                    <a:pt x="1383" y="2657"/>
                  </a:lnTo>
                  <a:lnTo>
                    <a:pt x="1385" y="2665"/>
                  </a:lnTo>
                  <a:lnTo>
                    <a:pt x="1390" y="2681"/>
                  </a:lnTo>
                  <a:lnTo>
                    <a:pt x="1391" y="2687"/>
                  </a:lnTo>
                  <a:lnTo>
                    <a:pt x="1386" y="2691"/>
                  </a:lnTo>
                  <a:lnTo>
                    <a:pt x="1377" y="2702"/>
                  </a:lnTo>
                  <a:lnTo>
                    <a:pt x="1373" y="2708"/>
                  </a:lnTo>
                  <a:lnTo>
                    <a:pt x="1370" y="2715"/>
                  </a:lnTo>
                  <a:lnTo>
                    <a:pt x="1369" y="2720"/>
                  </a:lnTo>
                  <a:lnTo>
                    <a:pt x="1369" y="2723"/>
                  </a:lnTo>
                  <a:lnTo>
                    <a:pt x="1369" y="2727"/>
                  </a:lnTo>
                  <a:lnTo>
                    <a:pt x="1370" y="2730"/>
                  </a:lnTo>
                  <a:lnTo>
                    <a:pt x="1375" y="2736"/>
                  </a:lnTo>
                  <a:lnTo>
                    <a:pt x="1382" y="2745"/>
                  </a:lnTo>
                  <a:lnTo>
                    <a:pt x="1391" y="2753"/>
                  </a:lnTo>
                  <a:lnTo>
                    <a:pt x="1401" y="2763"/>
                  </a:lnTo>
                  <a:lnTo>
                    <a:pt x="1412" y="2773"/>
                  </a:lnTo>
                  <a:lnTo>
                    <a:pt x="1422" y="2786"/>
                  </a:lnTo>
                  <a:lnTo>
                    <a:pt x="1427" y="2793"/>
                  </a:lnTo>
                  <a:lnTo>
                    <a:pt x="1431" y="2800"/>
                  </a:lnTo>
                  <a:lnTo>
                    <a:pt x="1436" y="2809"/>
                  </a:lnTo>
                  <a:lnTo>
                    <a:pt x="1439" y="2817"/>
                  </a:lnTo>
                  <a:lnTo>
                    <a:pt x="1444" y="2833"/>
                  </a:lnTo>
                  <a:lnTo>
                    <a:pt x="1449" y="2845"/>
                  </a:lnTo>
                  <a:lnTo>
                    <a:pt x="1453" y="2855"/>
                  </a:lnTo>
                  <a:lnTo>
                    <a:pt x="1458" y="2862"/>
                  </a:lnTo>
                  <a:lnTo>
                    <a:pt x="1468" y="2875"/>
                  </a:lnTo>
                  <a:lnTo>
                    <a:pt x="1483" y="2890"/>
                  </a:lnTo>
                  <a:lnTo>
                    <a:pt x="1489" y="2896"/>
                  </a:lnTo>
                  <a:lnTo>
                    <a:pt x="1495" y="2900"/>
                  </a:lnTo>
                  <a:lnTo>
                    <a:pt x="1504" y="2904"/>
                  </a:lnTo>
                  <a:lnTo>
                    <a:pt x="1512" y="2908"/>
                  </a:lnTo>
                  <a:lnTo>
                    <a:pt x="1531" y="2916"/>
                  </a:lnTo>
                  <a:lnTo>
                    <a:pt x="1550" y="2923"/>
                  </a:lnTo>
                  <a:lnTo>
                    <a:pt x="1569" y="2930"/>
                  </a:lnTo>
                  <a:lnTo>
                    <a:pt x="1583" y="2938"/>
                  </a:lnTo>
                  <a:lnTo>
                    <a:pt x="1589" y="2941"/>
                  </a:lnTo>
                  <a:lnTo>
                    <a:pt x="1593" y="2944"/>
                  </a:lnTo>
                  <a:lnTo>
                    <a:pt x="1595" y="2948"/>
                  </a:lnTo>
                  <a:lnTo>
                    <a:pt x="1596" y="2951"/>
                  </a:lnTo>
                  <a:lnTo>
                    <a:pt x="1594" y="2964"/>
                  </a:lnTo>
                  <a:lnTo>
                    <a:pt x="1593" y="2976"/>
                  </a:lnTo>
                  <a:lnTo>
                    <a:pt x="1593" y="2988"/>
                  </a:lnTo>
                  <a:lnTo>
                    <a:pt x="1595" y="2997"/>
                  </a:lnTo>
                  <a:lnTo>
                    <a:pt x="1597" y="3004"/>
                  </a:lnTo>
                  <a:lnTo>
                    <a:pt x="1598" y="3007"/>
                  </a:lnTo>
                  <a:lnTo>
                    <a:pt x="1598" y="3010"/>
                  </a:lnTo>
                  <a:lnTo>
                    <a:pt x="1597" y="3012"/>
                  </a:lnTo>
                  <a:lnTo>
                    <a:pt x="1594" y="3021"/>
                  </a:lnTo>
                  <a:lnTo>
                    <a:pt x="1591" y="3034"/>
                  </a:lnTo>
                  <a:lnTo>
                    <a:pt x="1590" y="3048"/>
                  </a:lnTo>
                  <a:lnTo>
                    <a:pt x="1588" y="3056"/>
                  </a:lnTo>
                  <a:lnTo>
                    <a:pt x="1585" y="3063"/>
                  </a:lnTo>
                  <a:lnTo>
                    <a:pt x="1582" y="3076"/>
                  </a:lnTo>
                  <a:lnTo>
                    <a:pt x="1581" y="3087"/>
                  </a:lnTo>
                  <a:lnTo>
                    <a:pt x="1580" y="3093"/>
                  </a:lnTo>
                  <a:lnTo>
                    <a:pt x="1576" y="3093"/>
                  </a:lnTo>
                  <a:lnTo>
                    <a:pt x="1569" y="3092"/>
                  </a:lnTo>
                  <a:lnTo>
                    <a:pt x="1564" y="3092"/>
                  </a:lnTo>
                  <a:lnTo>
                    <a:pt x="1561" y="3093"/>
                  </a:lnTo>
                  <a:lnTo>
                    <a:pt x="1559" y="3094"/>
                  </a:lnTo>
                  <a:lnTo>
                    <a:pt x="1559" y="3096"/>
                  </a:lnTo>
                  <a:lnTo>
                    <a:pt x="1569" y="3102"/>
                  </a:lnTo>
                  <a:lnTo>
                    <a:pt x="1578" y="3107"/>
                  </a:lnTo>
                  <a:lnTo>
                    <a:pt x="1579" y="3112"/>
                  </a:lnTo>
                  <a:lnTo>
                    <a:pt x="1578" y="3118"/>
                  </a:lnTo>
                  <a:lnTo>
                    <a:pt x="1577" y="3122"/>
                  </a:lnTo>
                  <a:lnTo>
                    <a:pt x="1576" y="3125"/>
                  </a:lnTo>
                  <a:lnTo>
                    <a:pt x="1571" y="3130"/>
                  </a:lnTo>
                  <a:lnTo>
                    <a:pt x="1566" y="3134"/>
                  </a:lnTo>
                  <a:lnTo>
                    <a:pt x="1566" y="3143"/>
                  </a:lnTo>
                  <a:lnTo>
                    <a:pt x="1569" y="3154"/>
                  </a:lnTo>
                  <a:lnTo>
                    <a:pt x="1571" y="3158"/>
                  </a:lnTo>
                  <a:lnTo>
                    <a:pt x="1571" y="3160"/>
                  </a:lnTo>
                  <a:lnTo>
                    <a:pt x="1571" y="3162"/>
                  </a:lnTo>
                  <a:lnTo>
                    <a:pt x="1570" y="3164"/>
                  </a:lnTo>
                  <a:lnTo>
                    <a:pt x="1568" y="3171"/>
                  </a:lnTo>
                  <a:lnTo>
                    <a:pt x="1566" y="3178"/>
                  </a:lnTo>
                  <a:lnTo>
                    <a:pt x="1559" y="3190"/>
                  </a:lnTo>
                  <a:lnTo>
                    <a:pt x="1550" y="3206"/>
                  </a:lnTo>
                  <a:lnTo>
                    <a:pt x="1544" y="3212"/>
                  </a:lnTo>
                  <a:lnTo>
                    <a:pt x="1540" y="3216"/>
                  </a:lnTo>
                  <a:lnTo>
                    <a:pt x="1538" y="3219"/>
                  </a:lnTo>
                  <a:lnTo>
                    <a:pt x="1537" y="3221"/>
                  </a:lnTo>
                  <a:lnTo>
                    <a:pt x="1540" y="3224"/>
                  </a:lnTo>
                  <a:lnTo>
                    <a:pt x="1542" y="3225"/>
                  </a:lnTo>
                  <a:lnTo>
                    <a:pt x="1544" y="3226"/>
                  </a:lnTo>
                  <a:lnTo>
                    <a:pt x="1545" y="3227"/>
                  </a:lnTo>
                  <a:lnTo>
                    <a:pt x="1545" y="3227"/>
                  </a:lnTo>
                  <a:lnTo>
                    <a:pt x="1544" y="3228"/>
                  </a:lnTo>
                  <a:lnTo>
                    <a:pt x="1541" y="3230"/>
                  </a:lnTo>
                  <a:lnTo>
                    <a:pt x="1539" y="3230"/>
                  </a:lnTo>
                  <a:lnTo>
                    <a:pt x="1538" y="3231"/>
                  </a:lnTo>
                  <a:lnTo>
                    <a:pt x="1538" y="3233"/>
                  </a:lnTo>
                  <a:lnTo>
                    <a:pt x="1544" y="3239"/>
                  </a:lnTo>
                  <a:lnTo>
                    <a:pt x="1547" y="3246"/>
                  </a:lnTo>
                  <a:lnTo>
                    <a:pt x="1541" y="3251"/>
                  </a:lnTo>
                  <a:lnTo>
                    <a:pt x="1535" y="3256"/>
                  </a:lnTo>
                  <a:lnTo>
                    <a:pt x="1536" y="3260"/>
                  </a:lnTo>
                  <a:lnTo>
                    <a:pt x="1536" y="3271"/>
                  </a:lnTo>
                  <a:lnTo>
                    <a:pt x="1536" y="3277"/>
                  </a:lnTo>
                  <a:lnTo>
                    <a:pt x="1537" y="3283"/>
                  </a:lnTo>
                  <a:lnTo>
                    <a:pt x="1537" y="3285"/>
                  </a:lnTo>
                  <a:lnTo>
                    <a:pt x="1536" y="3289"/>
                  </a:lnTo>
                  <a:lnTo>
                    <a:pt x="1535" y="3291"/>
                  </a:lnTo>
                  <a:lnTo>
                    <a:pt x="1533" y="3292"/>
                  </a:lnTo>
                  <a:lnTo>
                    <a:pt x="1528" y="3295"/>
                  </a:lnTo>
                  <a:lnTo>
                    <a:pt x="1523" y="3297"/>
                  </a:lnTo>
                  <a:lnTo>
                    <a:pt x="1520" y="3298"/>
                  </a:lnTo>
                  <a:lnTo>
                    <a:pt x="1519" y="3299"/>
                  </a:lnTo>
                  <a:lnTo>
                    <a:pt x="1519" y="3301"/>
                  </a:lnTo>
                  <a:lnTo>
                    <a:pt x="1523" y="3304"/>
                  </a:lnTo>
                  <a:lnTo>
                    <a:pt x="1527" y="3308"/>
                  </a:lnTo>
                  <a:lnTo>
                    <a:pt x="1529" y="3312"/>
                  </a:lnTo>
                  <a:lnTo>
                    <a:pt x="1529" y="3314"/>
                  </a:lnTo>
                  <a:lnTo>
                    <a:pt x="1528" y="3315"/>
                  </a:lnTo>
                  <a:lnTo>
                    <a:pt x="1526" y="3316"/>
                  </a:lnTo>
                  <a:lnTo>
                    <a:pt x="1523" y="3316"/>
                  </a:lnTo>
                  <a:lnTo>
                    <a:pt x="1522" y="3316"/>
                  </a:lnTo>
                  <a:lnTo>
                    <a:pt x="1522" y="3316"/>
                  </a:lnTo>
                  <a:lnTo>
                    <a:pt x="1520" y="3317"/>
                  </a:lnTo>
                  <a:lnTo>
                    <a:pt x="1522" y="3319"/>
                  </a:lnTo>
                  <a:lnTo>
                    <a:pt x="1523" y="3321"/>
                  </a:lnTo>
                  <a:lnTo>
                    <a:pt x="1525" y="3323"/>
                  </a:lnTo>
                  <a:lnTo>
                    <a:pt x="1525" y="3323"/>
                  </a:lnTo>
                  <a:lnTo>
                    <a:pt x="1526" y="3324"/>
                  </a:lnTo>
                  <a:lnTo>
                    <a:pt x="1525" y="3325"/>
                  </a:lnTo>
                  <a:lnTo>
                    <a:pt x="1524" y="3327"/>
                  </a:lnTo>
                  <a:lnTo>
                    <a:pt x="1517" y="3329"/>
                  </a:lnTo>
                  <a:lnTo>
                    <a:pt x="1511" y="3333"/>
                  </a:lnTo>
                  <a:lnTo>
                    <a:pt x="1509" y="3334"/>
                  </a:lnTo>
                  <a:lnTo>
                    <a:pt x="1508" y="3336"/>
                  </a:lnTo>
                  <a:lnTo>
                    <a:pt x="1509" y="3338"/>
                  </a:lnTo>
                  <a:lnTo>
                    <a:pt x="1511" y="3341"/>
                  </a:lnTo>
                  <a:lnTo>
                    <a:pt x="1514" y="3343"/>
                  </a:lnTo>
                  <a:lnTo>
                    <a:pt x="1515" y="3344"/>
                  </a:lnTo>
                  <a:lnTo>
                    <a:pt x="1516" y="3344"/>
                  </a:lnTo>
                  <a:lnTo>
                    <a:pt x="1517" y="3344"/>
                  </a:lnTo>
                  <a:lnTo>
                    <a:pt x="1518" y="3340"/>
                  </a:lnTo>
                  <a:lnTo>
                    <a:pt x="1522" y="3337"/>
                  </a:lnTo>
                  <a:lnTo>
                    <a:pt x="1526" y="3335"/>
                  </a:lnTo>
                  <a:lnTo>
                    <a:pt x="1529" y="3334"/>
                  </a:lnTo>
                  <a:lnTo>
                    <a:pt x="1530" y="3335"/>
                  </a:lnTo>
                  <a:lnTo>
                    <a:pt x="1531" y="3336"/>
                  </a:lnTo>
                  <a:lnTo>
                    <a:pt x="1530" y="3337"/>
                  </a:lnTo>
                  <a:lnTo>
                    <a:pt x="1530" y="3339"/>
                  </a:lnTo>
                  <a:lnTo>
                    <a:pt x="1525" y="3344"/>
                  </a:lnTo>
                  <a:lnTo>
                    <a:pt x="1520" y="3347"/>
                  </a:lnTo>
                  <a:lnTo>
                    <a:pt x="1525" y="3353"/>
                  </a:lnTo>
                  <a:lnTo>
                    <a:pt x="1528" y="3360"/>
                  </a:lnTo>
                  <a:lnTo>
                    <a:pt x="1524" y="3362"/>
                  </a:lnTo>
                  <a:lnTo>
                    <a:pt x="1520" y="3366"/>
                  </a:lnTo>
                  <a:lnTo>
                    <a:pt x="1523" y="3370"/>
                  </a:lnTo>
                  <a:lnTo>
                    <a:pt x="1526" y="3372"/>
                  </a:lnTo>
                  <a:lnTo>
                    <a:pt x="1524" y="3375"/>
                  </a:lnTo>
                  <a:lnTo>
                    <a:pt x="1522" y="3378"/>
                  </a:lnTo>
                  <a:lnTo>
                    <a:pt x="1525" y="3380"/>
                  </a:lnTo>
                  <a:lnTo>
                    <a:pt x="1528" y="3382"/>
                  </a:lnTo>
                  <a:lnTo>
                    <a:pt x="1535" y="3385"/>
                  </a:lnTo>
                  <a:lnTo>
                    <a:pt x="1550" y="3391"/>
                  </a:lnTo>
                  <a:lnTo>
                    <a:pt x="1566" y="3399"/>
                  </a:lnTo>
                  <a:lnTo>
                    <a:pt x="1576" y="3402"/>
                  </a:lnTo>
                  <a:lnTo>
                    <a:pt x="1580" y="3403"/>
                  </a:lnTo>
                  <a:lnTo>
                    <a:pt x="1582" y="3404"/>
                  </a:lnTo>
                  <a:lnTo>
                    <a:pt x="1583" y="3405"/>
                  </a:lnTo>
                  <a:lnTo>
                    <a:pt x="1582" y="3406"/>
                  </a:lnTo>
                  <a:lnTo>
                    <a:pt x="1584" y="3406"/>
                  </a:lnTo>
                  <a:lnTo>
                    <a:pt x="1584" y="3406"/>
                  </a:lnTo>
                  <a:lnTo>
                    <a:pt x="1586" y="3407"/>
                  </a:lnTo>
                  <a:lnTo>
                    <a:pt x="1590" y="3407"/>
                  </a:lnTo>
                  <a:lnTo>
                    <a:pt x="1595" y="3408"/>
                  </a:lnTo>
                  <a:lnTo>
                    <a:pt x="1610" y="3409"/>
                  </a:lnTo>
                  <a:lnTo>
                    <a:pt x="1625" y="3410"/>
                  </a:lnTo>
                  <a:lnTo>
                    <a:pt x="1639" y="3411"/>
                  </a:lnTo>
                  <a:lnTo>
                    <a:pt x="1649" y="3413"/>
                  </a:lnTo>
                  <a:lnTo>
                    <a:pt x="1656" y="3413"/>
                  </a:lnTo>
                  <a:lnTo>
                    <a:pt x="1659" y="3412"/>
                  </a:lnTo>
                  <a:lnTo>
                    <a:pt x="1663" y="3411"/>
                  </a:lnTo>
                  <a:lnTo>
                    <a:pt x="1671" y="3408"/>
                  </a:lnTo>
                  <a:lnTo>
                    <a:pt x="1685" y="3405"/>
                  </a:lnTo>
                  <a:lnTo>
                    <a:pt x="1693" y="3406"/>
                  </a:lnTo>
                  <a:lnTo>
                    <a:pt x="1699" y="3406"/>
                  </a:lnTo>
                  <a:lnTo>
                    <a:pt x="1703" y="3406"/>
                  </a:lnTo>
                  <a:lnTo>
                    <a:pt x="1708" y="3406"/>
                  </a:lnTo>
                  <a:lnTo>
                    <a:pt x="1713" y="3405"/>
                  </a:lnTo>
                  <a:lnTo>
                    <a:pt x="1713" y="3405"/>
                  </a:lnTo>
                  <a:close/>
                  <a:moveTo>
                    <a:pt x="2792" y="423"/>
                  </a:moveTo>
                  <a:lnTo>
                    <a:pt x="2810" y="439"/>
                  </a:lnTo>
                  <a:lnTo>
                    <a:pt x="2828" y="455"/>
                  </a:lnTo>
                  <a:lnTo>
                    <a:pt x="2845" y="471"/>
                  </a:lnTo>
                  <a:lnTo>
                    <a:pt x="2862" y="488"/>
                  </a:lnTo>
                  <a:lnTo>
                    <a:pt x="2863" y="489"/>
                  </a:lnTo>
                  <a:lnTo>
                    <a:pt x="2863" y="489"/>
                  </a:lnTo>
                  <a:lnTo>
                    <a:pt x="2863" y="490"/>
                  </a:lnTo>
                  <a:lnTo>
                    <a:pt x="2875" y="503"/>
                  </a:lnTo>
                  <a:lnTo>
                    <a:pt x="2888" y="515"/>
                  </a:lnTo>
                  <a:lnTo>
                    <a:pt x="2896" y="523"/>
                  </a:lnTo>
                  <a:lnTo>
                    <a:pt x="2904" y="531"/>
                  </a:lnTo>
                  <a:lnTo>
                    <a:pt x="2906" y="534"/>
                  </a:lnTo>
                  <a:lnTo>
                    <a:pt x="2909" y="537"/>
                  </a:lnTo>
                  <a:lnTo>
                    <a:pt x="2915" y="544"/>
                  </a:lnTo>
                  <a:lnTo>
                    <a:pt x="2922" y="552"/>
                  </a:lnTo>
                  <a:lnTo>
                    <a:pt x="2929" y="559"/>
                  </a:lnTo>
                  <a:lnTo>
                    <a:pt x="2932" y="564"/>
                  </a:lnTo>
                  <a:lnTo>
                    <a:pt x="2935" y="567"/>
                  </a:lnTo>
                  <a:lnTo>
                    <a:pt x="2937" y="571"/>
                  </a:lnTo>
                  <a:lnTo>
                    <a:pt x="2937" y="573"/>
                  </a:lnTo>
                  <a:lnTo>
                    <a:pt x="2937" y="573"/>
                  </a:lnTo>
                  <a:lnTo>
                    <a:pt x="2937" y="573"/>
                  </a:lnTo>
                  <a:lnTo>
                    <a:pt x="2936" y="573"/>
                  </a:lnTo>
                  <a:lnTo>
                    <a:pt x="2932" y="566"/>
                  </a:lnTo>
                  <a:lnTo>
                    <a:pt x="2928" y="559"/>
                  </a:lnTo>
                  <a:lnTo>
                    <a:pt x="2921" y="555"/>
                  </a:lnTo>
                  <a:lnTo>
                    <a:pt x="2913" y="548"/>
                  </a:lnTo>
                  <a:lnTo>
                    <a:pt x="2906" y="539"/>
                  </a:lnTo>
                  <a:lnTo>
                    <a:pt x="2902" y="533"/>
                  </a:lnTo>
                  <a:lnTo>
                    <a:pt x="2896" y="526"/>
                  </a:lnTo>
                  <a:lnTo>
                    <a:pt x="2891" y="520"/>
                  </a:lnTo>
                  <a:lnTo>
                    <a:pt x="2884" y="513"/>
                  </a:lnTo>
                  <a:lnTo>
                    <a:pt x="2873" y="501"/>
                  </a:lnTo>
                  <a:lnTo>
                    <a:pt x="2875" y="506"/>
                  </a:lnTo>
                  <a:lnTo>
                    <a:pt x="2885" y="520"/>
                  </a:lnTo>
                  <a:lnTo>
                    <a:pt x="2895" y="537"/>
                  </a:lnTo>
                  <a:lnTo>
                    <a:pt x="2902" y="548"/>
                  </a:lnTo>
                  <a:lnTo>
                    <a:pt x="2905" y="552"/>
                  </a:lnTo>
                  <a:lnTo>
                    <a:pt x="2905" y="555"/>
                  </a:lnTo>
                  <a:lnTo>
                    <a:pt x="2902" y="555"/>
                  </a:lnTo>
                  <a:lnTo>
                    <a:pt x="2898" y="551"/>
                  </a:lnTo>
                  <a:lnTo>
                    <a:pt x="2889" y="541"/>
                  </a:lnTo>
                  <a:lnTo>
                    <a:pt x="2876" y="528"/>
                  </a:lnTo>
                  <a:lnTo>
                    <a:pt x="2863" y="513"/>
                  </a:lnTo>
                  <a:lnTo>
                    <a:pt x="2854" y="504"/>
                  </a:lnTo>
                  <a:lnTo>
                    <a:pt x="2852" y="501"/>
                  </a:lnTo>
                  <a:lnTo>
                    <a:pt x="2851" y="499"/>
                  </a:lnTo>
                  <a:lnTo>
                    <a:pt x="2852" y="499"/>
                  </a:lnTo>
                  <a:lnTo>
                    <a:pt x="2853" y="499"/>
                  </a:lnTo>
                  <a:lnTo>
                    <a:pt x="2855" y="499"/>
                  </a:lnTo>
                  <a:lnTo>
                    <a:pt x="2856" y="499"/>
                  </a:lnTo>
                  <a:lnTo>
                    <a:pt x="2857" y="499"/>
                  </a:lnTo>
                  <a:lnTo>
                    <a:pt x="2857" y="498"/>
                  </a:lnTo>
                  <a:lnTo>
                    <a:pt x="2849" y="490"/>
                  </a:lnTo>
                  <a:lnTo>
                    <a:pt x="2839" y="481"/>
                  </a:lnTo>
                  <a:lnTo>
                    <a:pt x="2834" y="475"/>
                  </a:lnTo>
                  <a:lnTo>
                    <a:pt x="2834" y="474"/>
                  </a:lnTo>
                  <a:lnTo>
                    <a:pt x="2836" y="474"/>
                  </a:lnTo>
                  <a:lnTo>
                    <a:pt x="2837" y="474"/>
                  </a:lnTo>
                  <a:lnTo>
                    <a:pt x="2837" y="474"/>
                  </a:lnTo>
                  <a:lnTo>
                    <a:pt x="2840" y="475"/>
                  </a:lnTo>
                  <a:lnTo>
                    <a:pt x="2841" y="475"/>
                  </a:lnTo>
                  <a:lnTo>
                    <a:pt x="2842" y="475"/>
                  </a:lnTo>
                  <a:lnTo>
                    <a:pt x="2841" y="474"/>
                  </a:lnTo>
                  <a:lnTo>
                    <a:pt x="2840" y="472"/>
                  </a:lnTo>
                  <a:lnTo>
                    <a:pt x="2832" y="468"/>
                  </a:lnTo>
                  <a:lnTo>
                    <a:pt x="2826" y="466"/>
                  </a:lnTo>
                  <a:lnTo>
                    <a:pt x="2819" y="459"/>
                  </a:lnTo>
                  <a:lnTo>
                    <a:pt x="2809" y="449"/>
                  </a:lnTo>
                  <a:lnTo>
                    <a:pt x="2808" y="449"/>
                  </a:lnTo>
                  <a:lnTo>
                    <a:pt x="2813" y="457"/>
                  </a:lnTo>
                  <a:lnTo>
                    <a:pt x="2812" y="456"/>
                  </a:lnTo>
                  <a:lnTo>
                    <a:pt x="2806" y="450"/>
                  </a:lnTo>
                  <a:lnTo>
                    <a:pt x="2798" y="441"/>
                  </a:lnTo>
                  <a:lnTo>
                    <a:pt x="2790" y="431"/>
                  </a:lnTo>
                  <a:lnTo>
                    <a:pt x="2788" y="430"/>
                  </a:lnTo>
                  <a:lnTo>
                    <a:pt x="2785" y="427"/>
                  </a:lnTo>
                  <a:lnTo>
                    <a:pt x="2782" y="425"/>
                  </a:lnTo>
                  <a:lnTo>
                    <a:pt x="2779" y="421"/>
                  </a:lnTo>
                  <a:lnTo>
                    <a:pt x="2785" y="426"/>
                  </a:lnTo>
                  <a:lnTo>
                    <a:pt x="2790" y="429"/>
                  </a:lnTo>
                  <a:lnTo>
                    <a:pt x="2782" y="421"/>
                  </a:lnTo>
                  <a:lnTo>
                    <a:pt x="2770" y="409"/>
                  </a:lnTo>
                  <a:lnTo>
                    <a:pt x="2759" y="399"/>
                  </a:lnTo>
                  <a:lnTo>
                    <a:pt x="2749" y="389"/>
                  </a:lnTo>
                  <a:lnTo>
                    <a:pt x="2751" y="388"/>
                  </a:lnTo>
                  <a:lnTo>
                    <a:pt x="2758" y="394"/>
                  </a:lnTo>
                  <a:lnTo>
                    <a:pt x="2767" y="402"/>
                  </a:lnTo>
                  <a:lnTo>
                    <a:pt x="2775" y="407"/>
                  </a:lnTo>
                  <a:lnTo>
                    <a:pt x="2788" y="420"/>
                  </a:lnTo>
                  <a:lnTo>
                    <a:pt x="2795" y="425"/>
                  </a:lnTo>
                  <a:lnTo>
                    <a:pt x="2793" y="424"/>
                  </a:lnTo>
                  <a:lnTo>
                    <a:pt x="2792" y="423"/>
                  </a:lnTo>
                  <a:close/>
                  <a:moveTo>
                    <a:pt x="3239" y="1053"/>
                  </a:moveTo>
                  <a:lnTo>
                    <a:pt x="3253" y="1090"/>
                  </a:lnTo>
                  <a:lnTo>
                    <a:pt x="3268" y="1129"/>
                  </a:lnTo>
                  <a:lnTo>
                    <a:pt x="3281" y="1168"/>
                  </a:lnTo>
                  <a:lnTo>
                    <a:pt x="3293" y="1208"/>
                  </a:lnTo>
                  <a:lnTo>
                    <a:pt x="3305" y="1247"/>
                  </a:lnTo>
                  <a:lnTo>
                    <a:pt x="3315" y="1287"/>
                  </a:lnTo>
                  <a:lnTo>
                    <a:pt x="3326" y="1328"/>
                  </a:lnTo>
                  <a:lnTo>
                    <a:pt x="3334" y="1369"/>
                  </a:lnTo>
                  <a:lnTo>
                    <a:pt x="3341" y="1410"/>
                  </a:lnTo>
                  <a:lnTo>
                    <a:pt x="3349" y="1452"/>
                  </a:lnTo>
                  <a:lnTo>
                    <a:pt x="3354" y="1494"/>
                  </a:lnTo>
                  <a:lnTo>
                    <a:pt x="3359" y="1536"/>
                  </a:lnTo>
                  <a:lnTo>
                    <a:pt x="3362" y="1579"/>
                  </a:lnTo>
                  <a:lnTo>
                    <a:pt x="3366" y="1622"/>
                  </a:lnTo>
                  <a:lnTo>
                    <a:pt x="3367" y="1664"/>
                  </a:lnTo>
                  <a:lnTo>
                    <a:pt x="3368" y="1707"/>
                  </a:lnTo>
                  <a:lnTo>
                    <a:pt x="3368" y="1738"/>
                  </a:lnTo>
                  <a:lnTo>
                    <a:pt x="3367" y="1768"/>
                  </a:lnTo>
                  <a:lnTo>
                    <a:pt x="3366" y="1799"/>
                  </a:lnTo>
                  <a:lnTo>
                    <a:pt x="3363" y="1829"/>
                  </a:lnTo>
                  <a:lnTo>
                    <a:pt x="3361" y="1859"/>
                  </a:lnTo>
                  <a:lnTo>
                    <a:pt x="3358" y="1889"/>
                  </a:lnTo>
                  <a:lnTo>
                    <a:pt x="3355" y="1918"/>
                  </a:lnTo>
                  <a:lnTo>
                    <a:pt x="3351" y="1948"/>
                  </a:lnTo>
                  <a:lnTo>
                    <a:pt x="3351" y="1948"/>
                  </a:lnTo>
                  <a:lnTo>
                    <a:pt x="3350" y="1956"/>
                  </a:lnTo>
                  <a:lnTo>
                    <a:pt x="3349" y="1957"/>
                  </a:lnTo>
                  <a:lnTo>
                    <a:pt x="3349" y="1949"/>
                  </a:lnTo>
                  <a:lnTo>
                    <a:pt x="3349" y="1937"/>
                  </a:lnTo>
                  <a:lnTo>
                    <a:pt x="3348" y="1923"/>
                  </a:lnTo>
                  <a:lnTo>
                    <a:pt x="3348" y="1916"/>
                  </a:lnTo>
                  <a:lnTo>
                    <a:pt x="3348" y="1914"/>
                  </a:lnTo>
                  <a:lnTo>
                    <a:pt x="3347" y="1913"/>
                  </a:lnTo>
                  <a:lnTo>
                    <a:pt x="3347" y="1912"/>
                  </a:lnTo>
                  <a:lnTo>
                    <a:pt x="3346" y="1913"/>
                  </a:lnTo>
                  <a:lnTo>
                    <a:pt x="3345" y="1918"/>
                  </a:lnTo>
                  <a:lnTo>
                    <a:pt x="3345" y="1923"/>
                  </a:lnTo>
                  <a:lnTo>
                    <a:pt x="3345" y="1930"/>
                  </a:lnTo>
                  <a:lnTo>
                    <a:pt x="3345" y="1938"/>
                  </a:lnTo>
                  <a:lnTo>
                    <a:pt x="3344" y="1953"/>
                  </a:lnTo>
                  <a:lnTo>
                    <a:pt x="3344" y="1968"/>
                  </a:lnTo>
                  <a:lnTo>
                    <a:pt x="3345" y="1967"/>
                  </a:lnTo>
                  <a:lnTo>
                    <a:pt x="3345" y="1971"/>
                  </a:lnTo>
                  <a:lnTo>
                    <a:pt x="3343" y="1985"/>
                  </a:lnTo>
                  <a:lnTo>
                    <a:pt x="3341" y="1997"/>
                  </a:lnTo>
                  <a:lnTo>
                    <a:pt x="3341" y="1998"/>
                  </a:lnTo>
                  <a:lnTo>
                    <a:pt x="3343" y="1992"/>
                  </a:lnTo>
                  <a:lnTo>
                    <a:pt x="3344" y="1989"/>
                  </a:lnTo>
                  <a:lnTo>
                    <a:pt x="3346" y="1982"/>
                  </a:lnTo>
                  <a:lnTo>
                    <a:pt x="3348" y="1970"/>
                  </a:lnTo>
                  <a:lnTo>
                    <a:pt x="3349" y="1962"/>
                  </a:lnTo>
                  <a:lnTo>
                    <a:pt x="3349" y="1963"/>
                  </a:lnTo>
                  <a:lnTo>
                    <a:pt x="3349" y="1963"/>
                  </a:lnTo>
                  <a:lnTo>
                    <a:pt x="3344" y="1998"/>
                  </a:lnTo>
                  <a:lnTo>
                    <a:pt x="3337" y="2032"/>
                  </a:lnTo>
                  <a:lnTo>
                    <a:pt x="3330" y="2067"/>
                  </a:lnTo>
                  <a:lnTo>
                    <a:pt x="3323" y="2100"/>
                  </a:lnTo>
                  <a:lnTo>
                    <a:pt x="3323" y="2100"/>
                  </a:lnTo>
                  <a:lnTo>
                    <a:pt x="3319" y="2110"/>
                  </a:lnTo>
                  <a:lnTo>
                    <a:pt x="3317" y="2120"/>
                  </a:lnTo>
                  <a:lnTo>
                    <a:pt x="3312" y="2136"/>
                  </a:lnTo>
                  <a:lnTo>
                    <a:pt x="3307" y="2152"/>
                  </a:lnTo>
                  <a:lnTo>
                    <a:pt x="3302" y="2164"/>
                  </a:lnTo>
                  <a:lnTo>
                    <a:pt x="3300" y="2170"/>
                  </a:lnTo>
                  <a:lnTo>
                    <a:pt x="3297" y="2174"/>
                  </a:lnTo>
                  <a:lnTo>
                    <a:pt x="3293" y="2180"/>
                  </a:lnTo>
                  <a:lnTo>
                    <a:pt x="3292" y="2182"/>
                  </a:lnTo>
                  <a:lnTo>
                    <a:pt x="3291" y="2184"/>
                  </a:lnTo>
                  <a:lnTo>
                    <a:pt x="3290" y="2183"/>
                  </a:lnTo>
                  <a:lnTo>
                    <a:pt x="3290" y="2181"/>
                  </a:lnTo>
                  <a:lnTo>
                    <a:pt x="3292" y="2170"/>
                  </a:lnTo>
                  <a:lnTo>
                    <a:pt x="3293" y="2153"/>
                  </a:lnTo>
                  <a:lnTo>
                    <a:pt x="3295" y="2138"/>
                  </a:lnTo>
                  <a:lnTo>
                    <a:pt x="3296" y="2131"/>
                  </a:lnTo>
                  <a:lnTo>
                    <a:pt x="3295" y="2127"/>
                  </a:lnTo>
                  <a:lnTo>
                    <a:pt x="3293" y="2115"/>
                  </a:lnTo>
                  <a:lnTo>
                    <a:pt x="3292" y="2108"/>
                  </a:lnTo>
                  <a:lnTo>
                    <a:pt x="3292" y="2100"/>
                  </a:lnTo>
                  <a:lnTo>
                    <a:pt x="3292" y="2092"/>
                  </a:lnTo>
                  <a:lnTo>
                    <a:pt x="3293" y="2085"/>
                  </a:lnTo>
                  <a:lnTo>
                    <a:pt x="3295" y="2073"/>
                  </a:lnTo>
                  <a:lnTo>
                    <a:pt x="3297" y="2062"/>
                  </a:lnTo>
                  <a:lnTo>
                    <a:pt x="3297" y="2052"/>
                  </a:lnTo>
                  <a:lnTo>
                    <a:pt x="3297" y="2045"/>
                  </a:lnTo>
                  <a:lnTo>
                    <a:pt x="3295" y="2032"/>
                  </a:lnTo>
                  <a:lnTo>
                    <a:pt x="3293" y="2012"/>
                  </a:lnTo>
                  <a:lnTo>
                    <a:pt x="3292" y="1992"/>
                  </a:lnTo>
                  <a:lnTo>
                    <a:pt x="3291" y="1980"/>
                  </a:lnTo>
                  <a:lnTo>
                    <a:pt x="3290" y="1971"/>
                  </a:lnTo>
                  <a:lnTo>
                    <a:pt x="3290" y="1959"/>
                  </a:lnTo>
                  <a:lnTo>
                    <a:pt x="3290" y="1946"/>
                  </a:lnTo>
                  <a:lnTo>
                    <a:pt x="3290" y="1938"/>
                  </a:lnTo>
                  <a:lnTo>
                    <a:pt x="3289" y="1938"/>
                  </a:lnTo>
                  <a:lnTo>
                    <a:pt x="3287" y="1945"/>
                  </a:lnTo>
                  <a:lnTo>
                    <a:pt x="3286" y="1955"/>
                  </a:lnTo>
                  <a:lnTo>
                    <a:pt x="3285" y="1962"/>
                  </a:lnTo>
                  <a:lnTo>
                    <a:pt x="3285" y="1964"/>
                  </a:lnTo>
                  <a:lnTo>
                    <a:pt x="3285" y="1964"/>
                  </a:lnTo>
                  <a:lnTo>
                    <a:pt x="3284" y="1964"/>
                  </a:lnTo>
                  <a:lnTo>
                    <a:pt x="3284" y="1964"/>
                  </a:lnTo>
                  <a:lnTo>
                    <a:pt x="3282" y="1962"/>
                  </a:lnTo>
                  <a:lnTo>
                    <a:pt x="3281" y="1958"/>
                  </a:lnTo>
                  <a:lnTo>
                    <a:pt x="3279" y="1949"/>
                  </a:lnTo>
                  <a:lnTo>
                    <a:pt x="3277" y="1946"/>
                  </a:lnTo>
                  <a:lnTo>
                    <a:pt x="3278" y="1956"/>
                  </a:lnTo>
                  <a:lnTo>
                    <a:pt x="3280" y="1966"/>
                  </a:lnTo>
                  <a:lnTo>
                    <a:pt x="3281" y="1970"/>
                  </a:lnTo>
                  <a:lnTo>
                    <a:pt x="3282" y="1979"/>
                  </a:lnTo>
                  <a:lnTo>
                    <a:pt x="3282" y="1986"/>
                  </a:lnTo>
                  <a:lnTo>
                    <a:pt x="3282" y="1996"/>
                  </a:lnTo>
                  <a:lnTo>
                    <a:pt x="3282" y="2004"/>
                  </a:lnTo>
                  <a:lnTo>
                    <a:pt x="3283" y="2010"/>
                  </a:lnTo>
                  <a:lnTo>
                    <a:pt x="3283" y="2020"/>
                  </a:lnTo>
                  <a:lnTo>
                    <a:pt x="3284" y="2033"/>
                  </a:lnTo>
                  <a:lnTo>
                    <a:pt x="3284" y="2047"/>
                  </a:lnTo>
                  <a:lnTo>
                    <a:pt x="3284" y="2053"/>
                  </a:lnTo>
                  <a:lnTo>
                    <a:pt x="3284" y="2065"/>
                  </a:lnTo>
                  <a:lnTo>
                    <a:pt x="3283" y="2085"/>
                  </a:lnTo>
                  <a:lnTo>
                    <a:pt x="3283" y="2095"/>
                  </a:lnTo>
                  <a:lnTo>
                    <a:pt x="3282" y="2109"/>
                  </a:lnTo>
                  <a:lnTo>
                    <a:pt x="3282" y="2121"/>
                  </a:lnTo>
                  <a:lnTo>
                    <a:pt x="3282" y="2128"/>
                  </a:lnTo>
                  <a:lnTo>
                    <a:pt x="3284" y="2131"/>
                  </a:lnTo>
                  <a:lnTo>
                    <a:pt x="3286" y="2135"/>
                  </a:lnTo>
                  <a:lnTo>
                    <a:pt x="3289" y="2140"/>
                  </a:lnTo>
                  <a:lnTo>
                    <a:pt x="3289" y="2145"/>
                  </a:lnTo>
                  <a:lnTo>
                    <a:pt x="3286" y="2157"/>
                  </a:lnTo>
                  <a:lnTo>
                    <a:pt x="3286" y="2165"/>
                  </a:lnTo>
                  <a:lnTo>
                    <a:pt x="3285" y="2179"/>
                  </a:lnTo>
                  <a:lnTo>
                    <a:pt x="3283" y="2197"/>
                  </a:lnTo>
                  <a:lnTo>
                    <a:pt x="3282" y="2202"/>
                  </a:lnTo>
                  <a:lnTo>
                    <a:pt x="3282" y="2207"/>
                  </a:lnTo>
                  <a:lnTo>
                    <a:pt x="3282" y="2209"/>
                  </a:lnTo>
                  <a:lnTo>
                    <a:pt x="3282" y="2210"/>
                  </a:lnTo>
                  <a:lnTo>
                    <a:pt x="3283" y="2210"/>
                  </a:lnTo>
                  <a:lnTo>
                    <a:pt x="3284" y="2209"/>
                  </a:lnTo>
                  <a:lnTo>
                    <a:pt x="3289" y="2200"/>
                  </a:lnTo>
                  <a:lnTo>
                    <a:pt x="3296" y="2185"/>
                  </a:lnTo>
                  <a:lnTo>
                    <a:pt x="3300" y="2179"/>
                  </a:lnTo>
                  <a:lnTo>
                    <a:pt x="3302" y="2174"/>
                  </a:lnTo>
                  <a:lnTo>
                    <a:pt x="3303" y="2173"/>
                  </a:lnTo>
                  <a:lnTo>
                    <a:pt x="3303" y="2173"/>
                  </a:lnTo>
                  <a:lnTo>
                    <a:pt x="3303" y="2174"/>
                  </a:lnTo>
                  <a:lnTo>
                    <a:pt x="3303" y="2176"/>
                  </a:lnTo>
                  <a:lnTo>
                    <a:pt x="3297" y="2194"/>
                  </a:lnTo>
                  <a:lnTo>
                    <a:pt x="3289" y="2220"/>
                  </a:lnTo>
                  <a:lnTo>
                    <a:pt x="3281" y="2245"/>
                  </a:lnTo>
                  <a:lnTo>
                    <a:pt x="3275" y="2263"/>
                  </a:lnTo>
                  <a:lnTo>
                    <a:pt x="3270" y="2277"/>
                  </a:lnTo>
                  <a:lnTo>
                    <a:pt x="3263" y="2294"/>
                  </a:lnTo>
                  <a:lnTo>
                    <a:pt x="3257" y="2312"/>
                  </a:lnTo>
                  <a:lnTo>
                    <a:pt x="3250" y="2327"/>
                  </a:lnTo>
                  <a:lnTo>
                    <a:pt x="3241" y="2348"/>
                  </a:lnTo>
                  <a:lnTo>
                    <a:pt x="3227" y="2376"/>
                  </a:lnTo>
                  <a:lnTo>
                    <a:pt x="3215" y="2403"/>
                  </a:lnTo>
                  <a:lnTo>
                    <a:pt x="3206" y="2422"/>
                  </a:lnTo>
                  <a:lnTo>
                    <a:pt x="3201" y="2434"/>
                  </a:lnTo>
                  <a:lnTo>
                    <a:pt x="3197" y="2443"/>
                  </a:lnTo>
                  <a:lnTo>
                    <a:pt x="3193" y="2453"/>
                  </a:lnTo>
                  <a:lnTo>
                    <a:pt x="3190" y="2462"/>
                  </a:lnTo>
                  <a:lnTo>
                    <a:pt x="3183" y="2475"/>
                  </a:lnTo>
                  <a:lnTo>
                    <a:pt x="3181" y="2481"/>
                  </a:lnTo>
                  <a:lnTo>
                    <a:pt x="3177" y="2490"/>
                  </a:lnTo>
                  <a:lnTo>
                    <a:pt x="3171" y="2506"/>
                  </a:lnTo>
                  <a:lnTo>
                    <a:pt x="3163" y="2519"/>
                  </a:lnTo>
                  <a:lnTo>
                    <a:pt x="3153" y="2539"/>
                  </a:lnTo>
                  <a:lnTo>
                    <a:pt x="3141" y="2560"/>
                  </a:lnTo>
                  <a:lnTo>
                    <a:pt x="3135" y="2571"/>
                  </a:lnTo>
                  <a:lnTo>
                    <a:pt x="3130" y="2579"/>
                  </a:lnTo>
                  <a:lnTo>
                    <a:pt x="3121" y="2594"/>
                  </a:lnTo>
                  <a:lnTo>
                    <a:pt x="3112" y="2610"/>
                  </a:lnTo>
                  <a:lnTo>
                    <a:pt x="3106" y="2620"/>
                  </a:lnTo>
                  <a:lnTo>
                    <a:pt x="3096" y="2633"/>
                  </a:lnTo>
                  <a:lnTo>
                    <a:pt x="3090" y="2644"/>
                  </a:lnTo>
                  <a:lnTo>
                    <a:pt x="3088" y="2648"/>
                  </a:lnTo>
                  <a:lnTo>
                    <a:pt x="3085" y="2654"/>
                  </a:lnTo>
                  <a:lnTo>
                    <a:pt x="3081" y="2660"/>
                  </a:lnTo>
                  <a:lnTo>
                    <a:pt x="3074" y="2669"/>
                  </a:lnTo>
                  <a:lnTo>
                    <a:pt x="3067" y="2680"/>
                  </a:lnTo>
                  <a:lnTo>
                    <a:pt x="3062" y="2688"/>
                  </a:lnTo>
                  <a:lnTo>
                    <a:pt x="3059" y="2691"/>
                  </a:lnTo>
                  <a:lnTo>
                    <a:pt x="3056" y="2695"/>
                  </a:lnTo>
                  <a:lnTo>
                    <a:pt x="3050" y="2704"/>
                  </a:lnTo>
                  <a:lnTo>
                    <a:pt x="3044" y="2713"/>
                  </a:lnTo>
                  <a:lnTo>
                    <a:pt x="3042" y="2715"/>
                  </a:lnTo>
                  <a:lnTo>
                    <a:pt x="3042" y="2715"/>
                  </a:lnTo>
                  <a:lnTo>
                    <a:pt x="3042" y="2715"/>
                  </a:lnTo>
                  <a:lnTo>
                    <a:pt x="3034" y="2726"/>
                  </a:lnTo>
                  <a:lnTo>
                    <a:pt x="3026" y="2736"/>
                  </a:lnTo>
                  <a:lnTo>
                    <a:pt x="3026" y="2736"/>
                  </a:lnTo>
                  <a:lnTo>
                    <a:pt x="3025" y="2739"/>
                  </a:lnTo>
                  <a:lnTo>
                    <a:pt x="3024" y="2739"/>
                  </a:lnTo>
                  <a:lnTo>
                    <a:pt x="3024" y="2739"/>
                  </a:lnTo>
                  <a:lnTo>
                    <a:pt x="3006" y="2764"/>
                  </a:lnTo>
                  <a:lnTo>
                    <a:pt x="2986" y="2788"/>
                  </a:lnTo>
                  <a:lnTo>
                    <a:pt x="2967" y="2812"/>
                  </a:lnTo>
                  <a:lnTo>
                    <a:pt x="2948" y="2835"/>
                  </a:lnTo>
                  <a:lnTo>
                    <a:pt x="2940" y="2843"/>
                  </a:lnTo>
                  <a:lnTo>
                    <a:pt x="2933" y="2852"/>
                  </a:lnTo>
                  <a:lnTo>
                    <a:pt x="2924" y="2859"/>
                  </a:lnTo>
                  <a:lnTo>
                    <a:pt x="2917" y="2867"/>
                  </a:lnTo>
                  <a:lnTo>
                    <a:pt x="2905" y="2880"/>
                  </a:lnTo>
                  <a:lnTo>
                    <a:pt x="2897" y="2887"/>
                  </a:lnTo>
                  <a:lnTo>
                    <a:pt x="2891" y="2892"/>
                  </a:lnTo>
                  <a:lnTo>
                    <a:pt x="2889" y="2892"/>
                  </a:lnTo>
                  <a:lnTo>
                    <a:pt x="2889" y="2890"/>
                  </a:lnTo>
                  <a:lnTo>
                    <a:pt x="2889" y="2888"/>
                  </a:lnTo>
                  <a:lnTo>
                    <a:pt x="2897" y="2878"/>
                  </a:lnTo>
                  <a:lnTo>
                    <a:pt x="2904" y="2866"/>
                  </a:lnTo>
                  <a:lnTo>
                    <a:pt x="2907" y="2854"/>
                  </a:lnTo>
                  <a:lnTo>
                    <a:pt x="2910" y="2838"/>
                  </a:lnTo>
                  <a:lnTo>
                    <a:pt x="2911" y="2832"/>
                  </a:lnTo>
                  <a:lnTo>
                    <a:pt x="2913" y="2824"/>
                  </a:lnTo>
                  <a:lnTo>
                    <a:pt x="2917" y="2815"/>
                  </a:lnTo>
                  <a:lnTo>
                    <a:pt x="2921" y="2805"/>
                  </a:lnTo>
                  <a:lnTo>
                    <a:pt x="2929" y="2791"/>
                  </a:lnTo>
                  <a:lnTo>
                    <a:pt x="2933" y="2782"/>
                  </a:lnTo>
                  <a:lnTo>
                    <a:pt x="2933" y="2777"/>
                  </a:lnTo>
                  <a:lnTo>
                    <a:pt x="2933" y="2771"/>
                  </a:lnTo>
                  <a:lnTo>
                    <a:pt x="2935" y="2763"/>
                  </a:lnTo>
                  <a:lnTo>
                    <a:pt x="2935" y="2753"/>
                  </a:lnTo>
                  <a:lnTo>
                    <a:pt x="2933" y="2751"/>
                  </a:lnTo>
                  <a:lnTo>
                    <a:pt x="2931" y="2747"/>
                  </a:lnTo>
                  <a:lnTo>
                    <a:pt x="2930" y="2745"/>
                  </a:lnTo>
                  <a:lnTo>
                    <a:pt x="2930" y="2743"/>
                  </a:lnTo>
                  <a:lnTo>
                    <a:pt x="2930" y="2739"/>
                  </a:lnTo>
                  <a:lnTo>
                    <a:pt x="2931" y="2737"/>
                  </a:lnTo>
                  <a:lnTo>
                    <a:pt x="2936" y="2725"/>
                  </a:lnTo>
                  <a:lnTo>
                    <a:pt x="2945" y="2706"/>
                  </a:lnTo>
                  <a:lnTo>
                    <a:pt x="2955" y="2687"/>
                  </a:lnTo>
                  <a:lnTo>
                    <a:pt x="2960" y="2677"/>
                  </a:lnTo>
                  <a:lnTo>
                    <a:pt x="2964" y="2671"/>
                  </a:lnTo>
                  <a:lnTo>
                    <a:pt x="2974" y="2662"/>
                  </a:lnTo>
                  <a:lnTo>
                    <a:pt x="2982" y="2650"/>
                  </a:lnTo>
                  <a:lnTo>
                    <a:pt x="2986" y="2642"/>
                  </a:lnTo>
                  <a:lnTo>
                    <a:pt x="2986" y="2631"/>
                  </a:lnTo>
                  <a:lnTo>
                    <a:pt x="2985" y="2623"/>
                  </a:lnTo>
                  <a:lnTo>
                    <a:pt x="2985" y="2617"/>
                  </a:lnTo>
                  <a:lnTo>
                    <a:pt x="2987" y="2609"/>
                  </a:lnTo>
                  <a:lnTo>
                    <a:pt x="2990" y="2603"/>
                  </a:lnTo>
                  <a:lnTo>
                    <a:pt x="2992" y="2598"/>
                  </a:lnTo>
                  <a:lnTo>
                    <a:pt x="2990" y="2590"/>
                  </a:lnTo>
                  <a:lnTo>
                    <a:pt x="2989" y="2581"/>
                  </a:lnTo>
                  <a:lnTo>
                    <a:pt x="2990" y="2576"/>
                  </a:lnTo>
                  <a:lnTo>
                    <a:pt x="2990" y="2567"/>
                  </a:lnTo>
                  <a:lnTo>
                    <a:pt x="2992" y="2561"/>
                  </a:lnTo>
                  <a:lnTo>
                    <a:pt x="2990" y="2555"/>
                  </a:lnTo>
                  <a:lnTo>
                    <a:pt x="2990" y="2551"/>
                  </a:lnTo>
                  <a:lnTo>
                    <a:pt x="2988" y="2547"/>
                  </a:lnTo>
                  <a:lnTo>
                    <a:pt x="2981" y="2541"/>
                  </a:lnTo>
                  <a:lnTo>
                    <a:pt x="2973" y="2536"/>
                  </a:lnTo>
                  <a:lnTo>
                    <a:pt x="2970" y="2533"/>
                  </a:lnTo>
                  <a:lnTo>
                    <a:pt x="2966" y="2530"/>
                  </a:lnTo>
                  <a:lnTo>
                    <a:pt x="2966" y="2528"/>
                  </a:lnTo>
                  <a:lnTo>
                    <a:pt x="2966" y="2525"/>
                  </a:lnTo>
                  <a:lnTo>
                    <a:pt x="2967" y="2523"/>
                  </a:lnTo>
                  <a:lnTo>
                    <a:pt x="2968" y="2519"/>
                  </a:lnTo>
                  <a:lnTo>
                    <a:pt x="2975" y="2506"/>
                  </a:lnTo>
                  <a:lnTo>
                    <a:pt x="2980" y="2491"/>
                  </a:lnTo>
                  <a:lnTo>
                    <a:pt x="2985" y="2480"/>
                  </a:lnTo>
                  <a:lnTo>
                    <a:pt x="2987" y="2471"/>
                  </a:lnTo>
                  <a:lnTo>
                    <a:pt x="2990" y="2464"/>
                  </a:lnTo>
                  <a:lnTo>
                    <a:pt x="2995" y="2453"/>
                  </a:lnTo>
                  <a:lnTo>
                    <a:pt x="2997" y="2448"/>
                  </a:lnTo>
                  <a:lnTo>
                    <a:pt x="2998" y="2443"/>
                  </a:lnTo>
                  <a:lnTo>
                    <a:pt x="2999" y="2439"/>
                  </a:lnTo>
                  <a:lnTo>
                    <a:pt x="2998" y="2437"/>
                  </a:lnTo>
                  <a:lnTo>
                    <a:pt x="2993" y="2434"/>
                  </a:lnTo>
                  <a:lnTo>
                    <a:pt x="2988" y="2430"/>
                  </a:lnTo>
                  <a:lnTo>
                    <a:pt x="2986" y="2429"/>
                  </a:lnTo>
                  <a:lnTo>
                    <a:pt x="2984" y="2429"/>
                  </a:lnTo>
                  <a:lnTo>
                    <a:pt x="2982" y="2429"/>
                  </a:lnTo>
                  <a:lnTo>
                    <a:pt x="2979" y="2430"/>
                  </a:lnTo>
                  <a:lnTo>
                    <a:pt x="2974" y="2432"/>
                  </a:lnTo>
                  <a:lnTo>
                    <a:pt x="2968" y="2435"/>
                  </a:lnTo>
                  <a:lnTo>
                    <a:pt x="2965" y="2436"/>
                  </a:lnTo>
                  <a:lnTo>
                    <a:pt x="2963" y="2436"/>
                  </a:lnTo>
                  <a:lnTo>
                    <a:pt x="2961" y="2436"/>
                  </a:lnTo>
                  <a:lnTo>
                    <a:pt x="2960" y="2435"/>
                  </a:lnTo>
                  <a:lnTo>
                    <a:pt x="2952" y="2422"/>
                  </a:lnTo>
                  <a:lnTo>
                    <a:pt x="2943" y="2412"/>
                  </a:lnTo>
                  <a:lnTo>
                    <a:pt x="2930" y="2413"/>
                  </a:lnTo>
                  <a:lnTo>
                    <a:pt x="2920" y="2413"/>
                  </a:lnTo>
                  <a:lnTo>
                    <a:pt x="2912" y="2418"/>
                  </a:lnTo>
                  <a:lnTo>
                    <a:pt x="2897" y="2428"/>
                  </a:lnTo>
                  <a:lnTo>
                    <a:pt x="2889" y="2436"/>
                  </a:lnTo>
                  <a:lnTo>
                    <a:pt x="2879" y="2444"/>
                  </a:lnTo>
                  <a:lnTo>
                    <a:pt x="2874" y="2448"/>
                  </a:lnTo>
                  <a:lnTo>
                    <a:pt x="2868" y="2451"/>
                  </a:lnTo>
                  <a:lnTo>
                    <a:pt x="2863" y="2453"/>
                  </a:lnTo>
                  <a:lnTo>
                    <a:pt x="2858" y="2453"/>
                  </a:lnTo>
                  <a:lnTo>
                    <a:pt x="2848" y="2453"/>
                  </a:lnTo>
                  <a:lnTo>
                    <a:pt x="2837" y="2454"/>
                  </a:lnTo>
                  <a:lnTo>
                    <a:pt x="2827" y="2457"/>
                  </a:lnTo>
                  <a:lnTo>
                    <a:pt x="2820" y="2460"/>
                  </a:lnTo>
                  <a:lnTo>
                    <a:pt x="2810" y="2465"/>
                  </a:lnTo>
                  <a:lnTo>
                    <a:pt x="2796" y="2471"/>
                  </a:lnTo>
                  <a:lnTo>
                    <a:pt x="2781" y="2478"/>
                  </a:lnTo>
                  <a:lnTo>
                    <a:pt x="2768" y="2482"/>
                  </a:lnTo>
                  <a:lnTo>
                    <a:pt x="2766" y="2482"/>
                  </a:lnTo>
                  <a:lnTo>
                    <a:pt x="2762" y="2481"/>
                  </a:lnTo>
                  <a:lnTo>
                    <a:pt x="2757" y="2479"/>
                  </a:lnTo>
                  <a:lnTo>
                    <a:pt x="2751" y="2474"/>
                  </a:lnTo>
                  <a:lnTo>
                    <a:pt x="2738" y="2466"/>
                  </a:lnTo>
                  <a:lnTo>
                    <a:pt x="2723" y="2456"/>
                  </a:lnTo>
                  <a:lnTo>
                    <a:pt x="2710" y="2444"/>
                  </a:lnTo>
                  <a:lnTo>
                    <a:pt x="2697" y="2434"/>
                  </a:lnTo>
                  <a:lnTo>
                    <a:pt x="2688" y="2425"/>
                  </a:lnTo>
                  <a:lnTo>
                    <a:pt x="2683" y="2419"/>
                  </a:lnTo>
                  <a:lnTo>
                    <a:pt x="2678" y="2405"/>
                  </a:lnTo>
                  <a:lnTo>
                    <a:pt x="2672" y="2388"/>
                  </a:lnTo>
                  <a:lnTo>
                    <a:pt x="2666" y="2373"/>
                  </a:lnTo>
                  <a:lnTo>
                    <a:pt x="2659" y="2364"/>
                  </a:lnTo>
                  <a:lnTo>
                    <a:pt x="2652" y="2359"/>
                  </a:lnTo>
                  <a:lnTo>
                    <a:pt x="2642" y="2353"/>
                  </a:lnTo>
                  <a:lnTo>
                    <a:pt x="2637" y="2350"/>
                  </a:lnTo>
                  <a:lnTo>
                    <a:pt x="2633" y="2346"/>
                  </a:lnTo>
                  <a:lnTo>
                    <a:pt x="2632" y="2342"/>
                  </a:lnTo>
                  <a:lnTo>
                    <a:pt x="2631" y="2340"/>
                  </a:lnTo>
                  <a:lnTo>
                    <a:pt x="2631" y="2337"/>
                  </a:lnTo>
                  <a:lnTo>
                    <a:pt x="2631" y="2335"/>
                  </a:lnTo>
                  <a:lnTo>
                    <a:pt x="2636" y="2318"/>
                  </a:lnTo>
                  <a:lnTo>
                    <a:pt x="2643" y="2298"/>
                  </a:lnTo>
                  <a:lnTo>
                    <a:pt x="2649" y="2281"/>
                  </a:lnTo>
                  <a:lnTo>
                    <a:pt x="2653" y="2270"/>
                  </a:lnTo>
                  <a:lnTo>
                    <a:pt x="2656" y="2259"/>
                  </a:lnTo>
                  <a:lnTo>
                    <a:pt x="2661" y="2234"/>
                  </a:lnTo>
                  <a:lnTo>
                    <a:pt x="2664" y="2222"/>
                  </a:lnTo>
                  <a:lnTo>
                    <a:pt x="2666" y="2209"/>
                  </a:lnTo>
                  <a:lnTo>
                    <a:pt x="2667" y="2199"/>
                  </a:lnTo>
                  <a:lnTo>
                    <a:pt x="2667" y="2192"/>
                  </a:lnTo>
                  <a:lnTo>
                    <a:pt x="2665" y="2179"/>
                  </a:lnTo>
                  <a:lnTo>
                    <a:pt x="2663" y="2164"/>
                  </a:lnTo>
                  <a:lnTo>
                    <a:pt x="2661" y="2157"/>
                  </a:lnTo>
                  <a:lnTo>
                    <a:pt x="2661" y="2151"/>
                  </a:lnTo>
                  <a:lnTo>
                    <a:pt x="2663" y="2146"/>
                  </a:lnTo>
                  <a:lnTo>
                    <a:pt x="2664" y="2143"/>
                  </a:lnTo>
                  <a:lnTo>
                    <a:pt x="2673" y="2129"/>
                  </a:lnTo>
                  <a:lnTo>
                    <a:pt x="2689" y="2099"/>
                  </a:lnTo>
                  <a:lnTo>
                    <a:pt x="2698" y="2083"/>
                  </a:lnTo>
                  <a:lnTo>
                    <a:pt x="2707" y="2068"/>
                  </a:lnTo>
                  <a:lnTo>
                    <a:pt x="2715" y="2055"/>
                  </a:lnTo>
                  <a:lnTo>
                    <a:pt x="2721" y="2047"/>
                  </a:lnTo>
                  <a:lnTo>
                    <a:pt x="2736" y="2032"/>
                  </a:lnTo>
                  <a:lnTo>
                    <a:pt x="2753" y="2017"/>
                  </a:lnTo>
                  <a:lnTo>
                    <a:pt x="2767" y="2004"/>
                  </a:lnTo>
                  <a:lnTo>
                    <a:pt x="2773" y="1998"/>
                  </a:lnTo>
                  <a:lnTo>
                    <a:pt x="2773" y="1997"/>
                  </a:lnTo>
                  <a:lnTo>
                    <a:pt x="2773" y="1992"/>
                  </a:lnTo>
                  <a:lnTo>
                    <a:pt x="2774" y="1984"/>
                  </a:lnTo>
                  <a:lnTo>
                    <a:pt x="2779" y="1974"/>
                  </a:lnTo>
                  <a:lnTo>
                    <a:pt x="2784" y="1959"/>
                  </a:lnTo>
                  <a:lnTo>
                    <a:pt x="2788" y="1946"/>
                  </a:lnTo>
                  <a:lnTo>
                    <a:pt x="2790" y="1940"/>
                  </a:lnTo>
                  <a:lnTo>
                    <a:pt x="2792" y="1934"/>
                  </a:lnTo>
                  <a:lnTo>
                    <a:pt x="2796" y="1929"/>
                  </a:lnTo>
                  <a:lnTo>
                    <a:pt x="2799" y="1923"/>
                  </a:lnTo>
                  <a:lnTo>
                    <a:pt x="2807" y="1914"/>
                  </a:lnTo>
                  <a:lnTo>
                    <a:pt x="2817" y="1904"/>
                  </a:lnTo>
                  <a:lnTo>
                    <a:pt x="2825" y="1894"/>
                  </a:lnTo>
                  <a:lnTo>
                    <a:pt x="2833" y="1883"/>
                  </a:lnTo>
                  <a:lnTo>
                    <a:pt x="2840" y="1874"/>
                  </a:lnTo>
                  <a:lnTo>
                    <a:pt x="2846" y="1865"/>
                  </a:lnTo>
                  <a:lnTo>
                    <a:pt x="2849" y="1857"/>
                  </a:lnTo>
                  <a:lnTo>
                    <a:pt x="2851" y="1853"/>
                  </a:lnTo>
                  <a:lnTo>
                    <a:pt x="2852" y="1849"/>
                  </a:lnTo>
                  <a:lnTo>
                    <a:pt x="2854" y="1844"/>
                  </a:lnTo>
                  <a:lnTo>
                    <a:pt x="2855" y="1843"/>
                  </a:lnTo>
                  <a:lnTo>
                    <a:pt x="2856" y="1843"/>
                  </a:lnTo>
                  <a:lnTo>
                    <a:pt x="2858" y="1843"/>
                  </a:lnTo>
                  <a:lnTo>
                    <a:pt x="2861" y="1846"/>
                  </a:lnTo>
                  <a:lnTo>
                    <a:pt x="2863" y="1848"/>
                  </a:lnTo>
                  <a:lnTo>
                    <a:pt x="2865" y="1850"/>
                  </a:lnTo>
                  <a:lnTo>
                    <a:pt x="2868" y="1851"/>
                  </a:lnTo>
                  <a:lnTo>
                    <a:pt x="2870" y="1852"/>
                  </a:lnTo>
                  <a:lnTo>
                    <a:pt x="2876" y="1853"/>
                  </a:lnTo>
                  <a:lnTo>
                    <a:pt x="2882" y="1853"/>
                  </a:lnTo>
                  <a:lnTo>
                    <a:pt x="2890" y="1852"/>
                  </a:lnTo>
                  <a:lnTo>
                    <a:pt x="2902" y="1851"/>
                  </a:lnTo>
                  <a:lnTo>
                    <a:pt x="2917" y="1849"/>
                  </a:lnTo>
                  <a:lnTo>
                    <a:pt x="2928" y="1846"/>
                  </a:lnTo>
                  <a:lnTo>
                    <a:pt x="2935" y="1841"/>
                  </a:lnTo>
                  <a:lnTo>
                    <a:pt x="2943" y="1832"/>
                  </a:lnTo>
                  <a:lnTo>
                    <a:pt x="2952" y="1825"/>
                  </a:lnTo>
                  <a:lnTo>
                    <a:pt x="2959" y="1821"/>
                  </a:lnTo>
                  <a:lnTo>
                    <a:pt x="2967" y="1820"/>
                  </a:lnTo>
                  <a:lnTo>
                    <a:pt x="2981" y="1815"/>
                  </a:lnTo>
                  <a:lnTo>
                    <a:pt x="2997" y="1812"/>
                  </a:lnTo>
                  <a:lnTo>
                    <a:pt x="3012" y="1809"/>
                  </a:lnTo>
                  <a:lnTo>
                    <a:pt x="3028" y="1806"/>
                  </a:lnTo>
                  <a:lnTo>
                    <a:pt x="3045" y="1802"/>
                  </a:lnTo>
                  <a:lnTo>
                    <a:pt x="3052" y="1800"/>
                  </a:lnTo>
                  <a:lnTo>
                    <a:pt x="3060" y="1799"/>
                  </a:lnTo>
                  <a:lnTo>
                    <a:pt x="3065" y="1799"/>
                  </a:lnTo>
                  <a:lnTo>
                    <a:pt x="3069" y="1801"/>
                  </a:lnTo>
                  <a:lnTo>
                    <a:pt x="3075" y="1805"/>
                  </a:lnTo>
                  <a:lnTo>
                    <a:pt x="3081" y="1809"/>
                  </a:lnTo>
                  <a:lnTo>
                    <a:pt x="3083" y="1811"/>
                  </a:lnTo>
                  <a:lnTo>
                    <a:pt x="3085" y="1812"/>
                  </a:lnTo>
                  <a:lnTo>
                    <a:pt x="3085" y="1814"/>
                  </a:lnTo>
                  <a:lnTo>
                    <a:pt x="3085" y="1815"/>
                  </a:lnTo>
                  <a:lnTo>
                    <a:pt x="3082" y="1820"/>
                  </a:lnTo>
                  <a:lnTo>
                    <a:pt x="3078" y="1826"/>
                  </a:lnTo>
                  <a:lnTo>
                    <a:pt x="3077" y="1830"/>
                  </a:lnTo>
                  <a:lnTo>
                    <a:pt x="3077" y="1834"/>
                  </a:lnTo>
                  <a:lnTo>
                    <a:pt x="3077" y="1839"/>
                  </a:lnTo>
                  <a:lnTo>
                    <a:pt x="3080" y="1846"/>
                  </a:lnTo>
                  <a:lnTo>
                    <a:pt x="3083" y="1857"/>
                  </a:lnTo>
                  <a:lnTo>
                    <a:pt x="3085" y="1869"/>
                  </a:lnTo>
                  <a:lnTo>
                    <a:pt x="3086" y="1880"/>
                  </a:lnTo>
                  <a:lnTo>
                    <a:pt x="3088" y="1889"/>
                  </a:lnTo>
                  <a:lnTo>
                    <a:pt x="3090" y="1895"/>
                  </a:lnTo>
                  <a:lnTo>
                    <a:pt x="3093" y="1898"/>
                  </a:lnTo>
                  <a:lnTo>
                    <a:pt x="3097" y="1900"/>
                  </a:lnTo>
                  <a:lnTo>
                    <a:pt x="3103" y="1901"/>
                  </a:lnTo>
                  <a:lnTo>
                    <a:pt x="3110" y="1900"/>
                  </a:lnTo>
                  <a:lnTo>
                    <a:pt x="3116" y="1899"/>
                  </a:lnTo>
                  <a:lnTo>
                    <a:pt x="3118" y="1899"/>
                  </a:lnTo>
                  <a:lnTo>
                    <a:pt x="3121" y="1900"/>
                  </a:lnTo>
                  <a:lnTo>
                    <a:pt x="3124" y="1903"/>
                  </a:lnTo>
                  <a:lnTo>
                    <a:pt x="3127" y="1908"/>
                  </a:lnTo>
                  <a:lnTo>
                    <a:pt x="3129" y="1912"/>
                  </a:lnTo>
                  <a:lnTo>
                    <a:pt x="3133" y="1917"/>
                  </a:lnTo>
                  <a:lnTo>
                    <a:pt x="3138" y="1920"/>
                  </a:lnTo>
                  <a:lnTo>
                    <a:pt x="3143" y="1924"/>
                  </a:lnTo>
                  <a:lnTo>
                    <a:pt x="3155" y="1931"/>
                  </a:lnTo>
                  <a:lnTo>
                    <a:pt x="3165" y="1935"/>
                  </a:lnTo>
                  <a:lnTo>
                    <a:pt x="3169" y="1935"/>
                  </a:lnTo>
                  <a:lnTo>
                    <a:pt x="3171" y="1933"/>
                  </a:lnTo>
                  <a:lnTo>
                    <a:pt x="3173" y="1931"/>
                  </a:lnTo>
                  <a:lnTo>
                    <a:pt x="3175" y="1927"/>
                  </a:lnTo>
                  <a:lnTo>
                    <a:pt x="3179" y="1918"/>
                  </a:lnTo>
                  <a:lnTo>
                    <a:pt x="3183" y="1909"/>
                  </a:lnTo>
                  <a:lnTo>
                    <a:pt x="3187" y="1898"/>
                  </a:lnTo>
                  <a:lnTo>
                    <a:pt x="3192" y="1891"/>
                  </a:lnTo>
                  <a:lnTo>
                    <a:pt x="3194" y="1888"/>
                  </a:lnTo>
                  <a:lnTo>
                    <a:pt x="3196" y="1887"/>
                  </a:lnTo>
                  <a:lnTo>
                    <a:pt x="3198" y="1886"/>
                  </a:lnTo>
                  <a:lnTo>
                    <a:pt x="3200" y="1888"/>
                  </a:lnTo>
                  <a:lnTo>
                    <a:pt x="3207" y="1895"/>
                  </a:lnTo>
                  <a:lnTo>
                    <a:pt x="3215" y="1903"/>
                  </a:lnTo>
                  <a:lnTo>
                    <a:pt x="3221" y="1910"/>
                  </a:lnTo>
                  <a:lnTo>
                    <a:pt x="3229" y="1915"/>
                  </a:lnTo>
                  <a:lnTo>
                    <a:pt x="3238" y="1916"/>
                  </a:lnTo>
                  <a:lnTo>
                    <a:pt x="3247" y="1915"/>
                  </a:lnTo>
                  <a:lnTo>
                    <a:pt x="3255" y="1913"/>
                  </a:lnTo>
                  <a:lnTo>
                    <a:pt x="3258" y="1912"/>
                  </a:lnTo>
                  <a:lnTo>
                    <a:pt x="3258" y="1910"/>
                  </a:lnTo>
                  <a:lnTo>
                    <a:pt x="3261" y="1904"/>
                  </a:lnTo>
                  <a:lnTo>
                    <a:pt x="3263" y="1903"/>
                  </a:lnTo>
                  <a:lnTo>
                    <a:pt x="3264" y="1902"/>
                  </a:lnTo>
                  <a:lnTo>
                    <a:pt x="3267" y="1903"/>
                  </a:lnTo>
                  <a:lnTo>
                    <a:pt x="3269" y="1907"/>
                  </a:lnTo>
                  <a:lnTo>
                    <a:pt x="3273" y="1914"/>
                  </a:lnTo>
                  <a:lnTo>
                    <a:pt x="3275" y="1917"/>
                  </a:lnTo>
                  <a:lnTo>
                    <a:pt x="3277" y="1918"/>
                  </a:lnTo>
                  <a:lnTo>
                    <a:pt x="3278" y="1918"/>
                  </a:lnTo>
                  <a:lnTo>
                    <a:pt x="3279" y="1917"/>
                  </a:lnTo>
                  <a:lnTo>
                    <a:pt x="3281" y="1915"/>
                  </a:lnTo>
                  <a:lnTo>
                    <a:pt x="3288" y="1904"/>
                  </a:lnTo>
                  <a:lnTo>
                    <a:pt x="3291" y="1899"/>
                  </a:lnTo>
                  <a:lnTo>
                    <a:pt x="3291" y="1895"/>
                  </a:lnTo>
                  <a:lnTo>
                    <a:pt x="3292" y="1883"/>
                  </a:lnTo>
                  <a:lnTo>
                    <a:pt x="3293" y="1870"/>
                  </a:lnTo>
                  <a:lnTo>
                    <a:pt x="3295" y="1856"/>
                  </a:lnTo>
                  <a:lnTo>
                    <a:pt x="3300" y="1837"/>
                  </a:lnTo>
                  <a:lnTo>
                    <a:pt x="3302" y="1826"/>
                  </a:lnTo>
                  <a:lnTo>
                    <a:pt x="3303" y="1821"/>
                  </a:lnTo>
                  <a:lnTo>
                    <a:pt x="3303" y="1813"/>
                  </a:lnTo>
                  <a:lnTo>
                    <a:pt x="3303" y="1809"/>
                  </a:lnTo>
                  <a:lnTo>
                    <a:pt x="3303" y="1807"/>
                  </a:lnTo>
                  <a:lnTo>
                    <a:pt x="3302" y="1805"/>
                  </a:lnTo>
                  <a:lnTo>
                    <a:pt x="3301" y="1805"/>
                  </a:lnTo>
                  <a:lnTo>
                    <a:pt x="3296" y="1809"/>
                  </a:lnTo>
                  <a:lnTo>
                    <a:pt x="3293" y="1814"/>
                  </a:lnTo>
                  <a:lnTo>
                    <a:pt x="3291" y="1816"/>
                  </a:lnTo>
                  <a:lnTo>
                    <a:pt x="3290" y="1819"/>
                  </a:lnTo>
                  <a:lnTo>
                    <a:pt x="3288" y="1819"/>
                  </a:lnTo>
                  <a:lnTo>
                    <a:pt x="3287" y="1817"/>
                  </a:lnTo>
                  <a:lnTo>
                    <a:pt x="3285" y="1814"/>
                  </a:lnTo>
                  <a:lnTo>
                    <a:pt x="3282" y="1810"/>
                  </a:lnTo>
                  <a:lnTo>
                    <a:pt x="3281" y="1809"/>
                  </a:lnTo>
                  <a:lnTo>
                    <a:pt x="3279" y="1808"/>
                  </a:lnTo>
                  <a:lnTo>
                    <a:pt x="3278" y="1809"/>
                  </a:lnTo>
                  <a:lnTo>
                    <a:pt x="3275" y="1810"/>
                  </a:lnTo>
                  <a:lnTo>
                    <a:pt x="3268" y="1817"/>
                  </a:lnTo>
                  <a:lnTo>
                    <a:pt x="3263" y="1821"/>
                  </a:lnTo>
                  <a:lnTo>
                    <a:pt x="3251" y="1828"/>
                  </a:lnTo>
                  <a:lnTo>
                    <a:pt x="3241" y="1834"/>
                  </a:lnTo>
                  <a:lnTo>
                    <a:pt x="3240" y="1831"/>
                  </a:lnTo>
                  <a:lnTo>
                    <a:pt x="3238" y="1825"/>
                  </a:lnTo>
                  <a:lnTo>
                    <a:pt x="3236" y="1816"/>
                  </a:lnTo>
                  <a:lnTo>
                    <a:pt x="3236" y="1808"/>
                  </a:lnTo>
                  <a:lnTo>
                    <a:pt x="3238" y="1795"/>
                  </a:lnTo>
                  <a:lnTo>
                    <a:pt x="3240" y="1784"/>
                  </a:lnTo>
                  <a:lnTo>
                    <a:pt x="3239" y="1777"/>
                  </a:lnTo>
                  <a:lnTo>
                    <a:pt x="3238" y="1769"/>
                  </a:lnTo>
                  <a:lnTo>
                    <a:pt x="3237" y="1761"/>
                  </a:lnTo>
                  <a:lnTo>
                    <a:pt x="3238" y="1754"/>
                  </a:lnTo>
                  <a:lnTo>
                    <a:pt x="3240" y="1745"/>
                  </a:lnTo>
                  <a:lnTo>
                    <a:pt x="3242" y="1736"/>
                  </a:lnTo>
                  <a:lnTo>
                    <a:pt x="3245" y="1727"/>
                  </a:lnTo>
                  <a:lnTo>
                    <a:pt x="3246" y="1722"/>
                  </a:lnTo>
                  <a:lnTo>
                    <a:pt x="3240" y="1727"/>
                  </a:lnTo>
                  <a:lnTo>
                    <a:pt x="3229" y="1735"/>
                  </a:lnTo>
                  <a:lnTo>
                    <a:pt x="3227" y="1746"/>
                  </a:lnTo>
                  <a:lnTo>
                    <a:pt x="3225" y="1757"/>
                  </a:lnTo>
                  <a:lnTo>
                    <a:pt x="3222" y="1753"/>
                  </a:lnTo>
                  <a:lnTo>
                    <a:pt x="3217" y="1745"/>
                  </a:lnTo>
                  <a:lnTo>
                    <a:pt x="3215" y="1742"/>
                  </a:lnTo>
                  <a:lnTo>
                    <a:pt x="3212" y="1739"/>
                  </a:lnTo>
                  <a:lnTo>
                    <a:pt x="3210" y="1738"/>
                  </a:lnTo>
                  <a:lnTo>
                    <a:pt x="3209" y="1738"/>
                  </a:lnTo>
                  <a:lnTo>
                    <a:pt x="3209" y="1738"/>
                  </a:lnTo>
                  <a:lnTo>
                    <a:pt x="3208" y="1739"/>
                  </a:lnTo>
                  <a:lnTo>
                    <a:pt x="3207" y="1744"/>
                  </a:lnTo>
                  <a:lnTo>
                    <a:pt x="3207" y="1753"/>
                  </a:lnTo>
                  <a:lnTo>
                    <a:pt x="3208" y="1761"/>
                  </a:lnTo>
                  <a:lnTo>
                    <a:pt x="3209" y="1770"/>
                  </a:lnTo>
                  <a:lnTo>
                    <a:pt x="3209" y="1776"/>
                  </a:lnTo>
                  <a:lnTo>
                    <a:pt x="3209" y="1781"/>
                  </a:lnTo>
                  <a:lnTo>
                    <a:pt x="3208" y="1786"/>
                  </a:lnTo>
                  <a:lnTo>
                    <a:pt x="3206" y="1790"/>
                  </a:lnTo>
                  <a:lnTo>
                    <a:pt x="3203" y="1797"/>
                  </a:lnTo>
                  <a:lnTo>
                    <a:pt x="3202" y="1800"/>
                  </a:lnTo>
                  <a:lnTo>
                    <a:pt x="3200" y="1797"/>
                  </a:lnTo>
                  <a:lnTo>
                    <a:pt x="3195" y="1790"/>
                  </a:lnTo>
                  <a:lnTo>
                    <a:pt x="3191" y="1783"/>
                  </a:lnTo>
                  <a:lnTo>
                    <a:pt x="3188" y="1777"/>
                  </a:lnTo>
                  <a:lnTo>
                    <a:pt x="3187" y="1767"/>
                  </a:lnTo>
                  <a:lnTo>
                    <a:pt x="3183" y="1748"/>
                  </a:lnTo>
                  <a:lnTo>
                    <a:pt x="3179" y="1731"/>
                  </a:lnTo>
                  <a:lnTo>
                    <a:pt x="3178" y="1721"/>
                  </a:lnTo>
                  <a:lnTo>
                    <a:pt x="3175" y="1711"/>
                  </a:lnTo>
                  <a:lnTo>
                    <a:pt x="3170" y="1698"/>
                  </a:lnTo>
                  <a:lnTo>
                    <a:pt x="3163" y="1691"/>
                  </a:lnTo>
                  <a:lnTo>
                    <a:pt x="3151" y="1677"/>
                  </a:lnTo>
                  <a:lnTo>
                    <a:pt x="3137" y="1662"/>
                  </a:lnTo>
                  <a:lnTo>
                    <a:pt x="3128" y="1651"/>
                  </a:lnTo>
                  <a:lnTo>
                    <a:pt x="3121" y="1639"/>
                  </a:lnTo>
                  <a:lnTo>
                    <a:pt x="3115" y="1625"/>
                  </a:lnTo>
                  <a:lnTo>
                    <a:pt x="3112" y="1617"/>
                  </a:lnTo>
                  <a:lnTo>
                    <a:pt x="3109" y="1612"/>
                  </a:lnTo>
                  <a:lnTo>
                    <a:pt x="3108" y="1610"/>
                  </a:lnTo>
                  <a:lnTo>
                    <a:pt x="3107" y="1609"/>
                  </a:lnTo>
                  <a:lnTo>
                    <a:pt x="3106" y="1609"/>
                  </a:lnTo>
                  <a:lnTo>
                    <a:pt x="3106" y="1610"/>
                  </a:lnTo>
                  <a:lnTo>
                    <a:pt x="3100" y="1620"/>
                  </a:lnTo>
                  <a:lnTo>
                    <a:pt x="3097" y="1626"/>
                  </a:lnTo>
                  <a:lnTo>
                    <a:pt x="3100" y="1634"/>
                  </a:lnTo>
                  <a:lnTo>
                    <a:pt x="3106" y="1646"/>
                  </a:lnTo>
                  <a:lnTo>
                    <a:pt x="3109" y="1651"/>
                  </a:lnTo>
                  <a:lnTo>
                    <a:pt x="3111" y="1658"/>
                  </a:lnTo>
                  <a:lnTo>
                    <a:pt x="3113" y="1663"/>
                  </a:lnTo>
                  <a:lnTo>
                    <a:pt x="3116" y="1668"/>
                  </a:lnTo>
                  <a:lnTo>
                    <a:pt x="3119" y="1674"/>
                  </a:lnTo>
                  <a:lnTo>
                    <a:pt x="3125" y="1679"/>
                  </a:lnTo>
                  <a:lnTo>
                    <a:pt x="3137" y="1693"/>
                  </a:lnTo>
                  <a:lnTo>
                    <a:pt x="3151" y="1707"/>
                  </a:lnTo>
                  <a:lnTo>
                    <a:pt x="3162" y="1721"/>
                  </a:lnTo>
                  <a:lnTo>
                    <a:pt x="3168" y="1727"/>
                  </a:lnTo>
                  <a:lnTo>
                    <a:pt x="3168" y="1741"/>
                  </a:lnTo>
                  <a:lnTo>
                    <a:pt x="3166" y="1750"/>
                  </a:lnTo>
                  <a:lnTo>
                    <a:pt x="3163" y="1747"/>
                  </a:lnTo>
                  <a:lnTo>
                    <a:pt x="3158" y="1742"/>
                  </a:lnTo>
                  <a:lnTo>
                    <a:pt x="3155" y="1739"/>
                  </a:lnTo>
                  <a:lnTo>
                    <a:pt x="3153" y="1738"/>
                  </a:lnTo>
                  <a:lnTo>
                    <a:pt x="3152" y="1738"/>
                  </a:lnTo>
                  <a:lnTo>
                    <a:pt x="3151" y="1738"/>
                  </a:lnTo>
                  <a:lnTo>
                    <a:pt x="3151" y="1738"/>
                  </a:lnTo>
                  <a:lnTo>
                    <a:pt x="3151" y="1739"/>
                  </a:lnTo>
                  <a:lnTo>
                    <a:pt x="3154" y="1754"/>
                  </a:lnTo>
                  <a:lnTo>
                    <a:pt x="3156" y="1764"/>
                  </a:lnTo>
                  <a:lnTo>
                    <a:pt x="3153" y="1770"/>
                  </a:lnTo>
                  <a:lnTo>
                    <a:pt x="3146" y="1781"/>
                  </a:lnTo>
                  <a:lnTo>
                    <a:pt x="3142" y="1786"/>
                  </a:lnTo>
                  <a:lnTo>
                    <a:pt x="3139" y="1790"/>
                  </a:lnTo>
                  <a:lnTo>
                    <a:pt x="3137" y="1792"/>
                  </a:lnTo>
                  <a:lnTo>
                    <a:pt x="3135" y="1792"/>
                  </a:lnTo>
                  <a:lnTo>
                    <a:pt x="3134" y="1791"/>
                  </a:lnTo>
                  <a:lnTo>
                    <a:pt x="3133" y="1791"/>
                  </a:lnTo>
                  <a:lnTo>
                    <a:pt x="3133" y="1791"/>
                  </a:lnTo>
                  <a:lnTo>
                    <a:pt x="3132" y="1792"/>
                  </a:lnTo>
                  <a:lnTo>
                    <a:pt x="3131" y="1794"/>
                  </a:lnTo>
                  <a:lnTo>
                    <a:pt x="3131" y="1797"/>
                  </a:lnTo>
                  <a:lnTo>
                    <a:pt x="3131" y="1801"/>
                  </a:lnTo>
                  <a:lnTo>
                    <a:pt x="3130" y="1805"/>
                  </a:lnTo>
                  <a:lnTo>
                    <a:pt x="3129" y="1809"/>
                  </a:lnTo>
                  <a:lnTo>
                    <a:pt x="3126" y="1811"/>
                  </a:lnTo>
                  <a:lnTo>
                    <a:pt x="3119" y="1809"/>
                  </a:lnTo>
                  <a:lnTo>
                    <a:pt x="3109" y="1802"/>
                  </a:lnTo>
                  <a:lnTo>
                    <a:pt x="3105" y="1799"/>
                  </a:lnTo>
                  <a:lnTo>
                    <a:pt x="3100" y="1794"/>
                  </a:lnTo>
                  <a:lnTo>
                    <a:pt x="3098" y="1791"/>
                  </a:lnTo>
                  <a:lnTo>
                    <a:pt x="3098" y="1789"/>
                  </a:lnTo>
                  <a:lnTo>
                    <a:pt x="3110" y="1784"/>
                  </a:lnTo>
                  <a:lnTo>
                    <a:pt x="3121" y="1780"/>
                  </a:lnTo>
                  <a:lnTo>
                    <a:pt x="3125" y="1782"/>
                  </a:lnTo>
                  <a:lnTo>
                    <a:pt x="3129" y="1785"/>
                  </a:lnTo>
                  <a:lnTo>
                    <a:pt x="3130" y="1786"/>
                  </a:lnTo>
                  <a:lnTo>
                    <a:pt x="3131" y="1787"/>
                  </a:lnTo>
                  <a:lnTo>
                    <a:pt x="3132" y="1786"/>
                  </a:lnTo>
                  <a:lnTo>
                    <a:pt x="3132" y="1785"/>
                  </a:lnTo>
                  <a:lnTo>
                    <a:pt x="3134" y="1773"/>
                  </a:lnTo>
                  <a:lnTo>
                    <a:pt x="3136" y="1764"/>
                  </a:lnTo>
                  <a:lnTo>
                    <a:pt x="3137" y="1762"/>
                  </a:lnTo>
                  <a:lnTo>
                    <a:pt x="3138" y="1758"/>
                  </a:lnTo>
                  <a:lnTo>
                    <a:pt x="3138" y="1754"/>
                  </a:lnTo>
                  <a:lnTo>
                    <a:pt x="3136" y="1749"/>
                  </a:lnTo>
                  <a:lnTo>
                    <a:pt x="3128" y="1739"/>
                  </a:lnTo>
                  <a:lnTo>
                    <a:pt x="3112" y="1722"/>
                  </a:lnTo>
                  <a:lnTo>
                    <a:pt x="3096" y="1704"/>
                  </a:lnTo>
                  <a:lnTo>
                    <a:pt x="3087" y="1693"/>
                  </a:lnTo>
                  <a:lnTo>
                    <a:pt x="3082" y="1681"/>
                  </a:lnTo>
                  <a:lnTo>
                    <a:pt x="3072" y="1662"/>
                  </a:lnTo>
                  <a:lnTo>
                    <a:pt x="3064" y="1646"/>
                  </a:lnTo>
                  <a:lnTo>
                    <a:pt x="3060" y="1638"/>
                  </a:lnTo>
                  <a:lnTo>
                    <a:pt x="3053" y="1644"/>
                  </a:lnTo>
                  <a:lnTo>
                    <a:pt x="3046" y="1652"/>
                  </a:lnTo>
                  <a:lnTo>
                    <a:pt x="3041" y="1657"/>
                  </a:lnTo>
                  <a:lnTo>
                    <a:pt x="3033" y="1667"/>
                  </a:lnTo>
                  <a:lnTo>
                    <a:pt x="3029" y="1672"/>
                  </a:lnTo>
                  <a:lnTo>
                    <a:pt x="3025" y="1675"/>
                  </a:lnTo>
                  <a:lnTo>
                    <a:pt x="3023" y="1676"/>
                  </a:lnTo>
                  <a:lnTo>
                    <a:pt x="3021" y="1677"/>
                  </a:lnTo>
                  <a:lnTo>
                    <a:pt x="3019" y="1677"/>
                  </a:lnTo>
                  <a:lnTo>
                    <a:pt x="3018" y="1676"/>
                  </a:lnTo>
                  <a:lnTo>
                    <a:pt x="3009" y="1670"/>
                  </a:lnTo>
                  <a:lnTo>
                    <a:pt x="3001" y="1663"/>
                  </a:lnTo>
                  <a:lnTo>
                    <a:pt x="2997" y="1661"/>
                  </a:lnTo>
                  <a:lnTo>
                    <a:pt x="2993" y="1660"/>
                  </a:lnTo>
                  <a:lnTo>
                    <a:pt x="2990" y="1660"/>
                  </a:lnTo>
                  <a:lnTo>
                    <a:pt x="2989" y="1661"/>
                  </a:lnTo>
                  <a:lnTo>
                    <a:pt x="2988" y="1662"/>
                  </a:lnTo>
                  <a:lnTo>
                    <a:pt x="2987" y="1664"/>
                  </a:lnTo>
                  <a:lnTo>
                    <a:pt x="2984" y="1672"/>
                  </a:lnTo>
                  <a:lnTo>
                    <a:pt x="2982" y="1677"/>
                  </a:lnTo>
                  <a:lnTo>
                    <a:pt x="2983" y="1681"/>
                  </a:lnTo>
                  <a:lnTo>
                    <a:pt x="2985" y="1684"/>
                  </a:lnTo>
                  <a:lnTo>
                    <a:pt x="2987" y="1689"/>
                  </a:lnTo>
                  <a:lnTo>
                    <a:pt x="2988" y="1693"/>
                  </a:lnTo>
                  <a:lnTo>
                    <a:pt x="2987" y="1697"/>
                  </a:lnTo>
                  <a:lnTo>
                    <a:pt x="2986" y="1699"/>
                  </a:lnTo>
                  <a:lnTo>
                    <a:pt x="2980" y="1703"/>
                  </a:lnTo>
                  <a:lnTo>
                    <a:pt x="2972" y="1712"/>
                  </a:lnTo>
                  <a:lnTo>
                    <a:pt x="2966" y="1719"/>
                  </a:lnTo>
                  <a:lnTo>
                    <a:pt x="2961" y="1725"/>
                  </a:lnTo>
                  <a:lnTo>
                    <a:pt x="2956" y="1729"/>
                  </a:lnTo>
                  <a:lnTo>
                    <a:pt x="2953" y="1733"/>
                  </a:lnTo>
                  <a:lnTo>
                    <a:pt x="2950" y="1737"/>
                  </a:lnTo>
                  <a:lnTo>
                    <a:pt x="2945" y="1743"/>
                  </a:lnTo>
                  <a:lnTo>
                    <a:pt x="2943" y="1747"/>
                  </a:lnTo>
                  <a:lnTo>
                    <a:pt x="2942" y="1751"/>
                  </a:lnTo>
                  <a:lnTo>
                    <a:pt x="2940" y="1757"/>
                  </a:lnTo>
                  <a:lnTo>
                    <a:pt x="2940" y="1762"/>
                  </a:lnTo>
                  <a:lnTo>
                    <a:pt x="2940" y="1769"/>
                  </a:lnTo>
                  <a:lnTo>
                    <a:pt x="2940" y="1772"/>
                  </a:lnTo>
                  <a:lnTo>
                    <a:pt x="2940" y="1775"/>
                  </a:lnTo>
                  <a:lnTo>
                    <a:pt x="2938" y="1780"/>
                  </a:lnTo>
                  <a:lnTo>
                    <a:pt x="2934" y="1789"/>
                  </a:lnTo>
                  <a:lnTo>
                    <a:pt x="2928" y="1800"/>
                  </a:lnTo>
                  <a:lnTo>
                    <a:pt x="2924" y="1805"/>
                  </a:lnTo>
                  <a:lnTo>
                    <a:pt x="2921" y="1810"/>
                  </a:lnTo>
                  <a:lnTo>
                    <a:pt x="2917" y="1814"/>
                  </a:lnTo>
                  <a:lnTo>
                    <a:pt x="2913" y="1817"/>
                  </a:lnTo>
                  <a:lnTo>
                    <a:pt x="2908" y="1819"/>
                  </a:lnTo>
                  <a:lnTo>
                    <a:pt x="2902" y="1821"/>
                  </a:lnTo>
                  <a:lnTo>
                    <a:pt x="2896" y="1821"/>
                  </a:lnTo>
                  <a:lnTo>
                    <a:pt x="2891" y="1822"/>
                  </a:lnTo>
                  <a:lnTo>
                    <a:pt x="2879" y="1823"/>
                  </a:lnTo>
                  <a:lnTo>
                    <a:pt x="2873" y="1825"/>
                  </a:lnTo>
                  <a:lnTo>
                    <a:pt x="2864" y="1833"/>
                  </a:lnTo>
                  <a:lnTo>
                    <a:pt x="2856" y="1836"/>
                  </a:lnTo>
                  <a:lnTo>
                    <a:pt x="2849" y="1828"/>
                  </a:lnTo>
                  <a:lnTo>
                    <a:pt x="2842" y="1820"/>
                  </a:lnTo>
                  <a:lnTo>
                    <a:pt x="2839" y="1816"/>
                  </a:lnTo>
                  <a:lnTo>
                    <a:pt x="2833" y="1814"/>
                  </a:lnTo>
                  <a:lnTo>
                    <a:pt x="2828" y="1812"/>
                  </a:lnTo>
                  <a:lnTo>
                    <a:pt x="2824" y="1813"/>
                  </a:lnTo>
                  <a:lnTo>
                    <a:pt x="2822" y="1813"/>
                  </a:lnTo>
                  <a:lnTo>
                    <a:pt x="2820" y="1812"/>
                  </a:lnTo>
                  <a:lnTo>
                    <a:pt x="2815" y="1810"/>
                  </a:lnTo>
                  <a:lnTo>
                    <a:pt x="2812" y="1808"/>
                  </a:lnTo>
                  <a:lnTo>
                    <a:pt x="2806" y="1803"/>
                  </a:lnTo>
                  <a:lnTo>
                    <a:pt x="2803" y="1800"/>
                  </a:lnTo>
                  <a:lnTo>
                    <a:pt x="2801" y="1790"/>
                  </a:lnTo>
                  <a:lnTo>
                    <a:pt x="2796" y="1773"/>
                  </a:lnTo>
                  <a:lnTo>
                    <a:pt x="2793" y="1764"/>
                  </a:lnTo>
                  <a:lnTo>
                    <a:pt x="2792" y="1755"/>
                  </a:lnTo>
                  <a:lnTo>
                    <a:pt x="2791" y="1747"/>
                  </a:lnTo>
                  <a:lnTo>
                    <a:pt x="2792" y="1741"/>
                  </a:lnTo>
                  <a:lnTo>
                    <a:pt x="2797" y="1731"/>
                  </a:lnTo>
                  <a:lnTo>
                    <a:pt x="2800" y="1718"/>
                  </a:lnTo>
                  <a:lnTo>
                    <a:pt x="2803" y="1706"/>
                  </a:lnTo>
                  <a:lnTo>
                    <a:pt x="2804" y="1698"/>
                  </a:lnTo>
                  <a:lnTo>
                    <a:pt x="2801" y="1682"/>
                  </a:lnTo>
                  <a:lnTo>
                    <a:pt x="2799" y="1674"/>
                  </a:lnTo>
                  <a:lnTo>
                    <a:pt x="2798" y="1672"/>
                  </a:lnTo>
                  <a:lnTo>
                    <a:pt x="2797" y="1667"/>
                  </a:lnTo>
                  <a:lnTo>
                    <a:pt x="2796" y="1663"/>
                  </a:lnTo>
                  <a:lnTo>
                    <a:pt x="2797" y="1660"/>
                  </a:lnTo>
                  <a:lnTo>
                    <a:pt x="2798" y="1658"/>
                  </a:lnTo>
                  <a:lnTo>
                    <a:pt x="2800" y="1655"/>
                  </a:lnTo>
                  <a:lnTo>
                    <a:pt x="2805" y="1652"/>
                  </a:lnTo>
                  <a:lnTo>
                    <a:pt x="2809" y="1647"/>
                  </a:lnTo>
                  <a:lnTo>
                    <a:pt x="2811" y="1646"/>
                  </a:lnTo>
                  <a:lnTo>
                    <a:pt x="2813" y="1644"/>
                  </a:lnTo>
                  <a:lnTo>
                    <a:pt x="2815" y="1644"/>
                  </a:lnTo>
                  <a:lnTo>
                    <a:pt x="2818" y="1645"/>
                  </a:lnTo>
                  <a:lnTo>
                    <a:pt x="2826" y="1647"/>
                  </a:lnTo>
                  <a:lnTo>
                    <a:pt x="2835" y="1648"/>
                  </a:lnTo>
                  <a:lnTo>
                    <a:pt x="2841" y="1647"/>
                  </a:lnTo>
                  <a:lnTo>
                    <a:pt x="2847" y="1646"/>
                  </a:lnTo>
                  <a:lnTo>
                    <a:pt x="2853" y="1645"/>
                  </a:lnTo>
                  <a:lnTo>
                    <a:pt x="2857" y="1646"/>
                  </a:lnTo>
                  <a:lnTo>
                    <a:pt x="2861" y="1648"/>
                  </a:lnTo>
                  <a:lnTo>
                    <a:pt x="2866" y="1650"/>
                  </a:lnTo>
                  <a:lnTo>
                    <a:pt x="2872" y="1652"/>
                  </a:lnTo>
                  <a:lnTo>
                    <a:pt x="2878" y="1652"/>
                  </a:lnTo>
                  <a:lnTo>
                    <a:pt x="2888" y="1651"/>
                  </a:lnTo>
                  <a:lnTo>
                    <a:pt x="2899" y="1651"/>
                  </a:lnTo>
                  <a:lnTo>
                    <a:pt x="2910" y="1651"/>
                  </a:lnTo>
                  <a:lnTo>
                    <a:pt x="2915" y="1649"/>
                  </a:lnTo>
                  <a:lnTo>
                    <a:pt x="2917" y="1642"/>
                  </a:lnTo>
                  <a:lnTo>
                    <a:pt x="2921" y="1630"/>
                  </a:lnTo>
                  <a:lnTo>
                    <a:pt x="2922" y="1623"/>
                  </a:lnTo>
                  <a:lnTo>
                    <a:pt x="2923" y="1614"/>
                  </a:lnTo>
                  <a:lnTo>
                    <a:pt x="2923" y="1607"/>
                  </a:lnTo>
                  <a:lnTo>
                    <a:pt x="2922" y="1602"/>
                  </a:lnTo>
                  <a:lnTo>
                    <a:pt x="2920" y="1590"/>
                  </a:lnTo>
                  <a:lnTo>
                    <a:pt x="2917" y="1579"/>
                  </a:lnTo>
                  <a:lnTo>
                    <a:pt x="2916" y="1573"/>
                  </a:lnTo>
                  <a:lnTo>
                    <a:pt x="2915" y="1569"/>
                  </a:lnTo>
                  <a:lnTo>
                    <a:pt x="2913" y="1566"/>
                  </a:lnTo>
                  <a:lnTo>
                    <a:pt x="2911" y="1564"/>
                  </a:lnTo>
                  <a:lnTo>
                    <a:pt x="2901" y="1553"/>
                  </a:lnTo>
                  <a:lnTo>
                    <a:pt x="2886" y="1536"/>
                  </a:lnTo>
                  <a:lnTo>
                    <a:pt x="2871" y="1518"/>
                  </a:lnTo>
                  <a:lnTo>
                    <a:pt x="2865" y="1510"/>
                  </a:lnTo>
                  <a:lnTo>
                    <a:pt x="2869" y="1507"/>
                  </a:lnTo>
                  <a:lnTo>
                    <a:pt x="2876" y="1503"/>
                  </a:lnTo>
                  <a:lnTo>
                    <a:pt x="2884" y="1506"/>
                  </a:lnTo>
                  <a:lnTo>
                    <a:pt x="2896" y="1512"/>
                  </a:lnTo>
                  <a:lnTo>
                    <a:pt x="2901" y="1515"/>
                  </a:lnTo>
                  <a:lnTo>
                    <a:pt x="2907" y="1516"/>
                  </a:lnTo>
                  <a:lnTo>
                    <a:pt x="2908" y="1517"/>
                  </a:lnTo>
                  <a:lnTo>
                    <a:pt x="2909" y="1517"/>
                  </a:lnTo>
                  <a:lnTo>
                    <a:pt x="2910" y="1516"/>
                  </a:lnTo>
                  <a:lnTo>
                    <a:pt x="2909" y="1515"/>
                  </a:lnTo>
                  <a:lnTo>
                    <a:pt x="2906" y="1508"/>
                  </a:lnTo>
                  <a:lnTo>
                    <a:pt x="2905" y="1499"/>
                  </a:lnTo>
                  <a:lnTo>
                    <a:pt x="2904" y="1492"/>
                  </a:lnTo>
                  <a:lnTo>
                    <a:pt x="2905" y="1488"/>
                  </a:lnTo>
                  <a:lnTo>
                    <a:pt x="2915" y="1488"/>
                  </a:lnTo>
                  <a:lnTo>
                    <a:pt x="2924" y="1487"/>
                  </a:lnTo>
                  <a:lnTo>
                    <a:pt x="2930" y="1487"/>
                  </a:lnTo>
                  <a:lnTo>
                    <a:pt x="2938" y="1484"/>
                  </a:lnTo>
                  <a:lnTo>
                    <a:pt x="2942" y="1482"/>
                  </a:lnTo>
                  <a:lnTo>
                    <a:pt x="2945" y="1480"/>
                  </a:lnTo>
                  <a:lnTo>
                    <a:pt x="2949" y="1478"/>
                  </a:lnTo>
                  <a:lnTo>
                    <a:pt x="2950" y="1475"/>
                  </a:lnTo>
                  <a:lnTo>
                    <a:pt x="2957" y="1460"/>
                  </a:lnTo>
                  <a:lnTo>
                    <a:pt x="2964" y="1447"/>
                  </a:lnTo>
                  <a:lnTo>
                    <a:pt x="2966" y="1443"/>
                  </a:lnTo>
                  <a:lnTo>
                    <a:pt x="2968" y="1438"/>
                  </a:lnTo>
                  <a:lnTo>
                    <a:pt x="2973" y="1433"/>
                  </a:lnTo>
                  <a:lnTo>
                    <a:pt x="2978" y="1428"/>
                  </a:lnTo>
                  <a:lnTo>
                    <a:pt x="2981" y="1422"/>
                  </a:lnTo>
                  <a:lnTo>
                    <a:pt x="2984" y="1415"/>
                  </a:lnTo>
                  <a:lnTo>
                    <a:pt x="2987" y="1407"/>
                  </a:lnTo>
                  <a:lnTo>
                    <a:pt x="2990" y="1396"/>
                  </a:lnTo>
                  <a:lnTo>
                    <a:pt x="2995" y="1378"/>
                  </a:lnTo>
                  <a:lnTo>
                    <a:pt x="2997" y="1371"/>
                  </a:lnTo>
                  <a:lnTo>
                    <a:pt x="2998" y="1366"/>
                  </a:lnTo>
                  <a:lnTo>
                    <a:pt x="3002" y="1355"/>
                  </a:lnTo>
                  <a:lnTo>
                    <a:pt x="3004" y="1350"/>
                  </a:lnTo>
                  <a:lnTo>
                    <a:pt x="3006" y="1346"/>
                  </a:lnTo>
                  <a:lnTo>
                    <a:pt x="3008" y="1343"/>
                  </a:lnTo>
                  <a:lnTo>
                    <a:pt x="3009" y="1343"/>
                  </a:lnTo>
                  <a:lnTo>
                    <a:pt x="3009" y="1349"/>
                  </a:lnTo>
                  <a:lnTo>
                    <a:pt x="3009" y="1361"/>
                  </a:lnTo>
                  <a:lnTo>
                    <a:pt x="3009" y="1365"/>
                  </a:lnTo>
                  <a:lnTo>
                    <a:pt x="3010" y="1369"/>
                  </a:lnTo>
                  <a:lnTo>
                    <a:pt x="3010" y="1370"/>
                  </a:lnTo>
                  <a:lnTo>
                    <a:pt x="3010" y="1371"/>
                  </a:lnTo>
                  <a:lnTo>
                    <a:pt x="3011" y="1372"/>
                  </a:lnTo>
                  <a:lnTo>
                    <a:pt x="3012" y="1371"/>
                  </a:lnTo>
                  <a:lnTo>
                    <a:pt x="3016" y="1369"/>
                  </a:lnTo>
                  <a:lnTo>
                    <a:pt x="3019" y="1365"/>
                  </a:lnTo>
                  <a:lnTo>
                    <a:pt x="3021" y="1361"/>
                  </a:lnTo>
                  <a:lnTo>
                    <a:pt x="3023" y="1358"/>
                  </a:lnTo>
                  <a:lnTo>
                    <a:pt x="3024" y="1351"/>
                  </a:lnTo>
                  <a:lnTo>
                    <a:pt x="3026" y="1340"/>
                  </a:lnTo>
                  <a:lnTo>
                    <a:pt x="3027" y="1333"/>
                  </a:lnTo>
                  <a:lnTo>
                    <a:pt x="3027" y="1327"/>
                  </a:lnTo>
                  <a:lnTo>
                    <a:pt x="3026" y="1321"/>
                  </a:lnTo>
                  <a:lnTo>
                    <a:pt x="3025" y="1315"/>
                  </a:lnTo>
                  <a:lnTo>
                    <a:pt x="3023" y="1302"/>
                  </a:lnTo>
                  <a:lnTo>
                    <a:pt x="3023" y="1288"/>
                  </a:lnTo>
                  <a:lnTo>
                    <a:pt x="3023" y="1281"/>
                  </a:lnTo>
                  <a:lnTo>
                    <a:pt x="3024" y="1276"/>
                  </a:lnTo>
                  <a:lnTo>
                    <a:pt x="3025" y="1272"/>
                  </a:lnTo>
                  <a:lnTo>
                    <a:pt x="3026" y="1269"/>
                  </a:lnTo>
                  <a:lnTo>
                    <a:pt x="3030" y="1264"/>
                  </a:lnTo>
                  <a:lnTo>
                    <a:pt x="3037" y="1255"/>
                  </a:lnTo>
                  <a:lnTo>
                    <a:pt x="3040" y="1251"/>
                  </a:lnTo>
                  <a:lnTo>
                    <a:pt x="3043" y="1249"/>
                  </a:lnTo>
                  <a:lnTo>
                    <a:pt x="3044" y="1247"/>
                  </a:lnTo>
                  <a:lnTo>
                    <a:pt x="3045" y="1247"/>
                  </a:lnTo>
                  <a:lnTo>
                    <a:pt x="3046" y="1247"/>
                  </a:lnTo>
                  <a:lnTo>
                    <a:pt x="3047" y="1249"/>
                  </a:lnTo>
                  <a:lnTo>
                    <a:pt x="3050" y="1260"/>
                  </a:lnTo>
                  <a:lnTo>
                    <a:pt x="3056" y="1275"/>
                  </a:lnTo>
                  <a:lnTo>
                    <a:pt x="3060" y="1281"/>
                  </a:lnTo>
                  <a:lnTo>
                    <a:pt x="3063" y="1286"/>
                  </a:lnTo>
                  <a:lnTo>
                    <a:pt x="3064" y="1288"/>
                  </a:lnTo>
                  <a:lnTo>
                    <a:pt x="3066" y="1289"/>
                  </a:lnTo>
                  <a:lnTo>
                    <a:pt x="3067" y="1289"/>
                  </a:lnTo>
                  <a:lnTo>
                    <a:pt x="3068" y="1289"/>
                  </a:lnTo>
                  <a:lnTo>
                    <a:pt x="3070" y="1286"/>
                  </a:lnTo>
                  <a:lnTo>
                    <a:pt x="3071" y="1283"/>
                  </a:lnTo>
                  <a:lnTo>
                    <a:pt x="3071" y="1280"/>
                  </a:lnTo>
                  <a:lnTo>
                    <a:pt x="3070" y="1278"/>
                  </a:lnTo>
                  <a:lnTo>
                    <a:pt x="3066" y="1266"/>
                  </a:lnTo>
                  <a:lnTo>
                    <a:pt x="3060" y="1253"/>
                  </a:lnTo>
                  <a:lnTo>
                    <a:pt x="3058" y="1243"/>
                  </a:lnTo>
                  <a:lnTo>
                    <a:pt x="3054" y="1229"/>
                  </a:lnTo>
                  <a:lnTo>
                    <a:pt x="3051" y="1215"/>
                  </a:lnTo>
                  <a:lnTo>
                    <a:pt x="3049" y="1209"/>
                  </a:lnTo>
                  <a:lnTo>
                    <a:pt x="3048" y="1208"/>
                  </a:lnTo>
                  <a:lnTo>
                    <a:pt x="3046" y="1207"/>
                  </a:lnTo>
                  <a:lnTo>
                    <a:pt x="3044" y="1207"/>
                  </a:lnTo>
                  <a:lnTo>
                    <a:pt x="3041" y="1209"/>
                  </a:lnTo>
                  <a:lnTo>
                    <a:pt x="3034" y="1220"/>
                  </a:lnTo>
                  <a:lnTo>
                    <a:pt x="3025" y="1233"/>
                  </a:lnTo>
                  <a:lnTo>
                    <a:pt x="3022" y="1235"/>
                  </a:lnTo>
                  <a:lnTo>
                    <a:pt x="3020" y="1236"/>
                  </a:lnTo>
                  <a:lnTo>
                    <a:pt x="3017" y="1237"/>
                  </a:lnTo>
                  <a:lnTo>
                    <a:pt x="3014" y="1237"/>
                  </a:lnTo>
                  <a:lnTo>
                    <a:pt x="3008" y="1236"/>
                  </a:lnTo>
                  <a:lnTo>
                    <a:pt x="3005" y="1235"/>
                  </a:lnTo>
                  <a:lnTo>
                    <a:pt x="2999" y="1227"/>
                  </a:lnTo>
                  <a:lnTo>
                    <a:pt x="2985" y="1206"/>
                  </a:lnTo>
                  <a:lnTo>
                    <a:pt x="2979" y="1194"/>
                  </a:lnTo>
                  <a:lnTo>
                    <a:pt x="2973" y="1183"/>
                  </a:lnTo>
                  <a:lnTo>
                    <a:pt x="2968" y="1174"/>
                  </a:lnTo>
                  <a:lnTo>
                    <a:pt x="2967" y="1168"/>
                  </a:lnTo>
                  <a:lnTo>
                    <a:pt x="2968" y="1163"/>
                  </a:lnTo>
                  <a:lnTo>
                    <a:pt x="2971" y="1161"/>
                  </a:lnTo>
                  <a:lnTo>
                    <a:pt x="2971" y="1159"/>
                  </a:lnTo>
                  <a:lnTo>
                    <a:pt x="2971" y="1158"/>
                  </a:lnTo>
                  <a:lnTo>
                    <a:pt x="2971" y="1157"/>
                  </a:lnTo>
                  <a:lnTo>
                    <a:pt x="2970" y="1155"/>
                  </a:lnTo>
                  <a:lnTo>
                    <a:pt x="2967" y="1151"/>
                  </a:lnTo>
                  <a:lnTo>
                    <a:pt x="2964" y="1146"/>
                  </a:lnTo>
                  <a:lnTo>
                    <a:pt x="2963" y="1141"/>
                  </a:lnTo>
                  <a:lnTo>
                    <a:pt x="2962" y="1136"/>
                  </a:lnTo>
                  <a:lnTo>
                    <a:pt x="2960" y="1124"/>
                  </a:lnTo>
                  <a:lnTo>
                    <a:pt x="2961" y="1114"/>
                  </a:lnTo>
                  <a:lnTo>
                    <a:pt x="2962" y="1109"/>
                  </a:lnTo>
                  <a:lnTo>
                    <a:pt x="2963" y="1100"/>
                  </a:lnTo>
                  <a:lnTo>
                    <a:pt x="2965" y="1089"/>
                  </a:lnTo>
                  <a:lnTo>
                    <a:pt x="2967" y="1083"/>
                  </a:lnTo>
                  <a:lnTo>
                    <a:pt x="2971" y="1076"/>
                  </a:lnTo>
                  <a:lnTo>
                    <a:pt x="2976" y="1064"/>
                  </a:lnTo>
                  <a:lnTo>
                    <a:pt x="2981" y="1052"/>
                  </a:lnTo>
                  <a:lnTo>
                    <a:pt x="2985" y="1043"/>
                  </a:lnTo>
                  <a:lnTo>
                    <a:pt x="2990" y="1037"/>
                  </a:lnTo>
                  <a:lnTo>
                    <a:pt x="2996" y="1029"/>
                  </a:lnTo>
                  <a:lnTo>
                    <a:pt x="2999" y="1024"/>
                  </a:lnTo>
                  <a:lnTo>
                    <a:pt x="3002" y="1021"/>
                  </a:lnTo>
                  <a:lnTo>
                    <a:pt x="3004" y="1020"/>
                  </a:lnTo>
                  <a:lnTo>
                    <a:pt x="3006" y="1019"/>
                  </a:lnTo>
                  <a:lnTo>
                    <a:pt x="3008" y="1020"/>
                  </a:lnTo>
                  <a:lnTo>
                    <a:pt x="3010" y="1019"/>
                  </a:lnTo>
                  <a:lnTo>
                    <a:pt x="3011" y="1015"/>
                  </a:lnTo>
                  <a:lnTo>
                    <a:pt x="3012" y="1008"/>
                  </a:lnTo>
                  <a:lnTo>
                    <a:pt x="3012" y="1004"/>
                  </a:lnTo>
                  <a:lnTo>
                    <a:pt x="3015" y="1002"/>
                  </a:lnTo>
                  <a:lnTo>
                    <a:pt x="3016" y="1001"/>
                  </a:lnTo>
                  <a:lnTo>
                    <a:pt x="3018" y="1001"/>
                  </a:lnTo>
                  <a:lnTo>
                    <a:pt x="3019" y="1001"/>
                  </a:lnTo>
                  <a:lnTo>
                    <a:pt x="3021" y="1000"/>
                  </a:lnTo>
                  <a:lnTo>
                    <a:pt x="3021" y="998"/>
                  </a:lnTo>
                  <a:lnTo>
                    <a:pt x="3021" y="995"/>
                  </a:lnTo>
                  <a:lnTo>
                    <a:pt x="3018" y="983"/>
                  </a:lnTo>
                  <a:lnTo>
                    <a:pt x="3016" y="972"/>
                  </a:lnTo>
                  <a:lnTo>
                    <a:pt x="3015" y="964"/>
                  </a:lnTo>
                  <a:lnTo>
                    <a:pt x="3015" y="958"/>
                  </a:lnTo>
                  <a:lnTo>
                    <a:pt x="3017" y="948"/>
                  </a:lnTo>
                  <a:lnTo>
                    <a:pt x="3021" y="935"/>
                  </a:lnTo>
                  <a:lnTo>
                    <a:pt x="3023" y="931"/>
                  </a:lnTo>
                  <a:lnTo>
                    <a:pt x="3026" y="926"/>
                  </a:lnTo>
                  <a:lnTo>
                    <a:pt x="3027" y="920"/>
                  </a:lnTo>
                  <a:lnTo>
                    <a:pt x="3028" y="915"/>
                  </a:lnTo>
                  <a:lnTo>
                    <a:pt x="3030" y="907"/>
                  </a:lnTo>
                  <a:lnTo>
                    <a:pt x="3030" y="900"/>
                  </a:lnTo>
                  <a:lnTo>
                    <a:pt x="3028" y="896"/>
                  </a:lnTo>
                  <a:lnTo>
                    <a:pt x="3027" y="893"/>
                  </a:lnTo>
                  <a:lnTo>
                    <a:pt x="3025" y="891"/>
                  </a:lnTo>
                  <a:lnTo>
                    <a:pt x="3023" y="890"/>
                  </a:lnTo>
                  <a:lnTo>
                    <a:pt x="3020" y="892"/>
                  </a:lnTo>
                  <a:lnTo>
                    <a:pt x="3017" y="895"/>
                  </a:lnTo>
                  <a:lnTo>
                    <a:pt x="3016" y="895"/>
                  </a:lnTo>
                  <a:lnTo>
                    <a:pt x="3014" y="894"/>
                  </a:lnTo>
                  <a:lnTo>
                    <a:pt x="3012" y="894"/>
                  </a:lnTo>
                  <a:lnTo>
                    <a:pt x="3011" y="895"/>
                  </a:lnTo>
                  <a:lnTo>
                    <a:pt x="3011" y="896"/>
                  </a:lnTo>
                  <a:lnTo>
                    <a:pt x="3011" y="899"/>
                  </a:lnTo>
                  <a:lnTo>
                    <a:pt x="3015" y="907"/>
                  </a:lnTo>
                  <a:lnTo>
                    <a:pt x="3016" y="909"/>
                  </a:lnTo>
                  <a:lnTo>
                    <a:pt x="3014" y="909"/>
                  </a:lnTo>
                  <a:lnTo>
                    <a:pt x="3009" y="906"/>
                  </a:lnTo>
                  <a:lnTo>
                    <a:pt x="3007" y="902"/>
                  </a:lnTo>
                  <a:lnTo>
                    <a:pt x="3004" y="898"/>
                  </a:lnTo>
                  <a:lnTo>
                    <a:pt x="3004" y="894"/>
                  </a:lnTo>
                  <a:lnTo>
                    <a:pt x="3004" y="892"/>
                  </a:lnTo>
                  <a:lnTo>
                    <a:pt x="3004" y="890"/>
                  </a:lnTo>
                  <a:lnTo>
                    <a:pt x="3005" y="888"/>
                  </a:lnTo>
                  <a:lnTo>
                    <a:pt x="3010" y="880"/>
                  </a:lnTo>
                  <a:lnTo>
                    <a:pt x="3014" y="873"/>
                  </a:lnTo>
                  <a:lnTo>
                    <a:pt x="3015" y="866"/>
                  </a:lnTo>
                  <a:lnTo>
                    <a:pt x="3017" y="857"/>
                  </a:lnTo>
                  <a:lnTo>
                    <a:pt x="3021" y="849"/>
                  </a:lnTo>
                  <a:lnTo>
                    <a:pt x="3024" y="846"/>
                  </a:lnTo>
                  <a:lnTo>
                    <a:pt x="3026" y="847"/>
                  </a:lnTo>
                  <a:lnTo>
                    <a:pt x="3028" y="848"/>
                  </a:lnTo>
                  <a:lnTo>
                    <a:pt x="3030" y="848"/>
                  </a:lnTo>
                  <a:lnTo>
                    <a:pt x="3031" y="847"/>
                  </a:lnTo>
                  <a:lnTo>
                    <a:pt x="3037" y="842"/>
                  </a:lnTo>
                  <a:lnTo>
                    <a:pt x="3041" y="838"/>
                  </a:lnTo>
                  <a:lnTo>
                    <a:pt x="3041" y="835"/>
                  </a:lnTo>
                  <a:lnTo>
                    <a:pt x="3041" y="828"/>
                  </a:lnTo>
                  <a:lnTo>
                    <a:pt x="3041" y="825"/>
                  </a:lnTo>
                  <a:lnTo>
                    <a:pt x="3042" y="823"/>
                  </a:lnTo>
                  <a:lnTo>
                    <a:pt x="3043" y="822"/>
                  </a:lnTo>
                  <a:lnTo>
                    <a:pt x="3044" y="822"/>
                  </a:lnTo>
                  <a:lnTo>
                    <a:pt x="3045" y="822"/>
                  </a:lnTo>
                  <a:lnTo>
                    <a:pt x="3046" y="823"/>
                  </a:lnTo>
                  <a:lnTo>
                    <a:pt x="3051" y="826"/>
                  </a:lnTo>
                  <a:lnTo>
                    <a:pt x="3056" y="829"/>
                  </a:lnTo>
                  <a:lnTo>
                    <a:pt x="3059" y="832"/>
                  </a:lnTo>
                  <a:lnTo>
                    <a:pt x="3060" y="833"/>
                  </a:lnTo>
                  <a:lnTo>
                    <a:pt x="3061" y="832"/>
                  </a:lnTo>
                  <a:lnTo>
                    <a:pt x="3062" y="830"/>
                  </a:lnTo>
                  <a:lnTo>
                    <a:pt x="3063" y="826"/>
                  </a:lnTo>
                  <a:lnTo>
                    <a:pt x="3065" y="823"/>
                  </a:lnTo>
                  <a:lnTo>
                    <a:pt x="3069" y="823"/>
                  </a:lnTo>
                  <a:lnTo>
                    <a:pt x="3076" y="825"/>
                  </a:lnTo>
                  <a:lnTo>
                    <a:pt x="3085" y="828"/>
                  </a:lnTo>
                  <a:lnTo>
                    <a:pt x="3090" y="833"/>
                  </a:lnTo>
                  <a:lnTo>
                    <a:pt x="3100" y="841"/>
                  </a:lnTo>
                  <a:lnTo>
                    <a:pt x="3107" y="845"/>
                  </a:lnTo>
                  <a:lnTo>
                    <a:pt x="3109" y="847"/>
                  </a:lnTo>
                  <a:lnTo>
                    <a:pt x="3115" y="856"/>
                  </a:lnTo>
                  <a:lnTo>
                    <a:pt x="3120" y="861"/>
                  </a:lnTo>
                  <a:lnTo>
                    <a:pt x="3127" y="869"/>
                  </a:lnTo>
                  <a:lnTo>
                    <a:pt x="3130" y="873"/>
                  </a:lnTo>
                  <a:lnTo>
                    <a:pt x="3132" y="877"/>
                  </a:lnTo>
                  <a:lnTo>
                    <a:pt x="3133" y="881"/>
                  </a:lnTo>
                  <a:lnTo>
                    <a:pt x="3133" y="883"/>
                  </a:lnTo>
                  <a:lnTo>
                    <a:pt x="3132" y="889"/>
                  </a:lnTo>
                  <a:lnTo>
                    <a:pt x="3133" y="892"/>
                  </a:lnTo>
                  <a:lnTo>
                    <a:pt x="3134" y="894"/>
                  </a:lnTo>
                  <a:lnTo>
                    <a:pt x="3136" y="899"/>
                  </a:lnTo>
                  <a:lnTo>
                    <a:pt x="3138" y="901"/>
                  </a:lnTo>
                  <a:lnTo>
                    <a:pt x="3139" y="902"/>
                  </a:lnTo>
                  <a:lnTo>
                    <a:pt x="3140" y="902"/>
                  </a:lnTo>
                  <a:lnTo>
                    <a:pt x="3141" y="902"/>
                  </a:lnTo>
                  <a:lnTo>
                    <a:pt x="3142" y="901"/>
                  </a:lnTo>
                  <a:lnTo>
                    <a:pt x="3143" y="901"/>
                  </a:lnTo>
                  <a:lnTo>
                    <a:pt x="3144" y="901"/>
                  </a:lnTo>
                  <a:lnTo>
                    <a:pt x="3146" y="902"/>
                  </a:lnTo>
                  <a:lnTo>
                    <a:pt x="3148" y="905"/>
                  </a:lnTo>
                  <a:lnTo>
                    <a:pt x="3151" y="909"/>
                  </a:lnTo>
                  <a:lnTo>
                    <a:pt x="3160" y="922"/>
                  </a:lnTo>
                  <a:lnTo>
                    <a:pt x="3171" y="934"/>
                  </a:lnTo>
                  <a:lnTo>
                    <a:pt x="3175" y="943"/>
                  </a:lnTo>
                  <a:lnTo>
                    <a:pt x="3181" y="952"/>
                  </a:lnTo>
                  <a:lnTo>
                    <a:pt x="3187" y="963"/>
                  </a:lnTo>
                  <a:lnTo>
                    <a:pt x="3194" y="973"/>
                  </a:lnTo>
                  <a:lnTo>
                    <a:pt x="3198" y="982"/>
                  </a:lnTo>
                  <a:lnTo>
                    <a:pt x="3203" y="992"/>
                  </a:lnTo>
                  <a:lnTo>
                    <a:pt x="3207" y="1000"/>
                  </a:lnTo>
                  <a:lnTo>
                    <a:pt x="3210" y="1007"/>
                  </a:lnTo>
                  <a:lnTo>
                    <a:pt x="3216" y="1015"/>
                  </a:lnTo>
                  <a:lnTo>
                    <a:pt x="3221" y="1026"/>
                  </a:lnTo>
                  <a:lnTo>
                    <a:pt x="3225" y="1038"/>
                  </a:lnTo>
                  <a:lnTo>
                    <a:pt x="3228" y="1047"/>
                  </a:lnTo>
                  <a:lnTo>
                    <a:pt x="3229" y="1057"/>
                  </a:lnTo>
                  <a:lnTo>
                    <a:pt x="3228" y="1062"/>
                  </a:lnTo>
                  <a:lnTo>
                    <a:pt x="3228" y="1062"/>
                  </a:lnTo>
                  <a:lnTo>
                    <a:pt x="3227" y="1063"/>
                  </a:lnTo>
                  <a:lnTo>
                    <a:pt x="3226" y="1063"/>
                  </a:lnTo>
                  <a:lnTo>
                    <a:pt x="3225" y="1061"/>
                  </a:lnTo>
                  <a:lnTo>
                    <a:pt x="3221" y="1057"/>
                  </a:lnTo>
                  <a:lnTo>
                    <a:pt x="3216" y="1048"/>
                  </a:lnTo>
                  <a:lnTo>
                    <a:pt x="3203" y="1034"/>
                  </a:lnTo>
                  <a:lnTo>
                    <a:pt x="3195" y="1022"/>
                  </a:lnTo>
                  <a:lnTo>
                    <a:pt x="3194" y="1022"/>
                  </a:lnTo>
                  <a:lnTo>
                    <a:pt x="3192" y="1021"/>
                  </a:lnTo>
                  <a:lnTo>
                    <a:pt x="3192" y="1021"/>
                  </a:lnTo>
                  <a:lnTo>
                    <a:pt x="3194" y="1026"/>
                  </a:lnTo>
                  <a:lnTo>
                    <a:pt x="3201" y="1040"/>
                  </a:lnTo>
                  <a:lnTo>
                    <a:pt x="3205" y="1045"/>
                  </a:lnTo>
                  <a:lnTo>
                    <a:pt x="3206" y="1046"/>
                  </a:lnTo>
                  <a:lnTo>
                    <a:pt x="3208" y="1047"/>
                  </a:lnTo>
                  <a:lnTo>
                    <a:pt x="3210" y="1052"/>
                  </a:lnTo>
                  <a:lnTo>
                    <a:pt x="3212" y="1058"/>
                  </a:lnTo>
                  <a:lnTo>
                    <a:pt x="3212" y="1063"/>
                  </a:lnTo>
                  <a:lnTo>
                    <a:pt x="3212" y="1066"/>
                  </a:lnTo>
                  <a:lnTo>
                    <a:pt x="3213" y="1068"/>
                  </a:lnTo>
                  <a:lnTo>
                    <a:pt x="3215" y="1073"/>
                  </a:lnTo>
                  <a:lnTo>
                    <a:pt x="3218" y="1083"/>
                  </a:lnTo>
                  <a:lnTo>
                    <a:pt x="3221" y="1090"/>
                  </a:lnTo>
                  <a:lnTo>
                    <a:pt x="3224" y="1098"/>
                  </a:lnTo>
                  <a:lnTo>
                    <a:pt x="3228" y="1106"/>
                  </a:lnTo>
                  <a:lnTo>
                    <a:pt x="3233" y="1112"/>
                  </a:lnTo>
                  <a:lnTo>
                    <a:pt x="3236" y="1120"/>
                  </a:lnTo>
                  <a:lnTo>
                    <a:pt x="3238" y="1125"/>
                  </a:lnTo>
                  <a:lnTo>
                    <a:pt x="3240" y="1127"/>
                  </a:lnTo>
                  <a:lnTo>
                    <a:pt x="3240" y="1121"/>
                  </a:lnTo>
                  <a:lnTo>
                    <a:pt x="3239" y="1113"/>
                  </a:lnTo>
                  <a:lnTo>
                    <a:pt x="3235" y="1107"/>
                  </a:lnTo>
                  <a:lnTo>
                    <a:pt x="3229" y="1100"/>
                  </a:lnTo>
                  <a:lnTo>
                    <a:pt x="3226" y="1092"/>
                  </a:lnTo>
                  <a:lnTo>
                    <a:pt x="3224" y="1085"/>
                  </a:lnTo>
                  <a:lnTo>
                    <a:pt x="3223" y="1081"/>
                  </a:lnTo>
                  <a:lnTo>
                    <a:pt x="3223" y="1078"/>
                  </a:lnTo>
                  <a:lnTo>
                    <a:pt x="3224" y="1078"/>
                  </a:lnTo>
                  <a:lnTo>
                    <a:pt x="3228" y="1084"/>
                  </a:lnTo>
                  <a:lnTo>
                    <a:pt x="3235" y="1096"/>
                  </a:lnTo>
                  <a:lnTo>
                    <a:pt x="3239" y="1104"/>
                  </a:lnTo>
                  <a:lnTo>
                    <a:pt x="3243" y="1113"/>
                  </a:lnTo>
                  <a:lnTo>
                    <a:pt x="3245" y="1118"/>
                  </a:lnTo>
                  <a:lnTo>
                    <a:pt x="3245" y="1109"/>
                  </a:lnTo>
                  <a:lnTo>
                    <a:pt x="3242" y="1101"/>
                  </a:lnTo>
                  <a:lnTo>
                    <a:pt x="3239" y="1092"/>
                  </a:lnTo>
                  <a:lnTo>
                    <a:pt x="3236" y="1085"/>
                  </a:lnTo>
                  <a:lnTo>
                    <a:pt x="3236" y="1077"/>
                  </a:lnTo>
                  <a:lnTo>
                    <a:pt x="3236" y="1070"/>
                  </a:lnTo>
                  <a:lnTo>
                    <a:pt x="3235" y="1060"/>
                  </a:lnTo>
                  <a:lnTo>
                    <a:pt x="3231" y="1049"/>
                  </a:lnTo>
                  <a:lnTo>
                    <a:pt x="3233" y="1049"/>
                  </a:lnTo>
                  <a:lnTo>
                    <a:pt x="3237" y="1059"/>
                  </a:lnTo>
                  <a:lnTo>
                    <a:pt x="3240" y="1068"/>
                  </a:lnTo>
                  <a:lnTo>
                    <a:pt x="3241" y="1071"/>
                  </a:lnTo>
                  <a:lnTo>
                    <a:pt x="3245" y="1081"/>
                  </a:lnTo>
                  <a:lnTo>
                    <a:pt x="3247" y="1086"/>
                  </a:lnTo>
                  <a:lnTo>
                    <a:pt x="3245" y="1079"/>
                  </a:lnTo>
                  <a:lnTo>
                    <a:pt x="3241" y="1067"/>
                  </a:lnTo>
                  <a:lnTo>
                    <a:pt x="3239" y="1061"/>
                  </a:lnTo>
                  <a:lnTo>
                    <a:pt x="3236" y="1054"/>
                  </a:lnTo>
                  <a:lnTo>
                    <a:pt x="3233" y="1047"/>
                  </a:lnTo>
                  <a:lnTo>
                    <a:pt x="3229" y="1039"/>
                  </a:lnTo>
                  <a:lnTo>
                    <a:pt x="3227" y="1033"/>
                  </a:lnTo>
                  <a:lnTo>
                    <a:pt x="3226" y="1030"/>
                  </a:lnTo>
                  <a:lnTo>
                    <a:pt x="3225" y="1025"/>
                  </a:lnTo>
                  <a:lnTo>
                    <a:pt x="3221" y="1017"/>
                  </a:lnTo>
                  <a:lnTo>
                    <a:pt x="3217" y="1007"/>
                  </a:lnTo>
                  <a:lnTo>
                    <a:pt x="3214" y="999"/>
                  </a:lnTo>
                  <a:lnTo>
                    <a:pt x="3214" y="999"/>
                  </a:lnTo>
                  <a:lnTo>
                    <a:pt x="3217" y="1005"/>
                  </a:lnTo>
                  <a:lnTo>
                    <a:pt x="3221" y="1013"/>
                  </a:lnTo>
                  <a:lnTo>
                    <a:pt x="3225" y="1022"/>
                  </a:lnTo>
                  <a:lnTo>
                    <a:pt x="3229" y="1032"/>
                  </a:lnTo>
                  <a:lnTo>
                    <a:pt x="3231" y="1038"/>
                  </a:lnTo>
                  <a:lnTo>
                    <a:pt x="3234" y="1042"/>
                  </a:lnTo>
                  <a:lnTo>
                    <a:pt x="3235" y="1044"/>
                  </a:lnTo>
                  <a:lnTo>
                    <a:pt x="3234" y="1045"/>
                  </a:lnTo>
                  <a:lnTo>
                    <a:pt x="3235" y="1048"/>
                  </a:lnTo>
                  <a:lnTo>
                    <a:pt x="3238" y="1054"/>
                  </a:lnTo>
                  <a:lnTo>
                    <a:pt x="3241" y="1061"/>
                  </a:lnTo>
                  <a:lnTo>
                    <a:pt x="3243" y="1065"/>
                  </a:lnTo>
                  <a:lnTo>
                    <a:pt x="3244" y="1067"/>
                  </a:lnTo>
                  <a:lnTo>
                    <a:pt x="3243" y="1066"/>
                  </a:lnTo>
                  <a:lnTo>
                    <a:pt x="3242" y="1062"/>
                  </a:lnTo>
                  <a:lnTo>
                    <a:pt x="3240" y="1056"/>
                  </a:lnTo>
                  <a:lnTo>
                    <a:pt x="3238" y="1053"/>
                  </a:lnTo>
                  <a:lnTo>
                    <a:pt x="3239" y="1053"/>
                  </a:lnTo>
                  <a:close/>
                  <a:moveTo>
                    <a:pt x="1425" y="939"/>
                  </a:moveTo>
                  <a:lnTo>
                    <a:pt x="1427" y="944"/>
                  </a:lnTo>
                  <a:lnTo>
                    <a:pt x="1430" y="946"/>
                  </a:lnTo>
                  <a:lnTo>
                    <a:pt x="1431" y="946"/>
                  </a:lnTo>
                  <a:lnTo>
                    <a:pt x="1434" y="946"/>
                  </a:lnTo>
                  <a:lnTo>
                    <a:pt x="1435" y="946"/>
                  </a:lnTo>
                  <a:lnTo>
                    <a:pt x="1437" y="944"/>
                  </a:lnTo>
                  <a:lnTo>
                    <a:pt x="1441" y="938"/>
                  </a:lnTo>
                  <a:lnTo>
                    <a:pt x="1444" y="933"/>
                  </a:lnTo>
                  <a:lnTo>
                    <a:pt x="1445" y="930"/>
                  </a:lnTo>
                  <a:lnTo>
                    <a:pt x="1445" y="928"/>
                  </a:lnTo>
                  <a:lnTo>
                    <a:pt x="1444" y="927"/>
                  </a:lnTo>
                  <a:lnTo>
                    <a:pt x="1442" y="927"/>
                  </a:lnTo>
                  <a:lnTo>
                    <a:pt x="1435" y="928"/>
                  </a:lnTo>
                  <a:lnTo>
                    <a:pt x="1430" y="929"/>
                  </a:lnTo>
                  <a:lnTo>
                    <a:pt x="1427" y="932"/>
                  </a:lnTo>
                  <a:lnTo>
                    <a:pt x="1424" y="935"/>
                  </a:lnTo>
                  <a:lnTo>
                    <a:pt x="1424" y="937"/>
                  </a:lnTo>
                  <a:lnTo>
                    <a:pt x="1425" y="939"/>
                  </a:lnTo>
                  <a:close/>
                  <a:moveTo>
                    <a:pt x="1380" y="999"/>
                  </a:moveTo>
                  <a:lnTo>
                    <a:pt x="1381" y="1004"/>
                  </a:lnTo>
                  <a:lnTo>
                    <a:pt x="1382" y="1010"/>
                  </a:lnTo>
                  <a:lnTo>
                    <a:pt x="1383" y="1011"/>
                  </a:lnTo>
                  <a:lnTo>
                    <a:pt x="1384" y="1012"/>
                  </a:lnTo>
                  <a:lnTo>
                    <a:pt x="1385" y="1012"/>
                  </a:lnTo>
                  <a:lnTo>
                    <a:pt x="1387" y="1012"/>
                  </a:lnTo>
                  <a:lnTo>
                    <a:pt x="1393" y="1008"/>
                  </a:lnTo>
                  <a:lnTo>
                    <a:pt x="1398" y="1004"/>
                  </a:lnTo>
                  <a:lnTo>
                    <a:pt x="1399" y="1002"/>
                  </a:lnTo>
                  <a:lnTo>
                    <a:pt x="1401" y="999"/>
                  </a:lnTo>
                  <a:lnTo>
                    <a:pt x="1401" y="997"/>
                  </a:lnTo>
                  <a:lnTo>
                    <a:pt x="1400" y="994"/>
                  </a:lnTo>
                  <a:lnTo>
                    <a:pt x="1399" y="987"/>
                  </a:lnTo>
                  <a:lnTo>
                    <a:pt x="1398" y="981"/>
                  </a:lnTo>
                  <a:lnTo>
                    <a:pt x="1397" y="980"/>
                  </a:lnTo>
                  <a:lnTo>
                    <a:pt x="1396" y="979"/>
                  </a:lnTo>
                  <a:lnTo>
                    <a:pt x="1395" y="980"/>
                  </a:lnTo>
                  <a:lnTo>
                    <a:pt x="1392" y="982"/>
                  </a:lnTo>
                  <a:lnTo>
                    <a:pt x="1383" y="993"/>
                  </a:lnTo>
                  <a:lnTo>
                    <a:pt x="1380" y="999"/>
                  </a:lnTo>
                  <a:close/>
                  <a:moveTo>
                    <a:pt x="1293" y="983"/>
                  </a:moveTo>
                  <a:lnTo>
                    <a:pt x="1296" y="991"/>
                  </a:lnTo>
                  <a:lnTo>
                    <a:pt x="1300" y="995"/>
                  </a:lnTo>
                  <a:lnTo>
                    <a:pt x="1305" y="997"/>
                  </a:lnTo>
                  <a:lnTo>
                    <a:pt x="1309" y="997"/>
                  </a:lnTo>
                  <a:lnTo>
                    <a:pt x="1313" y="996"/>
                  </a:lnTo>
                  <a:lnTo>
                    <a:pt x="1317" y="994"/>
                  </a:lnTo>
                  <a:lnTo>
                    <a:pt x="1320" y="992"/>
                  </a:lnTo>
                  <a:lnTo>
                    <a:pt x="1323" y="989"/>
                  </a:lnTo>
                  <a:lnTo>
                    <a:pt x="1332" y="982"/>
                  </a:lnTo>
                  <a:lnTo>
                    <a:pt x="1341" y="974"/>
                  </a:lnTo>
                  <a:lnTo>
                    <a:pt x="1344" y="970"/>
                  </a:lnTo>
                  <a:lnTo>
                    <a:pt x="1347" y="966"/>
                  </a:lnTo>
                  <a:lnTo>
                    <a:pt x="1347" y="965"/>
                  </a:lnTo>
                  <a:lnTo>
                    <a:pt x="1347" y="964"/>
                  </a:lnTo>
                  <a:lnTo>
                    <a:pt x="1344" y="963"/>
                  </a:lnTo>
                  <a:lnTo>
                    <a:pt x="1342" y="961"/>
                  </a:lnTo>
                  <a:lnTo>
                    <a:pt x="1332" y="959"/>
                  </a:lnTo>
                  <a:lnTo>
                    <a:pt x="1322" y="959"/>
                  </a:lnTo>
                  <a:lnTo>
                    <a:pt x="1318" y="959"/>
                  </a:lnTo>
                  <a:lnTo>
                    <a:pt x="1315" y="961"/>
                  </a:lnTo>
                  <a:lnTo>
                    <a:pt x="1313" y="964"/>
                  </a:lnTo>
                  <a:lnTo>
                    <a:pt x="1311" y="967"/>
                  </a:lnTo>
                  <a:lnTo>
                    <a:pt x="1310" y="970"/>
                  </a:lnTo>
                  <a:lnTo>
                    <a:pt x="1308" y="974"/>
                  </a:lnTo>
                  <a:lnTo>
                    <a:pt x="1305" y="976"/>
                  </a:lnTo>
                  <a:lnTo>
                    <a:pt x="1301" y="979"/>
                  </a:lnTo>
                  <a:lnTo>
                    <a:pt x="1296" y="982"/>
                  </a:lnTo>
                  <a:lnTo>
                    <a:pt x="1293" y="983"/>
                  </a:lnTo>
                  <a:close/>
                  <a:moveTo>
                    <a:pt x="1449" y="732"/>
                  </a:moveTo>
                  <a:lnTo>
                    <a:pt x="1446" y="740"/>
                  </a:lnTo>
                  <a:lnTo>
                    <a:pt x="1445" y="749"/>
                  </a:lnTo>
                  <a:lnTo>
                    <a:pt x="1445" y="753"/>
                  </a:lnTo>
                  <a:lnTo>
                    <a:pt x="1447" y="756"/>
                  </a:lnTo>
                  <a:lnTo>
                    <a:pt x="1450" y="759"/>
                  </a:lnTo>
                  <a:lnTo>
                    <a:pt x="1457" y="762"/>
                  </a:lnTo>
                  <a:lnTo>
                    <a:pt x="1463" y="764"/>
                  </a:lnTo>
                  <a:lnTo>
                    <a:pt x="1470" y="764"/>
                  </a:lnTo>
                  <a:lnTo>
                    <a:pt x="1475" y="764"/>
                  </a:lnTo>
                  <a:lnTo>
                    <a:pt x="1481" y="762"/>
                  </a:lnTo>
                  <a:lnTo>
                    <a:pt x="1486" y="760"/>
                  </a:lnTo>
                  <a:lnTo>
                    <a:pt x="1490" y="757"/>
                  </a:lnTo>
                  <a:lnTo>
                    <a:pt x="1492" y="753"/>
                  </a:lnTo>
                  <a:lnTo>
                    <a:pt x="1494" y="749"/>
                  </a:lnTo>
                  <a:lnTo>
                    <a:pt x="1495" y="745"/>
                  </a:lnTo>
                  <a:lnTo>
                    <a:pt x="1494" y="738"/>
                  </a:lnTo>
                  <a:lnTo>
                    <a:pt x="1493" y="733"/>
                  </a:lnTo>
                  <a:lnTo>
                    <a:pt x="1491" y="728"/>
                  </a:lnTo>
                  <a:lnTo>
                    <a:pt x="1489" y="724"/>
                  </a:lnTo>
                  <a:lnTo>
                    <a:pt x="1486" y="720"/>
                  </a:lnTo>
                  <a:lnTo>
                    <a:pt x="1483" y="718"/>
                  </a:lnTo>
                  <a:lnTo>
                    <a:pt x="1480" y="718"/>
                  </a:lnTo>
                  <a:lnTo>
                    <a:pt x="1472" y="720"/>
                  </a:lnTo>
                  <a:lnTo>
                    <a:pt x="1466" y="723"/>
                  </a:lnTo>
                  <a:lnTo>
                    <a:pt x="1464" y="725"/>
                  </a:lnTo>
                  <a:lnTo>
                    <a:pt x="1461" y="726"/>
                  </a:lnTo>
                  <a:lnTo>
                    <a:pt x="1460" y="728"/>
                  </a:lnTo>
                  <a:lnTo>
                    <a:pt x="1458" y="730"/>
                  </a:lnTo>
                  <a:lnTo>
                    <a:pt x="1457" y="733"/>
                  </a:lnTo>
                  <a:lnTo>
                    <a:pt x="1456" y="732"/>
                  </a:lnTo>
                  <a:lnTo>
                    <a:pt x="1456" y="731"/>
                  </a:lnTo>
                  <a:lnTo>
                    <a:pt x="1454" y="729"/>
                  </a:lnTo>
                  <a:lnTo>
                    <a:pt x="1452" y="728"/>
                  </a:lnTo>
                  <a:lnTo>
                    <a:pt x="1450" y="729"/>
                  </a:lnTo>
                  <a:lnTo>
                    <a:pt x="1449" y="731"/>
                  </a:lnTo>
                  <a:lnTo>
                    <a:pt x="1449" y="732"/>
                  </a:lnTo>
                  <a:close/>
                  <a:moveTo>
                    <a:pt x="1193" y="200"/>
                  </a:moveTo>
                  <a:lnTo>
                    <a:pt x="1200" y="204"/>
                  </a:lnTo>
                  <a:lnTo>
                    <a:pt x="1207" y="206"/>
                  </a:lnTo>
                  <a:lnTo>
                    <a:pt x="1215" y="207"/>
                  </a:lnTo>
                  <a:lnTo>
                    <a:pt x="1221" y="208"/>
                  </a:lnTo>
                  <a:lnTo>
                    <a:pt x="1225" y="208"/>
                  </a:lnTo>
                  <a:lnTo>
                    <a:pt x="1227" y="210"/>
                  </a:lnTo>
                  <a:lnTo>
                    <a:pt x="1227" y="212"/>
                  </a:lnTo>
                  <a:lnTo>
                    <a:pt x="1223" y="215"/>
                  </a:lnTo>
                  <a:lnTo>
                    <a:pt x="1217" y="219"/>
                  </a:lnTo>
                  <a:lnTo>
                    <a:pt x="1210" y="221"/>
                  </a:lnTo>
                  <a:lnTo>
                    <a:pt x="1206" y="222"/>
                  </a:lnTo>
                  <a:lnTo>
                    <a:pt x="1202" y="222"/>
                  </a:lnTo>
                  <a:lnTo>
                    <a:pt x="1200" y="223"/>
                  </a:lnTo>
                  <a:lnTo>
                    <a:pt x="1200" y="223"/>
                  </a:lnTo>
                  <a:lnTo>
                    <a:pt x="1202" y="224"/>
                  </a:lnTo>
                  <a:lnTo>
                    <a:pt x="1207" y="227"/>
                  </a:lnTo>
                  <a:lnTo>
                    <a:pt x="1213" y="230"/>
                  </a:lnTo>
                  <a:lnTo>
                    <a:pt x="1220" y="232"/>
                  </a:lnTo>
                  <a:lnTo>
                    <a:pt x="1225" y="233"/>
                  </a:lnTo>
                  <a:lnTo>
                    <a:pt x="1231" y="232"/>
                  </a:lnTo>
                  <a:lnTo>
                    <a:pt x="1237" y="231"/>
                  </a:lnTo>
                  <a:lnTo>
                    <a:pt x="1241" y="230"/>
                  </a:lnTo>
                  <a:lnTo>
                    <a:pt x="1244" y="228"/>
                  </a:lnTo>
                  <a:lnTo>
                    <a:pt x="1245" y="226"/>
                  </a:lnTo>
                  <a:lnTo>
                    <a:pt x="1247" y="221"/>
                  </a:lnTo>
                  <a:lnTo>
                    <a:pt x="1249" y="213"/>
                  </a:lnTo>
                  <a:lnTo>
                    <a:pt x="1251" y="210"/>
                  </a:lnTo>
                  <a:lnTo>
                    <a:pt x="1252" y="208"/>
                  </a:lnTo>
                  <a:lnTo>
                    <a:pt x="1255" y="207"/>
                  </a:lnTo>
                  <a:lnTo>
                    <a:pt x="1257" y="208"/>
                  </a:lnTo>
                  <a:lnTo>
                    <a:pt x="1261" y="220"/>
                  </a:lnTo>
                  <a:lnTo>
                    <a:pt x="1264" y="225"/>
                  </a:lnTo>
                  <a:lnTo>
                    <a:pt x="1266" y="224"/>
                  </a:lnTo>
                  <a:lnTo>
                    <a:pt x="1268" y="222"/>
                  </a:lnTo>
                  <a:lnTo>
                    <a:pt x="1269" y="219"/>
                  </a:lnTo>
                  <a:lnTo>
                    <a:pt x="1271" y="215"/>
                  </a:lnTo>
                  <a:lnTo>
                    <a:pt x="1273" y="209"/>
                  </a:lnTo>
                  <a:lnTo>
                    <a:pt x="1274" y="206"/>
                  </a:lnTo>
                  <a:lnTo>
                    <a:pt x="1276" y="201"/>
                  </a:lnTo>
                  <a:lnTo>
                    <a:pt x="1277" y="194"/>
                  </a:lnTo>
                  <a:lnTo>
                    <a:pt x="1278" y="191"/>
                  </a:lnTo>
                  <a:lnTo>
                    <a:pt x="1279" y="188"/>
                  </a:lnTo>
                  <a:lnTo>
                    <a:pt x="1282" y="186"/>
                  </a:lnTo>
                  <a:lnTo>
                    <a:pt x="1285" y="186"/>
                  </a:lnTo>
                  <a:lnTo>
                    <a:pt x="1292" y="185"/>
                  </a:lnTo>
                  <a:lnTo>
                    <a:pt x="1300" y="183"/>
                  </a:lnTo>
                  <a:lnTo>
                    <a:pt x="1308" y="181"/>
                  </a:lnTo>
                  <a:lnTo>
                    <a:pt x="1312" y="179"/>
                  </a:lnTo>
                  <a:lnTo>
                    <a:pt x="1323" y="174"/>
                  </a:lnTo>
                  <a:lnTo>
                    <a:pt x="1336" y="166"/>
                  </a:lnTo>
                  <a:lnTo>
                    <a:pt x="1335" y="164"/>
                  </a:lnTo>
                  <a:lnTo>
                    <a:pt x="1332" y="161"/>
                  </a:lnTo>
                  <a:lnTo>
                    <a:pt x="1327" y="158"/>
                  </a:lnTo>
                  <a:lnTo>
                    <a:pt x="1320" y="157"/>
                  </a:lnTo>
                  <a:lnTo>
                    <a:pt x="1313" y="158"/>
                  </a:lnTo>
                  <a:lnTo>
                    <a:pt x="1308" y="158"/>
                  </a:lnTo>
                  <a:lnTo>
                    <a:pt x="1306" y="158"/>
                  </a:lnTo>
                  <a:lnTo>
                    <a:pt x="1304" y="157"/>
                  </a:lnTo>
                  <a:lnTo>
                    <a:pt x="1303" y="157"/>
                  </a:lnTo>
                  <a:lnTo>
                    <a:pt x="1301" y="155"/>
                  </a:lnTo>
                  <a:lnTo>
                    <a:pt x="1305" y="152"/>
                  </a:lnTo>
                  <a:lnTo>
                    <a:pt x="1309" y="148"/>
                  </a:lnTo>
                  <a:lnTo>
                    <a:pt x="1310" y="146"/>
                  </a:lnTo>
                  <a:lnTo>
                    <a:pt x="1311" y="145"/>
                  </a:lnTo>
                  <a:lnTo>
                    <a:pt x="1311" y="143"/>
                  </a:lnTo>
                  <a:lnTo>
                    <a:pt x="1309" y="142"/>
                  </a:lnTo>
                  <a:lnTo>
                    <a:pt x="1299" y="140"/>
                  </a:lnTo>
                  <a:lnTo>
                    <a:pt x="1289" y="138"/>
                  </a:lnTo>
                  <a:lnTo>
                    <a:pt x="1285" y="137"/>
                  </a:lnTo>
                  <a:lnTo>
                    <a:pt x="1281" y="136"/>
                  </a:lnTo>
                  <a:lnTo>
                    <a:pt x="1278" y="135"/>
                  </a:lnTo>
                  <a:lnTo>
                    <a:pt x="1278" y="133"/>
                  </a:lnTo>
                  <a:lnTo>
                    <a:pt x="1281" y="128"/>
                  </a:lnTo>
                  <a:lnTo>
                    <a:pt x="1282" y="123"/>
                  </a:lnTo>
                  <a:lnTo>
                    <a:pt x="1282" y="121"/>
                  </a:lnTo>
                  <a:lnTo>
                    <a:pt x="1282" y="119"/>
                  </a:lnTo>
                  <a:lnTo>
                    <a:pt x="1281" y="118"/>
                  </a:lnTo>
                  <a:lnTo>
                    <a:pt x="1278" y="117"/>
                  </a:lnTo>
                  <a:lnTo>
                    <a:pt x="1270" y="116"/>
                  </a:lnTo>
                  <a:lnTo>
                    <a:pt x="1262" y="114"/>
                  </a:lnTo>
                  <a:lnTo>
                    <a:pt x="1255" y="113"/>
                  </a:lnTo>
                  <a:lnTo>
                    <a:pt x="1253" y="110"/>
                  </a:lnTo>
                  <a:lnTo>
                    <a:pt x="1253" y="106"/>
                  </a:lnTo>
                  <a:lnTo>
                    <a:pt x="1254" y="100"/>
                  </a:lnTo>
                  <a:lnTo>
                    <a:pt x="1253" y="95"/>
                  </a:lnTo>
                  <a:lnTo>
                    <a:pt x="1252" y="93"/>
                  </a:lnTo>
                  <a:lnTo>
                    <a:pt x="1250" y="92"/>
                  </a:lnTo>
                  <a:lnTo>
                    <a:pt x="1246" y="90"/>
                  </a:lnTo>
                  <a:lnTo>
                    <a:pt x="1241" y="89"/>
                  </a:lnTo>
                  <a:lnTo>
                    <a:pt x="1235" y="90"/>
                  </a:lnTo>
                  <a:lnTo>
                    <a:pt x="1225" y="93"/>
                  </a:lnTo>
                  <a:lnTo>
                    <a:pt x="1220" y="95"/>
                  </a:lnTo>
                  <a:lnTo>
                    <a:pt x="1228" y="95"/>
                  </a:lnTo>
                  <a:lnTo>
                    <a:pt x="1232" y="96"/>
                  </a:lnTo>
                  <a:lnTo>
                    <a:pt x="1232" y="97"/>
                  </a:lnTo>
                  <a:lnTo>
                    <a:pt x="1231" y="98"/>
                  </a:lnTo>
                  <a:lnTo>
                    <a:pt x="1230" y="100"/>
                  </a:lnTo>
                  <a:lnTo>
                    <a:pt x="1225" y="102"/>
                  </a:lnTo>
                  <a:lnTo>
                    <a:pt x="1219" y="106"/>
                  </a:lnTo>
                  <a:lnTo>
                    <a:pt x="1212" y="110"/>
                  </a:lnTo>
                  <a:lnTo>
                    <a:pt x="1208" y="112"/>
                  </a:lnTo>
                  <a:lnTo>
                    <a:pt x="1208" y="114"/>
                  </a:lnTo>
                  <a:lnTo>
                    <a:pt x="1212" y="116"/>
                  </a:lnTo>
                  <a:lnTo>
                    <a:pt x="1218" y="118"/>
                  </a:lnTo>
                  <a:lnTo>
                    <a:pt x="1219" y="120"/>
                  </a:lnTo>
                  <a:lnTo>
                    <a:pt x="1221" y="121"/>
                  </a:lnTo>
                  <a:lnTo>
                    <a:pt x="1221" y="122"/>
                  </a:lnTo>
                  <a:lnTo>
                    <a:pt x="1219" y="122"/>
                  </a:lnTo>
                  <a:lnTo>
                    <a:pt x="1205" y="123"/>
                  </a:lnTo>
                  <a:lnTo>
                    <a:pt x="1197" y="124"/>
                  </a:lnTo>
                  <a:lnTo>
                    <a:pt x="1193" y="126"/>
                  </a:lnTo>
                  <a:lnTo>
                    <a:pt x="1189" y="130"/>
                  </a:lnTo>
                  <a:lnTo>
                    <a:pt x="1200" y="136"/>
                  </a:lnTo>
                  <a:lnTo>
                    <a:pt x="1208" y="141"/>
                  </a:lnTo>
                  <a:lnTo>
                    <a:pt x="1207" y="143"/>
                  </a:lnTo>
                  <a:lnTo>
                    <a:pt x="1199" y="148"/>
                  </a:lnTo>
                  <a:lnTo>
                    <a:pt x="1193" y="152"/>
                  </a:lnTo>
                  <a:lnTo>
                    <a:pt x="1186" y="154"/>
                  </a:lnTo>
                  <a:lnTo>
                    <a:pt x="1184" y="155"/>
                  </a:lnTo>
                  <a:lnTo>
                    <a:pt x="1183" y="155"/>
                  </a:lnTo>
                  <a:lnTo>
                    <a:pt x="1182" y="154"/>
                  </a:lnTo>
                  <a:lnTo>
                    <a:pt x="1182" y="153"/>
                  </a:lnTo>
                  <a:lnTo>
                    <a:pt x="1181" y="150"/>
                  </a:lnTo>
                  <a:lnTo>
                    <a:pt x="1180" y="147"/>
                  </a:lnTo>
                  <a:lnTo>
                    <a:pt x="1179" y="147"/>
                  </a:lnTo>
                  <a:lnTo>
                    <a:pt x="1178" y="147"/>
                  </a:lnTo>
                  <a:lnTo>
                    <a:pt x="1177" y="147"/>
                  </a:lnTo>
                  <a:lnTo>
                    <a:pt x="1175" y="148"/>
                  </a:lnTo>
                  <a:lnTo>
                    <a:pt x="1172" y="152"/>
                  </a:lnTo>
                  <a:lnTo>
                    <a:pt x="1171" y="154"/>
                  </a:lnTo>
                  <a:lnTo>
                    <a:pt x="1169" y="157"/>
                  </a:lnTo>
                  <a:lnTo>
                    <a:pt x="1169" y="159"/>
                  </a:lnTo>
                  <a:lnTo>
                    <a:pt x="1171" y="161"/>
                  </a:lnTo>
                  <a:lnTo>
                    <a:pt x="1174" y="162"/>
                  </a:lnTo>
                  <a:lnTo>
                    <a:pt x="1177" y="163"/>
                  </a:lnTo>
                  <a:lnTo>
                    <a:pt x="1182" y="164"/>
                  </a:lnTo>
                  <a:lnTo>
                    <a:pt x="1190" y="166"/>
                  </a:lnTo>
                  <a:lnTo>
                    <a:pt x="1204" y="168"/>
                  </a:lnTo>
                  <a:lnTo>
                    <a:pt x="1207" y="168"/>
                  </a:lnTo>
                  <a:lnTo>
                    <a:pt x="1207" y="168"/>
                  </a:lnTo>
                  <a:lnTo>
                    <a:pt x="1204" y="169"/>
                  </a:lnTo>
                  <a:lnTo>
                    <a:pt x="1199" y="169"/>
                  </a:lnTo>
                  <a:lnTo>
                    <a:pt x="1188" y="171"/>
                  </a:lnTo>
                  <a:lnTo>
                    <a:pt x="1181" y="175"/>
                  </a:lnTo>
                  <a:lnTo>
                    <a:pt x="1181" y="177"/>
                  </a:lnTo>
                  <a:lnTo>
                    <a:pt x="1183" y="178"/>
                  </a:lnTo>
                  <a:lnTo>
                    <a:pt x="1185" y="179"/>
                  </a:lnTo>
                  <a:lnTo>
                    <a:pt x="1188" y="180"/>
                  </a:lnTo>
                  <a:lnTo>
                    <a:pt x="1195" y="181"/>
                  </a:lnTo>
                  <a:lnTo>
                    <a:pt x="1200" y="180"/>
                  </a:lnTo>
                  <a:lnTo>
                    <a:pt x="1211" y="175"/>
                  </a:lnTo>
                  <a:lnTo>
                    <a:pt x="1222" y="169"/>
                  </a:lnTo>
                  <a:lnTo>
                    <a:pt x="1225" y="168"/>
                  </a:lnTo>
                  <a:lnTo>
                    <a:pt x="1230" y="168"/>
                  </a:lnTo>
                  <a:lnTo>
                    <a:pt x="1232" y="168"/>
                  </a:lnTo>
                  <a:lnTo>
                    <a:pt x="1234" y="168"/>
                  </a:lnTo>
                  <a:lnTo>
                    <a:pt x="1235" y="170"/>
                  </a:lnTo>
                  <a:lnTo>
                    <a:pt x="1235" y="171"/>
                  </a:lnTo>
                  <a:lnTo>
                    <a:pt x="1239" y="178"/>
                  </a:lnTo>
                  <a:lnTo>
                    <a:pt x="1241" y="181"/>
                  </a:lnTo>
                  <a:lnTo>
                    <a:pt x="1229" y="185"/>
                  </a:lnTo>
                  <a:lnTo>
                    <a:pt x="1215" y="187"/>
                  </a:lnTo>
                  <a:lnTo>
                    <a:pt x="1199" y="193"/>
                  </a:lnTo>
                  <a:lnTo>
                    <a:pt x="1185" y="199"/>
                  </a:lnTo>
                  <a:lnTo>
                    <a:pt x="1188" y="200"/>
                  </a:lnTo>
                  <a:lnTo>
                    <a:pt x="1193" y="200"/>
                  </a:lnTo>
                  <a:close/>
                  <a:moveTo>
                    <a:pt x="1086" y="398"/>
                  </a:moveTo>
                  <a:lnTo>
                    <a:pt x="1089" y="395"/>
                  </a:lnTo>
                  <a:lnTo>
                    <a:pt x="1093" y="389"/>
                  </a:lnTo>
                  <a:lnTo>
                    <a:pt x="1096" y="384"/>
                  </a:lnTo>
                  <a:lnTo>
                    <a:pt x="1100" y="378"/>
                  </a:lnTo>
                  <a:lnTo>
                    <a:pt x="1103" y="371"/>
                  </a:lnTo>
                  <a:lnTo>
                    <a:pt x="1106" y="364"/>
                  </a:lnTo>
                  <a:lnTo>
                    <a:pt x="1107" y="359"/>
                  </a:lnTo>
                  <a:lnTo>
                    <a:pt x="1107" y="354"/>
                  </a:lnTo>
                  <a:lnTo>
                    <a:pt x="1103" y="346"/>
                  </a:lnTo>
                  <a:lnTo>
                    <a:pt x="1101" y="337"/>
                  </a:lnTo>
                  <a:lnTo>
                    <a:pt x="1099" y="334"/>
                  </a:lnTo>
                  <a:lnTo>
                    <a:pt x="1097" y="331"/>
                  </a:lnTo>
                  <a:lnTo>
                    <a:pt x="1094" y="330"/>
                  </a:lnTo>
                  <a:lnTo>
                    <a:pt x="1090" y="330"/>
                  </a:lnTo>
                  <a:lnTo>
                    <a:pt x="1083" y="334"/>
                  </a:lnTo>
                  <a:lnTo>
                    <a:pt x="1076" y="339"/>
                  </a:lnTo>
                  <a:lnTo>
                    <a:pt x="1073" y="340"/>
                  </a:lnTo>
                  <a:lnTo>
                    <a:pt x="1071" y="341"/>
                  </a:lnTo>
                  <a:lnTo>
                    <a:pt x="1069" y="341"/>
                  </a:lnTo>
                  <a:lnTo>
                    <a:pt x="1067" y="338"/>
                  </a:lnTo>
                  <a:lnTo>
                    <a:pt x="1062" y="332"/>
                  </a:lnTo>
                  <a:lnTo>
                    <a:pt x="1056" y="328"/>
                  </a:lnTo>
                  <a:lnTo>
                    <a:pt x="1054" y="327"/>
                  </a:lnTo>
                  <a:lnTo>
                    <a:pt x="1051" y="327"/>
                  </a:lnTo>
                  <a:lnTo>
                    <a:pt x="1048" y="328"/>
                  </a:lnTo>
                  <a:lnTo>
                    <a:pt x="1046" y="331"/>
                  </a:lnTo>
                  <a:lnTo>
                    <a:pt x="1044" y="335"/>
                  </a:lnTo>
                  <a:lnTo>
                    <a:pt x="1044" y="339"/>
                  </a:lnTo>
                  <a:lnTo>
                    <a:pt x="1045" y="343"/>
                  </a:lnTo>
                  <a:lnTo>
                    <a:pt x="1046" y="347"/>
                  </a:lnTo>
                  <a:lnTo>
                    <a:pt x="1049" y="355"/>
                  </a:lnTo>
                  <a:lnTo>
                    <a:pt x="1048" y="360"/>
                  </a:lnTo>
                  <a:lnTo>
                    <a:pt x="1042" y="362"/>
                  </a:lnTo>
                  <a:lnTo>
                    <a:pt x="1032" y="363"/>
                  </a:lnTo>
                  <a:lnTo>
                    <a:pt x="1027" y="363"/>
                  </a:lnTo>
                  <a:lnTo>
                    <a:pt x="1022" y="363"/>
                  </a:lnTo>
                  <a:lnTo>
                    <a:pt x="1019" y="361"/>
                  </a:lnTo>
                  <a:lnTo>
                    <a:pt x="1015" y="360"/>
                  </a:lnTo>
                  <a:lnTo>
                    <a:pt x="1013" y="353"/>
                  </a:lnTo>
                  <a:lnTo>
                    <a:pt x="1011" y="345"/>
                  </a:lnTo>
                  <a:lnTo>
                    <a:pt x="1010" y="343"/>
                  </a:lnTo>
                  <a:lnTo>
                    <a:pt x="1008" y="341"/>
                  </a:lnTo>
                  <a:lnTo>
                    <a:pt x="1006" y="342"/>
                  </a:lnTo>
                  <a:lnTo>
                    <a:pt x="1002" y="344"/>
                  </a:lnTo>
                  <a:lnTo>
                    <a:pt x="999" y="349"/>
                  </a:lnTo>
                  <a:lnTo>
                    <a:pt x="996" y="353"/>
                  </a:lnTo>
                  <a:lnTo>
                    <a:pt x="995" y="356"/>
                  </a:lnTo>
                  <a:lnTo>
                    <a:pt x="995" y="359"/>
                  </a:lnTo>
                  <a:lnTo>
                    <a:pt x="997" y="364"/>
                  </a:lnTo>
                  <a:lnTo>
                    <a:pt x="1000" y="367"/>
                  </a:lnTo>
                  <a:lnTo>
                    <a:pt x="1002" y="368"/>
                  </a:lnTo>
                  <a:lnTo>
                    <a:pt x="1005" y="368"/>
                  </a:lnTo>
                  <a:lnTo>
                    <a:pt x="1009" y="368"/>
                  </a:lnTo>
                  <a:lnTo>
                    <a:pt x="1013" y="367"/>
                  </a:lnTo>
                  <a:lnTo>
                    <a:pt x="1017" y="366"/>
                  </a:lnTo>
                  <a:lnTo>
                    <a:pt x="1020" y="367"/>
                  </a:lnTo>
                  <a:lnTo>
                    <a:pt x="1021" y="367"/>
                  </a:lnTo>
                  <a:lnTo>
                    <a:pt x="1021" y="368"/>
                  </a:lnTo>
                  <a:lnTo>
                    <a:pt x="1021" y="371"/>
                  </a:lnTo>
                  <a:lnTo>
                    <a:pt x="1020" y="373"/>
                  </a:lnTo>
                  <a:lnTo>
                    <a:pt x="1017" y="380"/>
                  </a:lnTo>
                  <a:lnTo>
                    <a:pt x="1013" y="386"/>
                  </a:lnTo>
                  <a:lnTo>
                    <a:pt x="1013" y="388"/>
                  </a:lnTo>
                  <a:lnTo>
                    <a:pt x="1013" y="389"/>
                  </a:lnTo>
                  <a:lnTo>
                    <a:pt x="1013" y="390"/>
                  </a:lnTo>
                  <a:lnTo>
                    <a:pt x="1014" y="391"/>
                  </a:lnTo>
                  <a:lnTo>
                    <a:pt x="1028" y="385"/>
                  </a:lnTo>
                  <a:lnTo>
                    <a:pt x="1043" y="380"/>
                  </a:lnTo>
                  <a:lnTo>
                    <a:pt x="1047" y="381"/>
                  </a:lnTo>
                  <a:lnTo>
                    <a:pt x="1050" y="385"/>
                  </a:lnTo>
                  <a:lnTo>
                    <a:pt x="1051" y="387"/>
                  </a:lnTo>
                  <a:lnTo>
                    <a:pt x="1051" y="389"/>
                  </a:lnTo>
                  <a:lnTo>
                    <a:pt x="1051" y="391"/>
                  </a:lnTo>
                  <a:lnTo>
                    <a:pt x="1049" y="394"/>
                  </a:lnTo>
                  <a:lnTo>
                    <a:pt x="1045" y="400"/>
                  </a:lnTo>
                  <a:lnTo>
                    <a:pt x="1040" y="406"/>
                  </a:lnTo>
                  <a:lnTo>
                    <a:pt x="1036" y="410"/>
                  </a:lnTo>
                  <a:lnTo>
                    <a:pt x="1035" y="413"/>
                  </a:lnTo>
                  <a:lnTo>
                    <a:pt x="1035" y="416"/>
                  </a:lnTo>
                  <a:lnTo>
                    <a:pt x="1036" y="419"/>
                  </a:lnTo>
                  <a:lnTo>
                    <a:pt x="1040" y="420"/>
                  </a:lnTo>
                  <a:lnTo>
                    <a:pt x="1043" y="421"/>
                  </a:lnTo>
                  <a:lnTo>
                    <a:pt x="1047" y="422"/>
                  </a:lnTo>
                  <a:lnTo>
                    <a:pt x="1051" y="423"/>
                  </a:lnTo>
                  <a:lnTo>
                    <a:pt x="1055" y="422"/>
                  </a:lnTo>
                  <a:lnTo>
                    <a:pt x="1058" y="422"/>
                  </a:lnTo>
                  <a:lnTo>
                    <a:pt x="1063" y="420"/>
                  </a:lnTo>
                  <a:lnTo>
                    <a:pt x="1067" y="418"/>
                  </a:lnTo>
                  <a:lnTo>
                    <a:pt x="1079" y="405"/>
                  </a:lnTo>
                  <a:lnTo>
                    <a:pt x="1086" y="398"/>
                  </a:lnTo>
                  <a:close/>
                  <a:moveTo>
                    <a:pt x="1127" y="303"/>
                  </a:moveTo>
                  <a:lnTo>
                    <a:pt x="1119" y="305"/>
                  </a:lnTo>
                  <a:lnTo>
                    <a:pt x="1113" y="307"/>
                  </a:lnTo>
                  <a:lnTo>
                    <a:pt x="1113" y="309"/>
                  </a:lnTo>
                  <a:lnTo>
                    <a:pt x="1114" y="312"/>
                  </a:lnTo>
                  <a:lnTo>
                    <a:pt x="1116" y="315"/>
                  </a:lnTo>
                  <a:lnTo>
                    <a:pt x="1119" y="317"/>
                  </a:lnTo>
                  <a:lnTo>
                    <a:pt x="1127" y="324"/>
                  </a:lnTo>
                  <a:lnTo>
                    <a:pt x="1131" y="332"/>
                  </a:lnTo>
                  <a:lnTo>
                    <a:pt x="1135" y="338"/>
                  </a:lnTo>
                  <a:lnTo>
                    <a:pt x="1140" y="344"/>
                  </a:lnTo>
                  <a:lnTo>
                    <a:pt x="1141" y="347"/>
                  </a:lnTo>
                  <a:lnTo>
                    <a:pt x="1143" y="350"/>
                  </a:lnTo>
                  <a:lnTo>
                    <a:pt x="1144" y="352"/>
                  </a:lnTo>
                  <a:lnTo>
                    <a:pt x="1145" y="353"/>
                  </a:lnTo>
                  <a:lnTo>
                    <a:pt x="1144" y="355"/>
                  </a:lnTo>
                  <a:lnTo>
                    <a:pt x="1143" y="358"/>
                  </a:lnTo>
                  <a:lnTo>
                    <a:pt x="1139" y="366"/>
                  </a:lnTo>
                  <a:lnTo>
                    <a:pt x="1131" y="376"/>
                  </a:lnTo>
                  <a:lnTo>
                    <a:pt x="1123" y="383"/>
                  </a:lnTo>
                  <a:lnTo>
                    <a:pt x="1119" y="389"/>
                  </a:lnTo>
                  <a:lnTo>
                    <a:pt x="1115" y="391"/>
                  </a:lnTo>
                  <a:lnTo>
                    <a:pt x="1112" y="394"/>
                  </a:lnTo>
                  <a:lnTo>
                    <a:pt x="1110" y="395"/>
                  </a:lnTo>
                  <a:lnTo>
                    <a:pt x="1109" y="397"/>
                  </a:lnTo>
                  <a:lnTo>
                    <a:pt x="1108" y="400"/>
                  </a:lnTo>
                  <a:lnTo>
                    <a:pt x="1107" y="405"/>
                  </a:lnTo>
                  <a:lnTo>
                    <a:pt x="1107" y="409"/>
                  </a:lnTo>
                  <a:lnTo>
                    <a:pt x="1107" y="413"/>
                  </a:lnTo>
                  <a:lnTo>
                    <a:pt x="1108" y="416"/>
                  </a:lnTo>
                  <a:lnTo>
                    <a:pt x="1110" y="418"/>
                  </a:lnTo>
                  <a:lnTo>
                    <a:pt x="1114" y="422"/>
                  </a:lnTo>
                  <a:lnTo>
                    <a:pt x="1120" y="426"/>
                  </a:lnTo>
                  <a:lnTo>
                    <a:pt x="1124" y="428"/>
                  </a:lnTo>
                  <a:lnTo>
                    <a:pt x="1129" y="429"/>
                  </a:lnTo>
                  <a:lnTo>
                    <a:pt x="1133" y="428"/>
                  </a:lnTo>
                  <a:lnTo>
                    <a:pt x="1137" y="427"/>
                  </a:lnTo>
                  <a:lnTo>
                    <a:pt x="1146" y="424"/>
                  </a:lnTo>
                  <a:lnTo>
                    <a:pt x="1154" y="422"/>
                  </a:lnTo>
                  <a:lnTo>
                    <a:pt x="1158" y="422"/>
                  </a:lnTo>
                  <a:lnTo>
                    <a:pt x="1161" y="420"/>
                  </a:lnTo>
                  <a:lnTo>
                    <a:pt x="1163" y="419"/>
                  </a:lnTo>
                  <a:lnTo>
                    <a:pt x="1165" y="416"/>
                  </a:lnTo>
                  <a:lnTo>
                    <a:pt x="1167" y="413"/>
                  </a:lnTo>
                  <a:lnTo>
                    <a:pt x="1168" y="410"/>
                  </a:lnTo>
                  <a:lnTo>
                    <a:pt x="1168" y="406"/>
                  </a:lnTo>
                  <a:lnTo>
                    <a:pt x="1168" y="402"/>
                  </a:lnTo>
                  <a:lnTo>
                    <a:pt x="1166" y="399"/>
                  </a:lnTo>
                  <a:lnTo>
                    <a:pt x="1163" y="395"/>
                  </a:lnTo>
                  <a:lnTo>
                    <a:pt x="1159" y="391"/>
                  </a:lnTo>
                  <a:lnTo>
                    <a:pt x="1154" y="388"/>
                  </a:lnTo>
                  <a:lnTo>
                    <a:pt x="1150" y="385"/>
                  </a:lnTo>
                  <a:lnTo>
                    <a:pt x="1146" y="382"/>
                  </a:lnTo>
                  <a:lnTo>
                    <a:pt x="1146" y="380"/>
                  </a:lnTo>
                  <a:lnTo>
                    <a:pt x="1146" y="377"/>
                  </a:lnTo>
                  <a:lnTo>
                    <a:pt x="1147" y="375"/>
                  </a:lnTo>
                  <a:lnTo>
                    <a:pt x="1149" y="373"/>
                  </a:lnTo>
                  <a:lnTo>
                    <a:pt x="1152" y="367"/>
                  </a:lnTo>
                  <a:lnTo>
                    <a:pt x="1154" y="363"/>
                  </a:lnTo>
                  <a:lnTo>
                    <a:pt x="1155" y="359"/>
                  </a:lnTo>
                  <a:lnTo>
                    <a:pt x="1155" y="355"/>
                  </a:lnTo>
                  <a:lnTo>
                    <a:pt x="1154" y="351"/>
                  </a:lnTo>
                  <a:lnTo>
                    <a:pt x="1153" y="349"/>
                  </a:lnTo>
                  <a:lnTo>
                    <a:pt x="1153" y="347"/>
                  </a:lnTo>
                  <a:lnTo>
                    <a:pt x="1155" y="345"/>
                  </a:lnTo>
                  <a:lnTo>
                    <a:pt x="1157" y="342"/>
                  </a:lnTo>
                  <a:lnTo>
                    <a:pt x="1161" y="340"/>
                  </a:lnTo>
                  <a:lnTo>
                    <a:pt x="1167" y="335"/>
                  </a:lnTo>
                  <a:lnTo>
                    <a:pt x="1174" y="329"/>
                  </a:lnTo>
                  <a:lnTo>
                    <a:pt x="1177" y="327"/>
                  </a:lnTo>
                  <a:lnTo>
                    <a:pt x="1179" y="327"/>
                  </a:lnTo>
                  <a:lnTo>
                    <a:pt x="1180" y="329"/>
                  </a:lnTo>
                  <a:lnTo>
                    <a:pt x="1180" y="335"/>
                  </a:lnTo>
                  <a:lnTo>
                    <a:pt x="1180" y="342"/>
                  </a:lnTo>
                  <a:lnTo>
                    <a:pt x="1181" y="347"/>
                  </a:lnTo>
                  <a:lnTo>
                    <a:pt x="1183" y="352"/>
                  </a:lnTo>
                  <a:lnTo>
                    <a:pt x="1186" y="355"/>
                  </a:lnTo>
                  <a:lnTo>
                    <a:pt x="1193" y="358"/>
                  </a:lnTo>
                  <a:lnTo>
                    <a:pt x="1195" y="361"/>
                  </a:lnTo>
                  <a:lnTo>
                    <a:pt x="1186" y="369"/>
                  </a:lnTo>
                  <a:lnTo>
                    <a:pt x="1180" y="379"/>
                  </a:lnTo>
                  <a:lnTo>
                    <a:pt x="1179" y="385"/>
                  </a:lnTo>
                  <a:lnTo>
                    <a:pt x="1178" y="397"/>
                  </a:lnTo>
                  <a:lnTo>
                    <a:pt x="1178" y="402"/>
                  </a:lnTo>
                  <a:lnTo>
                    <a:pt x="1179" y="407"/>
                  </a:lnTo>
                  <a:lnTo>
                    <a:pt x="1181" y="412"/>
                  </a:lnTo>
                  <a:lnTo>
                    <a:pt x="1185" y="416"/>
                  </a:lnTo>
                  <a:lnTo>
                    <a:pt x="1202" y="418"/>
                  </a:lnTo>
                  <a:lnTo>
                    <a:pt x="1212" y="420"/>
                  </a:lnTo>
                  <a:lnTo>
                    <a:pt x="1226" y="417"/>
                  </a:lnTo>
                  <a:lnTo>
                    <a:pt x="1242" y="413"/>
                  </a:lnTo>
                  <a:lnTo>
                    <a:pt x="1247" y="418"/>
                  </a:lnTo>
                  <a:lnTo>
                    <a:pt x="1252" y="420"/>
                  </a:lnTo>
                  <a:lnTo>
                    <a:pt x="1262" y="422"/>
                  </a:lnTo>
                  <a:lnTo>
                    <a:pt x="1278" y="422"/>
                  </a:lnTo>
                  <a:lnTo>
                    <a:pt x="1289" y="422"/>
                  </a:lnTo>
                  <a:lnTo>
                    <a:pt x="1296" y="421"/>
                  </a:lnTo>
                  <a:lnTo>
                    <a:pt x="1301" y="419"/>
                  </a:lnTo>
                  <a:lnTo>
                    <a:pt x="1306" y="416"/>
                  </a:lnTo>
                  <a:lnTo>
                    <a:pt x="1309" y="413"/>
                  </a:lnTo>
                  <a:lnTo>
                    <a:pt x="1311" y="412"/>
                  </a:lnTo>
                  <a:lnTo>
                    <a:pt x="1313" y="412"/>
                  </a:lnTo>
                  <a:lnTo>
                    <a:pt x="1316" y="413"/>
                  </a:lnTo>
                  <a:lnTo>
                    <a:pt x="1332" y="410"/>
                  </a:lnTo>
                  <a:lnTo>
                    <a:pt x="1347" y="407"/>
                  </a:lnTo>
                  <a:lnTo>
                    <a:pt x="1350" y="409"/>
                  </a:lnTo>
                  <a:lnTo>
                    <a:pt x="1354" y="411"/>
                  </a:lnTo>
                  <a:lnTo>
                    <a:pt x="1359" y="411"/>
                  </a:lnTo>
                  <a:lnTo>
                    <a:pt x="1365" y="412"/>
                  </a:lnTo>
                  <a:lnTo>
                    <a:pt x="1378" y="412"/>
                  </a:lnTo>
                  <a:lnTo>
                    <a:pt x="1388" y="412"/>
                  </a:lnTo>
                  <a:lnTo>
                    <a:pt x="1393" y="411"/>
                  </a:lnTo>
                  <a:lnTo>
                    <a:pt x="1398" y="410"/>
                  </a:lnTo>
                  <a:lnTo>
                    <a:pt x="1403" y="407"/>
                  </a:lnTo>
                  <a:lnTo>
                    <a:pt x="1408" y="404"/>
                  </a:lnTo>
                  <a:lnTo>
                    <a:pt x="1413" y="401"/>
                  </a:lnTo>
                  <a:lnTo>
                    <a:pt x="1416" y="398"/>
                  </a:lnTo>
                  <a:lnTo>
                    <a:pt x="1416" y="396"/>
                  </a:lnTo>
                  <a:lnTo>
                    <a:pt x="1417" y="395"/>
                  </a:lnTo>
                  <a:lnTo>
                    <a:pt x="1416" y="394"/>
                  </a:lnTo>
                  <a:lnTo>
                    <a:pt x="1416" y="393"/>
                  </a:lnTo>
                  <a:lnTo>
                    <a:pt x="1408" y="389"/>
                  </a:lnTo>
                  <a:lnTo>
                    <a:pt x="1401" y="386"/>
                  </a:lnTo>
                  <a:lnTo>
                    <a:pt x="1399" y="385"/>
                  </a:lnTo>
                  <a:lnTo>
                    <a:pt x="1397" y="383"/>
                  </a:lnTo>
                  <a:lnTo>
                    <a:pt x="1398" y="381"/>
                  </a:lnTo>
                  <a:lnTo>
                    <a:pt x="1401" y="378"/>
                  </a:lnTo>
                  <a:lnTo>
                    <a:pt x="1408" y="374"/>
                  </a:lnTo>
                  <a:lnTo>
                    <a:pt x="1415" y="369"/>
                  </a:lnTo>
                  <a:lnTo>
                    <a:pt x="1416" y="367"/>
                  </a:lnTo>
                  <a:lnTo>
                    <a:pt x="1417" y="365"/>
                  </a:lnTo>
                  <a:lnTo>
                    <a:pt x="1416" y="364"/>
                  </a:lnTo>
                  <a:lnTo>
                    <a:pt x="1413" y="361"/>
                  </a:lnTo>
                  <a:lnTo>
                    <a:pt x="1404" y="355"/>
                  </a:lnTo>
                  <a:lnTo>
                    <a:pt x="1393" y="346"/>
                  </a:lnTo>
                  <a:lnTo>
                    <a:pt x="1387" y="343"/>
                  </a:lnTo>
                  <a:lnTo>
                    <a:pt x="1382" y="340"/>
                  </a:lnTo>
                  <a:lnTo>
                    <a:pt x="1377" y="338"/>
                  </a:lnTo>
                  <a:lnTo>
                    <a:pt x="1374" y="338"/>
                  </a:lnTo>
                  <a:lnTo>
                    <a:pt x="1366" y="341"/>
                  </a:lnTo>
                  <a:lnTo>
                    <a:pt x="1357" y="346"/>
                  </a:lnTo>
                  <a:lnTo>
                    <a:pt x="1353" y="349"/>
                  </a:lnTo>
                  <a:lnTo>
                    <a:pt x="1349" y="350"/>
                  </a:lnTo>
                  <a:lnTo>
                    <a:pt x="1346" y="350"/>
                  </a:lnTo>
                  <a:lnTo>
                    <a:pt x="1342" y="347"/>
                  </a:lnTo>
                  <a:lnTo>
                    <a:pt x="1340" y="343"/>
                  </a:lnTo>
                  <a:lnTo>
                    <a:pt x="1338" y="340"/>
                  </a:lnTo>
                  <a:lnTo>
                    <a:pt x="1337" y="339"/>
                  </a:lnTo>
                  <a:lnTo>
                    <a:pt x="1335" y="339"/>
                  </a:lnTo>
                  <a:lnTo>
                    <a:pt x="1334" y="340"/>
                  </a:lnTo>
                  <a:lnTo>
                    <a:pt x="1331" y="341"/>
                  </a:lnTo>
                  <a:lnTo>
                    <a:pt x="1328" y="345"/>
                  </a:lnTo>
                  <a:lnTo>
                    <a:pt x="1326" y="351"/>
                  </a:lnTo>
                  <a:lnTo>
                    <a:pt x="1325" y="354"/>
                  </a:lnTo>
                  <a:lnTo>
                    <a:pt x="1321" y="357"/>
                  </a:lnTo>
                  <a:lnTo>
                    <a:pt x="1317" y="359"/>
                  </a:lnTo>
                  <a:lnTo>
                    <a:pt x="1312" y="361"/>
                  </a:lnTo>
                  <a:lnTo>
                    <a:pt x="1298" y="364"/>
                  </a:lnTo>
                  <a:lnTo>
                    <a:pt x="1287" y="366"/>
                  </a:lnTo>
                  <a:lnTo>
                    <a:pt x="1279" y="367"/>
                  </a:lnTo>
                  <a:lnTo>
                    <a:pt x="1276" y="367"/>
                  </a:lnTo>
                  <a:lnTo>
                    <a:pt x="1275" y="365"/>
                  </a:lnTo>
                  <a:lnTo>
                    <a:pt x="1274" y="361"/>
                  </a:lnTo>
                  <a:lnTo>
                    <a:pt x="1272" y="360"/>
                  </a:lnTo>
                  <a:lnTo>
                    <a:pt x="1270" y="359"/>
                  </a:lnTo>
                  <a:lnTo>
                    <a:pt x="1268" y="359"/>
                  </a:lnTo>
                  <a:lnTo>
                    <a:pt x="1264" y="361"/>
                  </a:lnTo>
                  <a:lnTo>
                    <a:pt x="1252" y="369"/>
                  </a:lnTo>
                  <a:lnTo>
                    <a:pt x="1248" y="372"/>
                  </a:lnTo>
                  <a:lnTo>
                    <a:pt x="1244" y="368"/>
                  </a:lnTo>
                  <a:lnTo>
                    <a:pt x="1228" y="358"/>
                  </a:lnTo>
                  <a:lnTo>
                    <a:pt x="1223" y="355"/>
                  </a:lnTo>
                  <a:lnTo>
                    <a:pt x="1220" y="352"/>
                  </a:lnTo>
                  <a:lnTo>
                    <a:pt x="1218" y="349"/>
                  </a:lnTo>
                  <a:lnTo>
                    <a:pt x="1217" y="346"/>
                  </a:lnTo>
                  <a:lnTo>
                    <a:pt x="1216" y="344"/>
                  </a:lnTo>
                  <a:lnTo>
                    <a:pt x="1217" y="343"/>
                  </a:lnTo>
                  <a:lnTo>
                    <a:pt x="1218" y="341"/>
                  </a:lnTo>
                  <a:lnTo>
                    <a:pt x="1220" y="341"/>
                  </a:lnTo>
                  <a:lnTo>
                    <a:pt x="1218" y="340"/>
                  </a:lnTo>
                  <a:lnTo>
                    <a:pt x="1210" y="339"/>
                  </a:lnTo>
                  <a:lnTo>
                    <a:pt x="1206" y="338"/>
                  </a:lnTo>
                  <a:lnTo>
                    <a:pt x="1203" y="337"/>
                  </a:lnTo>
                  <a:lnTo>
                    <a:pt x="1202" y="336"/>
                  </a:lnTo>
                  <a:lnTo>
                    <a:pt x="1202" y="336"/>
                  </a:lnTo>
                  <a:lnTo>
                    <a:pt x="1203" y="335"/>
                  </a:lnTo>
                  <a:lnTo>
                    <a:pt x="1204" y="334"/>
                  </a:lnTo>
                  <a:lnTo>
                    <a:pt x="1218" y="325"/>
                  </a:lnTo>
                  <a:lnTo>
                    <a:pt x="1227" y="320"/>
                  </a:lnTo>
                  <a:lnTo>
                    <a:pt x="1228" y="317"/>
                  </a:lnTo>
                  <a:lnTo>
                    <a:pt x="1232" y="311"/>
                  </a:lnTo>
                  <a:lnTo>
                    <a:pt x="1234" y="309"/>
                  </a:lnTo>
                  <a:lnTo>
                    <a:pt x="1238" y="307"/>
                  </a:lnTo>
                  <a:lnTo>
                    <a:pt x="1239" y="307"/>
                  </a:lnTo>
                  <a:lnTo>
                    <a:pt x="1241" y="308"/>
                  </a:lnTo>
                  <a:lnTo>
                    <a:pt x="1242" y="309"/>
                  </a:lnTo>
                  <a:lnTo>
                    <a:pt x="1244" y="310"/>
                  </a:lnTo>
                  <a:lnTo>
                    <a:pt x="1246" y="314"/>
                  </a:lnTo>
                  <a:lnTo>
                    <a:pt x="1249" y="317"/>
                  </a:lnTo>
                  <a:lnTo>
                    <a:pt x="1252" y="319"/>
                  </a:lnTo>
                  <a:lnTo>
                    <a:pt x="1255" y="320"/>
                  </a:lnTo>
                  <a:lnTo>
                    <a:pt x="1263" y="321"/>
                  </a:lnTo>
                  <a:lnTo>
                    <a:pt x="1272" y="320"/>
                  </a:lnTo>
                  <a:lnTo>
                    <a:pt x="1277" y="319"/>
                  </a:lnTo>
                  <a:lnTo>
                    <a:pt x="1282" y="316"/>
                  </a:lnTo>
                  <a:lnTo>
                    <a:pt x="1285" y="313"/>
                  </a:lnTo>
                  <a:lnTo>
                    <a:pt x="1289" y="309"/>
                  </a:lnTo>
                  <a:lnTo>
                    <a:pt x="1292" y="307"/>
                  </a:lnTo>
                  <a:lnTo>
                    <a:pt x="1294" y="305"/>
                  </a:lnTo>
                  <a:lnTo>
                    <a:pt x="1296" y="305"/>
                  </a:lnTo>
                  <a:lnTo>
                    <a:pt x="1297" y="306"/>
                  </a:lnTo>
                  <a:lnTo>
                    <a:pt x="1298" y="307"/>
                  </a:lnTo>
                  <a:lnTo>
                    <a:pt x="1299" y="308"/>
                  </a:lnTo>
                  <a:lnTo>
                    <a:pt x="1304" y="312"/>
                  </a:lnTo>
                  <a:lnTo>
                    <a:pt x="1308" y="314"/>
                  </a:lnTo>
                  <a:lnTo>
                    <a:pt x="1312" y="315"/>
                  </a:lnTo>
                  <a:lnTo>
                    <a:pt x="1317" y="316"/>
                  </a:lnTo>
                  <a:lnTo>
                    <a:pt x="1321" y="316"/>
                  </a:lnTo>
                  <a:lnTo>
                    <a:pt x="1326" y="315"/>
                  </a:lnTo>
                  <a:lnTo>
                    <a:pt x="1329" y="313"/>
                  </a:lnTo>
                  <a:lnTo>
                    <a:pt x="1330" y="312"/>
                  </a:lnTo>
                  <a:lnTo>
                    <a:pt x="1332" y="308"/>
                  </a:lnTo>
                  <a:lnTo>
                    <a:pt x="1334" y="303"/>
                  </a:lnTo>
                  <a:lnTo>
                    <a:pt x="1335" y="302"/>
                  </a:lnTo>
                  <a:lnTo>
                    <a:pt x="1336" y="301"/>
                  </a:lnTo>
                  <a:lnTo>
                    <a:pt x="1338" y="301"/>
                  </a:lnTo>
                  <a:lnTo>
                    <a:pt x="1340" y="302"/>
                  </a:lnTo>
                  <a:lnTo>
                    <a:pt x="1344" y="306"/>
                  </a:lnTo>
                  <a:lnTo>
                    <a:pt x="1348" y="309"/>
                  </a:lnTo>
                  <a:lnTo>
                    <a:pt x="1352" y="310"/>
                  </a:lnTo>
                  <a:lnTo>
                    <a:pt x="1355" y="310"/>
                  </a:lnTo>
                  <a:lnTo>
                    <a:pt x="1358" y="309"/>
                  </a:lnTo>
                  <a:lnTo>
                    <a:pt x="1364" y="307"/>
                  </a:lnTo>
                  <a:lnTo>
                    <a:pt x="1370" y="305"/>
                  </a:lnTo>
                  <a:lnTo>
                    <a:pt x="1376" y="303"/>
                  </a:lnTo>
                  <a:lnTo>
                    <a:pt x="1384" y="305"/>
                  </a:lnTo>
                  <a:lnTo>
                    <a:pt x="1394" y="308"/>
                  </a:lnTo>
                  <a:lnTo>
                    <a:pt x="1404" y="312"/>
                  </a:lnTo>
                  <a:lnTo>
                    <a:pt x="1414" y="316"/>
                  </a:lnTo>
                  <a:lnTo>
                    <a:pt x="1418" y="317"/>
                  </a:lnTo>
                  <a:lnTo>
                    <a:pt x="1422" y="316"/>
                  </a:lnTo>
                  <a:lnTo>
                    <a:pt x="1425" y="315"/>
                  </a:lnTo>
                  <a:lnTo>
                    <a:pt x="1428" y="312"/>
                  </a:lnTo>
                  <a:lnTo>
                    <a:pt x="1439" y="301"/>
                  </a:lnTo>
                  <a:lnTo>
                    <a:pt x="1445" y="295"/>
                  </a:lnTo>
                  <a:lnTo>
                    <a:pt x="1449" y="291"/>
                  </a:lnTo>
                  <a:lnTo>
                    <a:pt x="1454" y="287"/>
                  </a:lnTo>
                  <a:lnTo>
                    <a:pt x="1457" y="286"/>
                  </a:lnTo>
                  <a:lnTo>
                    <a:pt x="1458" y="284"/>
                  </a:lnTo>
                  <a:lnTo>
                    <a:pt x="1457" y="281"/>
                  </a:lnTo>
                  <a:lnTo>
                    <a:pt x="1454" y="280"/>
                  </a:lnTo>
                  <a:lnTo>
                    <a:pt x="1446" y="277"/>
                  </a:lnTo>
                  <a:lnTo>
                    <a:pt x="1436" y="275"/>
                  </a:lnTo>
                  <a:lnTo>
                    <a:pt x="1426" y="274"/>
                  </a:lnTo>
                  <a:lnTo>
                    <a:pt x="1417" y="272"/>
                  </a:lnTo>
                  <a:lnTo>
                    <a:pt x="1409" y="269"/>
                  </a:lnTo>
                  <a:lnTo>
                    <a:pt x="1402" y="268"/>
                  </a:lnTo>
                  <a:lnTo>
                    <a:pt x="1396" y="267"/>
                  </a:lnTo>
                  <a:lnTo>
                    <a:pt x="1391" y="268"/>
                  </a:lnTo>
                  <a:lnTo>
                    <a:pt x="1385" y="270"/>
                  </a:lnTo>
                  <a:lnTo>
                    <a:pt x="1378" y="271"/>
                  </a:lnTo>
                  <a:lnTo>
                    <a:pt x="1375" y="271"/>
                  </a:lnTo>
                  <a:lnTo>
                    <a:pt x="1374" y="270"/>
                  </a:lnTo>
                  <a:lnTo>
                    <a:pt x="1374" y="269"/>
                  </a:lnTo>
                  <a:lnTo>
                    <a:pt x="1376" y="267"/>
                  </a:lnTo>
                  <a:lnTo>
                    <a:pt x="1382" y="262"/>
                  </a:lnTo>
                  <a:lnTo>
                    <a:pt x="1388" y="256"/>
                  </a:lnTo>
                  <a:lnTo>
                    <a:pt x="1391" y="253"/>
                  </a:lnTo>
                  <a:lnTo>
                    <a:pt x="1394" y="252"/>
                  </a:lnTo>
                  <a:lnTo>
                    <a:pt x="1396" y="251"/>
                  </a:lnTo>
                  <a:lnTo>
                    <a:pt x="1397" y="252"/>
                  </a:lnTo>
                  <a:lnTo>
                    <a:pt x="1400" y="254"/>
                  </a:lnTo>
                  <a:lnTo>
                    <a:pt x="1402" y="256"/>
                  </a:lnTo>
                  <a:lnTo>
                    <a:pt x="1406" y="257"/>
                  </a:lnTo>
                  <a:lnTo>
                    <a:pt x="1412" y="258"/>
                  </a:lnTo>
                  <a:lnTo>
                    <a:pt x="1417" y="259"/>
                  </a:lnTo>
                  <a:lnTo>
                    <a:pt x="1420" y="259"/>
                  </a:lnTo>
                  <a:lnTo>
                    <a:pt x="1425" y="258"/>
                  </a:lnTo>
                  <a:lnTo>
                    <a:pt x="1437" y="255"/>
                  </a:lnTo>
                  <a:lnTo>
                    <a:pt x="1443" y="253"/>
                  </a:lnTo>
                  <a:lnTo>
                    <a:pt x="1448" y="251"/>
                  </a:lnTo>
                  <a:lnTo>
                    <a:pt x="1452" y="248"/>
                  </a:lnTo>
                  <a:lnTo>
                    <a:pt x="1454" y="245"/>
                  </a:lnTo>
                  <a:lnTo>
                    <a:pt x="1456" y="243"/>
                  </a:lnTo>
                  <a:lnTo>
                    <a:pt x="1456" y="240"/>
                  </a:lnTo>
                  <a:lnTo>
                    <a:pt x="1454" y="237"/>
                  </a:lnTo>
                  <a:lnTo>
                    <a:pt x="1453" y="235"/>
                  </a:lnTo>
                  <a:lnTo>
                    <a:pt x="1448" y="233"/>
                  </a:lnTo>
                  <a:lnTo>
                    <a:pt x="1443" y="230"/>
                  </a:lnTo>
                  <a:lnTo>
                    <a:pt x="1441" y="230"/>
                  </a:lnTo>
                  <a:lnTo>
                    <a:pt x="1440" y="229"/>
                  </a:lnTo>
                  <a:lnTo>
                    <a:pt x="1441" y="228"/>
                  </a:lnTo>
                  <a:lnTo>
                    <a:pt x="1443" y="228"/>
                  </a:lnTo>
                  <a:lnTo>
                    <a:pt x="1451" y="227"/>
                  </a:lnTo>
                  <a:lnTo>
                    <a:pt x="1461" y="227"/>
                  </a:lnTo>
                  <a:lnTo>
                    <a:pt x="1470" y="226"/>
                  </a:lnTo>
                  <a:lnTo>
                    <a:pt x="1479" y="225"/>
                  </a:lnTo>
                  <a:lnTo>
                    <a:pt x="1480" y="224"/>
                  </a:lnTo>
                  <a:lnTo>
                    <a:pt x="1481" y="224"/>
                  </a:lnTo>
                  <a:lnTo>
                    <a:pt x="1481" y="223"/>
                  </a:lnTo>
                  <a:lnTo>
                    <a:pt x="1480" y="222"/>
                  </a:lnTo>
                  <a:lnTo>
                    <a:pt x="1478" y="220"/>
                  </a:lnTo>
                  <a:lnTo>
                    <a:pt x="1475" y="218"/>
                  </a:lnTo>
                  <a:lnTo>
                    <a:pt x="1472" y="217"/>
                  </a:lnTo>
                  <a:lnTo>
                    <a:pt x="1471" y="214"/>
                  </a:lnTo>
                  <a:lnTo>
                    <a:pt x="1471" y="213"/>
                  </a:lnTo>
                  <a:lnTo>
                    <a:pt x="1474" y="212"/>
                  </a:lnTo>
                  <a:lnTo>
                    <a:pt x="1484" y="211"/>
                  </a:lnTo>
                  <a:lnTo>
                    <a:pt x="1492" y="212"/>
                  </a:lnTo>
                  <a:lnTo>
                    <a:pt x="1496" y="212"/>
                  </a:lnTo>
                  <a:lnTo>
                    <a:pt x="1500" y="211"/>
                  </a:lnTo>
                  <a:lnTo>
                    <a:pt x="1502" y="209"/>
                  </a:lnTo>
                  <a:lnTo>
                    <a:pt x="1503" y="206"/>
                  </a:lnTo>
                  <a:lnTo>
                    <a:pt x="1501" y="202"/>
                  </a:lnTo>
                  <a:lnTo>
                    <a:pt x="1498" y="200"/>
                  </a:lnTo>
                  <a:lnTo>
                    <a:pt x="1494" y="198"/>
                  </a:lnTo>
                  <a:lnTo>
                    <a:pt x="1490" y="197"/>
                  </a:lnTo>
                  <a:lnTo>
                    <a:pt x="1487" y="197"/>
                  </a:lnTo>
                  <a:lnTo>
                    <a:pt x="1485" y="196"/>
                  </a:lnTo>
                  <a:lnTo>
                    <a:pt x="1485" y="196"/>
                  </a:lnTo>
                  <a:lnTo>
                    <a:pt x="1488" y="194"/>
                  </a:lnTo>
                  <a:lnTo>
                    <a:pt x="1495" y="192"/>
                  </a:lnTo>
                  <a:lnTo>
                    <a:pt x="1503" y="191"/>
                  </a:lnTo>
                  <a:lnTo>
                    <a:pt x="1509" y="189"/>
                  </a:lnTo>
                  <a:lnTo>
                    <a:pt x="1511" y="187"/>
                  </a:lnTo>
                  <a:lnTo>
                    <a:pt x="1512" y="184"/>
                  </a:lnTo>
                  <a:lnTo>
                    <a:pt x="1513" y="182"/>
                  </a:lnTo>
                  <a:lnTo>
                    <a:pt x="1513" y="181"/>
                  </a:lnTo>
                  <a:lnTo>
                    <a:pt x="1512" y="179"/>
                  </a:lnTo>
                  <a:lnTo>
                    <a:pt x="1510" y="178"/>
                  </a:lnTo>
                  <a:lnTo>
                    <a:pt x="1506" y="177"/>
                  </a:lnTo>
                  <a:lnTo>
                    <a:pt x="1497" y="174"/>
                  </a:lnTo>
                  <a:lnTo>
                    <a:pt x="1489" y="170"/>
                  </a:lnTo>
                  <a:lnTo>
                    <a:pt x="1485" y="169"/>
                  </a:lnTo>
                  <a:lnTo>
                    <a:pt x="1482" y="169"/>
                  </a:lnTo>
                  <a:lnTo>
                    <a:pt x="1479" y="169"/>
                  </a:lnTo>
                  <a:lnTo>
                    <a:pt x="1475" y="170"/>
                  </a:lnTo>
                  <a:lnTo>
                    <a:pt x="1473" y="174"/>
                  </a:lnTo>
                  <a:lnTo>
                    <a:pt x="1473" y="177"/>
                  </a:lnTo>
                  <a:lnTo>
                    <a:pt x="1473" y="178"/>
                  </a:lnTo>
                  <a:lnTo>
                    <a:pt x="1471" y="178"/>
                  </a:lnTo>
                  <a:lnTo>
                    <a:pt x="1467" y="178"/>
                  </a:lnTo>
                  <a:lnTo>
                    <a:pt x="1461" y="176"/>
                  </a:lnTo>
                  <a:lnTo>
                    <a:pt x="1456" y="175"/>
                  </a:lnTo>
                  <a:lnTo>
                    <a:pt x="1454" y="172"/>
                  </a:lnTo>
                  <a:lnTo>
                    <a:pt x="1457" y="170"/>
                  </a:lnTo>
                  <a:lnTo>
                    <a:pt x="1460" y="169"/>
                  </a:lnTo>
                  <a:lnTo>
                    <a:pt x="1464" y="168"/>
                  </a:lnTo>
                  <a:lnTo>
                    <a:pt x="1468" y="167"/>
                  </a:lnTo>
                  <a:lnTo>
                    <a:pt x="1471" y="165"/>
                  </a:lnTo>
                  <a:lnTo>
                    <a:pt x="1472" y="164"/>
                  </a:lnTo>
                  <a:lnTo>
                    <a:pt x="1470" y="161"/>
                  </a:lnTo>
                  <a:lnTo>
                    <a:pt x="1469" y="159"/>
                  </a:lnTo>
                  <a:lnTo>
                    <a:pt x="1469" y="157"/>
                  </a:lnTo>
                  <a:lnTo>
                    <a:pt x="1471" y="155"/>
                  </a:lnTo>
                  <a:lnTo>
                    <a:pt x="1473" y="152"/>
                  </a:lnTo>
                  <a:lnTo>
                    <a:pt x="1474" y="148"/>
                  </a:lnTo>
                  <a:lnTo>
                    <a:pt x="1475" y="147"/>
                  </a:lnTo>
                  <a:lnTo>
                    <a:pt x="1478" y="146"/>
                  </a:lnTo>
                  <a:lnTo>
                    <a:pt x="1480" y="146"/>
                  </a:lnTo>
                  <a:lnTo>
                    <a:pt x="1484" y="147"/>
                  </a:lnTo>
                  <a:lnTo>
                    <a:pt x="1492" y="152"/>
                  </a:lnTo>
                  <a:lnTo>
                    <a:pt x="1498" y="155"/>
                  </a:lnTo>
                  <a:lnTo>
                    <a:pt x="1502" y="156"/>
                  </a:lnTo>
                  <a:lnTo>
                    <a:pt x="1506" y="155"/>
                  </a:lnTo>
                  <a:lnTo>
                    <a:pt x="1510" y="154"/>
                  </a:lnTo>
                  <a:lnTo>
                    <a:pt x="1514" y="152"/>
                  </a:lnTo>
                  <a:lnTo>
                    <a:pt x="1525" y="146"/>
                  </a:lnTo>
                  <a:lnTo>
                    <a:pt x="1531" y="143"/>
                  </a:lnTo>
                  <a:lnTo>
                    <a:pt x="1533" y="141"/>
                  </a:lnTo>
                  <a:lnTo>
                    <a:pt x="1535" y="140"/>
                  </a:lnTo>
                  <a:lnTo>
                    <a:pt x="1535" y="139"/>
                  </a:lnTo>
                  <a:lnTo>
                    <a:pt x="1535" y="137"/>
                  </a:lnTo>
                  <a:lnTo>
                    <a:pt x="1531" y="134"/>
                  </a:lnTo>
                  <a:lnTo>
                    <a:pt x="1526" y="131"/>
                  </a:lnTo>
                  <a:lnTo>
                    <a:pt x="1524" y="128"/>
                  </a:lnTo>
                  <a:lnTo>
                    <a:pt x="1523" y="127"/>
                  </a:lnTo>
                  <a:lnTo>
                    <a:pt x="1523" y="126"/>
                  </a:lnTo>
                  <a:lnTo>
                    <a:pt x="1525" y="126"/>
                  </a:lnTo>
                  <a:lnTo>
                    <a:pt x="1534" y="128"/>
                  </a:lnTo>
                  <a:lnTo>
                    <a:pt x="1548" y="133"/>
                  </a:lnTo>
                  <a:lnTo>
                    <a:pt x="1554" y="135"/>
                  </a:lnTo>
                  <a:lnTo>
                    <a:pt x="1559" y="136"/>
                  </a:lnTo>
                  <a:lnTo>
                    <a:pt x="1563" y="136"/>
                  </a:lnTo>
                  <a:lnTo>
                    <a:pt x="1566" y="135"/>
                  </a:lnTo>
                  <a:lnTo>
                    <a:pt x="1564" y="132"/>
                  </a:lnTo>
                  <a:lnTo>
                    <a:pt x="1562" y="130"/>
                  </a:lnTo>
                  <a:lnTo>
                    <a:pt x="1560" y="127"/>
                  </a:lnTo>
                  <a:lnTo>
                    <a:pt x="1557" y="125"/>
                  </a:lnTo>
                  <a:lnTo>
                    <a:pt x="1554" y="123"/>
                  </a:lnTo>
                  <a:lnTo>
                    <a:pt x="1553" y="121"/>
                  </a:lnTo>
                  <a:lnTo>
                    <a:pt x="1553" y="119"/>
                  </a:lnTo>
                  <a:lnTo>
                    <a:pt x="1555" y="117"/>
                  </a:lnTo>
                  <a:lnTo>
                    <a:pt x="1561" y="113"/>
                  </a:lnTo>
                  <a:lnTo>
                    <a:pt x="1568" y="111"/>
                  </a:lnTo>
                  <a:lnTo>
                    <a:pt x="1575" y="109"/>
                  </a:lnTo>
                  <a:lnTo>
                    <a:pt x="1583" y="106"/>
                  </a:lnTo>
                  <a:lnTo>
                    <a:pt x="1591" y="104"/>
                  </a:lnTo>
                  <a:lnTo>
                    <a:pt x="1597" y="101"/>
                  </a:lnTo>
                  <a:lnTo>
                    <a:pt x="1601" y="99"/>
                  </a:lnTo>
                  <a:lnTo>
                    <a:pt x="1603" y="95"/>
                  </a:lnTo>
                  <a:lnTo>
                    <a:pt x="1604" y="93"/>
                  </a:lnTo>
                  <a:lnTo>
                    <a:pt x="1607" y="91"/>
                  </a:lnTo>
                  <a:lnTo>
                    <a:pt x="1611" y="89"/>
                  </a:lnTo>
                  <a:lnTo>
                    <a:pt x="1615" y="88"/>
                  </a:lnTo>
                  <a:lnTo>
                    <a:pt x="1624" y="83"/>
                  </a:lnTo>
                  <a:lnTo>
                    <a:pt x="1633" y="80"/>
                  </a:lnTo>
                  <a:lnTo>
                    <a:pt x="1647" y="74"/>
                  </a:lnTo>
                  <a:lnTo>
                    <a:pt x="1669" y="65"/>
                  </a:lnTo>
                  <a:lnTo>
                    <a:pt x="1680" y="60"/>
                  </a:lnTo>
                  <a:lnTo>
                    <a:pt x="1688" y="56"/>
                  </a:lnTo>
                  <a:lnTo>
                    <a:pt x="1690" y="55"/>
                  </a:lnTo>
                  <a:lnTo>
                    <a:pt x="1692" y="53"/>
                  </a:lnTo>
                  <a:lnTo>
                    <a:pt x="1692" y="52"/>
                  </a:lnTo>
                  <a:lnTo>
                    <a:pt x="1690" y="52"/>
                  </a:lnTo>
                  <a:lnTo>
                    <a:pt x="1683" y="52"/>
                  </a:lnTo>
                  <a:lnTo>
                    <a:pt x="1670" y="53"/>
                  </a:lnTo>
                  <a:lnTo>
                    <a:pt x="1656" y="56"/>
                  </a:lnTo>
                  <a:lnTo>
                    <a:pt x="1639" y="59"/>
                  </a:lnTo>
                  <a:lnTo>
                    <a:pt x="1623" y="62"/>
                  </a:lnTo>
                  <a:lnTo>
                    <a:pt x="1611" y="65"/>
                  </a:lnTo>
                  <a:lnTo>
                    <a:pt x="1601" y="67"/>
                  </a:lnTo>
                  <a:lnTo>
                    <a:pt x="1598" y="66"/>
                  </a:lnTo>
                  <a:lnTo>
                    <a:pt x="1600" y="64"/>
                  </a:lnTo>
                  <a:lnTo>
                    <a:pt x="1604" y="61"/>
                  </a:lnTo>
                  <a:lnTo>
                    <a:pt x="1611" y="59"/>
                  </a:lnTo>
                  <a:lnTo>
                    <a:pt x="1618" y="57"/>
                  </a:lnTo>
                  <a:lnTo>
                    <a:pt x="1633" y="54"/>
                  </a:lnTo>
                  <a:lnTo>
                    <a:pt x="1639" y="53"/>
                  </a:lnTo>
                  <a:lnTo>
                    <a:pt x="1624" y="51"/>
                  </a:lnTo>
                  <a:lnTo>
                    <a:pt x="1611" y="49"/>
                  </a:lnTo>
                  <a:lnTo>
                    <a:pt x="1625" y="47"/>
                  </a:lnTo>
                  <a:lnTo>
                    <a:pt x="1641" y="46"/>
                  </a:lnTo>
                  <a:lnTo>
                    <a:pt x="1651" y="47"/>
                  </a:lnTo>
                  <a:lnTo>
                    <a:pt x="1667" y="47"/>
                  </a:lnTo>
                  <a:lnTo>
                    <a:pt x="1674" y="43"/>
                  </a:lnTo>
                  <a:lnTo>
                    <a:pt x="1679" y="40"/>
                  </a:lnTo>
                  <a:lnTo>
                    <a:pt x="1685" y="40"/>
                  </a:lnTo>
                  <a:lnTo>
                    <a:pt x="1696" y="38"/>
                  </a:lnTo>
                  <a:lnTo>
                    <a:pt x="1708" y="36"/>
                  </a:lnTo>
                  <a:lnTo>
                    <a:pt x="1714" y="34"/>
                  </a:lnTo>
                  <a:lnTo>
                    <a:pt x="1721" y="31"/>
                  </a:lnTo>
                  <a:lnTo>
                    <a:pt x="1730" y="28"/>
                  </a:lnTo>
                  <a:lnTo>
                    <a:pt x="1734" y="26"/>
                  </a:lnTo>
                  <a:lnTo>
                    <a:pt x="1737" y="24"/>
                  </a:lnTo>
                  <a:lnTo>
                    <a:pt x="1737" y="23"/>
                  </a:lnTo>
                  <a:lnTo>
                    <a:pt x="1737" y="22"/>
                  </a:lnTo>
                  <a:lnTo>
                    <a:pt x="1736" y="22"/>
                  </a:lnTo>
                  <a:lnTo>
                    <a:pt x="1735" y="21"/>
                  </a:lnTo>
                  <a:lnTo>
                    <a:pt x="1725" y="16"/>
                  </a:lnTo>
                  <a:lnTo>
                    <a:pt x="1719" y="14"/>
                  </a:lnTo>
                  <a:lnTo>
                    <a:pt x="1705" y="11"/>
                  </a:lnTo>
                  <a:lnTo>
                    <a:pt x="1696" y="8"/>
                  </a:lnTo>
                  <a:lnTo>
                    <a:pt x="1695" y="6"/>
                  </a:lnTo>
                  <a:lnTo>
                    <a:pt x="1692" y="4"/>
                  </a:lnTo>
                  <a:lnTo>
                    <a:pt x="1688" y="3"/>
                  </a:lnTo>
                  <a:lnTo>
                    <a:pt x="1683" y="2"/>
                  </a:lnTo>
                  <a:lnTo>
                    <a:pt x="1674" y="3"/>
                  </a:lnTo>
                  <a:lnTo>
                    <a:pt x="1663" y="4"/>
                  </a:lnTo>
                  <a:lnTo>
                    <a:pt x="1651" y="6"/>
                  </a:lnTo>
                  <a:lnTo>
                    <a:pt x="1642" y="8"/>
                  </a:lnTo>
                  <a:lnTo>
                    <a:pt x="1634" y="10"/>
                  </a:lnTo>
                  <a:lnTo>
                    <a:pt x="1626" y="11"/>
                  </a:lnTo>
                  <a:lnTo>
                    <a:pt x="1620" y="11"/>
                  </a:lnTo>
                  <a:lnTo>
                    <a:pt x="1617" y="10"/>
                  </a:lnTo>
                  <a:lnTo>
                    <a:pt x="1616" y="10"/>
                  </a:lnTo>
                  <a:lnTo>
                    <a:pt x="1616" y="9"/>
                  </a:lnTo>
                  <a:lnTo>
                    <a:pt x="1616" y="9"/>
                  </a:lnTo>
                  <a:lnTo>
                    <a:pt x="1617" y="9"/>
                  </a:lnTo>
                  <a:lnTo>
                    <a:pt x="1620" y="8"/>
                  </a:lnTo>
                  <a:lnTo>
                    <a:pt x="1627" y="6"/>
                  </a:lnTo>
                  <a:lnTo>
                    <a:pt x="1637" y="5"/>
                  </a:lnTo>
                  <a:lnTo>
                    <a:pt x="1649" y="3"/>
                  </a:lnTo>
                  <a:lnTo>
                    <a:pt x="1654" y="3"/>
                  </a:lnTo>
                  <a:lnTo>
                    <a:pt x="1656" y="2"/>
                  </a:lnTo>
                  <a:lnTo>
                    <a:pt x="1652" y="2"/>
                  </a:lnTo>
                  <a:lnTo>
                    <a:pt x="1645" y="2"/>
                  </a:lnTo>
                  <a:lnTo>
                    <a:pt x="1626" y="1"/>
                  </a:lnTo>
                  <a:lnTo>
                    <a:pt x="1612" y="1"/>
                  </a:lnTo>
                  <a:lnTo>
                    <a:pt x="1601" y="1"/>
                  </a:lnTo>
                  <a:lnTo>
                    <a:pt x="1594" y="1"/>
                  </a:lnTo>
                  <a:lnTo>
                    <a:pt x="1585" y="0"/>
                  </a:lnTo>
                  <a:lnTo>
                    <a:pt x="1579" y="2"/>
                  </a:lnTo>
                  <a:lnTo>
                    <a:pt x="1577" y="3"/>
                  </a:lnTo>
                  <a:lnTo>
                    <a:pt x="1575" y="4"/>
                  </a:lnTo>
                  <a:lnTo>
                    <a:pt x="1572" y="4"/>
                  </a:lnTo>
                  <a:lnTo>
                    <a:pt x="1569" y="4"/>
                  </a:lnTo>
                  <a:lnTo>
                    <a:pt x="1563" y="2"/>
                  </a:lnTo>
                  <a:lnTo>
                    <a:pt x="1555" y="1"/>
                  </a:lnTo>
                  <a:lnTo>
                    <a:pt x="1546" y="1"/>
                  </a:lnTo>
                  <a:lnTo>
                    <a:pt x="1541" y="2"/>
                  </a:lnTo>
                  <a:lnTo>
                    <a:pt x="1547" y="6"/>
                  </a:lnTo>
                  <a:lnTo>
                    <a:pt x="1552" y="8"/>
                  </a:lnTo>
                  <a:lnTo>
                    <a:pt x="1551" y="9"/>
                  </a:lnTo>
                  <a:lnTo>
                    <a:pt x="1549" y="11"/>
                  </a:lnTo>
                  <a:lnTo>
                    <a:pt x="1546" y="12"/>
                  </a:lnTo>
                  <a:lnTo>
                    <a:pt x="1540" y="11"/>
                  </a:lnTo>
                  <a:lnTo>
                    <a:pt x="1525" y="7"/>
                  </a:lnTo>
                  <a:lnTo>
                    <a:pt x="1517" y="4"/>
                  </a:lnTo>
                  <a:lnTo>
                    <a:pt x="1517" y="4"/>
                  </a:lnTo>
                  <a:lnTo>
                    <a:pt x="1516" y="3"/>
                  </a:lnTo>
                  <a:lnTo>
                    <a:pt x="1513" y="3"/>
                  </a:lnTo>
                  <a:lnTo>
                    <a:pt x="1506" y="4"/>
                  </a:lnTo>
                  <a:lnTo>
                    <a:pt x="1491" y="5"/>
                  </a:lnTo>
                  <a:lnTo>
                    <a:pt x="1482" y="6"/>
                  </a:lnTo>
                  <a:lnTo>
                    <a:pt x="1480" y="7"/>
                  </a:lnTo>
                  <a:lnTo>
                    <a:pt x="1480" y="8"/>
                  </a:lnTo>
                  <a:lnTo>
                    <a:pt x="1480" y="8"/>
                  </a:lnTo>
                  <a:lnTo>
                    <a:pt x="1481" y="9"/>
                  </a:lnTo>
                  <a:lnTo>
                    <a:pt x="1485" y="10"/>
                  </a:lnTo>
                  <a:lnTo>
                    <a:pt x="1489" y="10"/>
                  </a:lnTo>
                  <a:lnTo>
                    <a:pt x="1503" y="12"/>
                  </a:lnTo>
                  <a:lnTo>
                    <a:pt x="1513" y="15"/>
                  </a:lnTo>
                  <a:lnTo>
                    <a:pt x="1513" y="16"/>
                  </a:lnTo>
                  <a:lnTo>
                    <a:pt x="1513" y="18"/>
                  </a:lnTo>
                  <a:lnTo>
                    <a:pt x="1511" y="18"/>
                  </a:lnTo>
                  <a:lnTo>
                    <a:pt x="1505" y="18"/>
                  </a:lnTo>
                  <a:lnTo>
                    <a:pt x="1493" y="17"/>
                  </a:lnTo>
                  <a:lnTo>
                    <a:pt x="1486" y="15"/>
                  </a:lnTo>
                  <a:lnTo>
                    <a:pt x="1480" y="13"/>
                  </a:lnTo>
                  <a:lnTo>
                    <a:pt x="1475" y="11"/>
                  </a:lnTo>
                  <a:lnTo>
                    <a:pt x="1466" y="10"/>
                  </a:lnTo>
                  <a:lnTo>
                    <a:pt x="1460" y="9"/>
                  </a:lnTo>
                  <a:lnTo>
                    <a:pt x="1456" y="10"/>
                  </a:lnTo>
                  <a:lnTo>
                    <a:pt x="1447" y="11"/>
                  </a:lnTo>
                  <a:lnTo>
                    <a:pt x="1440" y="13"/>
                  </a:lnTo>
                  <a:lnTo>
                    <a:pt x="1440" y="14"/>
                  </a:lnTo>
                  <a:lnTo>
                    <a:pt x="1450" y="14"/>
                  </a:lnTo>
                  <a:lnTo>
                    <a:pt x="1451" y="15"/>
                  </a:lnTo>
                  <a:lnTo>
                    <a:pt x="1441" y="18"/>
                  </a:lnTo>
                  <a:lnTo>
                    <a:pt x="1434" y="20"/>
                  </a:lnTo>
                  <a:lnTo>
                    <a:pt x="1435" y="20"/>
                  </a:lnTo>
                  <a:lnTo>
                    <a:pt x="1435" y="21"/>
                  </a:lnTo>
                  <a:lnTo>
                    <a:pt x="1435" y="21"/>
                  </a:lnTo>
                  <a:lnTo>
                    <a:pt x="1430" y="23"/>
                  </a:lnTo>
                  <a:lnTo>
                    <a:pt x="1419" y="25"/>
                  </a:lnTo>
                  <a:lnTo>
                    <a:pt x="1412" y="26"/>
                  </a:lnTo>
                  <a:lnTo>
                    <a:pt x="1407" y="28"/>
                  </a:lnTo>
                  <a:lnTo>
                    <a:pt x="1401" y="31"/>
                  </a:lnTo>
                  <a:lnTo>
                    <a:pt x="1399" y="31"/>
                  </a:lnTo>
                  <a:lnTo>
                    <a:pt x="1399" y="32"/>
                  </a:lnTo>
                  <a:lnTo>
                    <a:pt x="1399" y="32"/>
                  </a:lnTo>
                  <a:lnTo>
                    <a:pt x="1400" y="33"/>
                  </a:lnTo>
                  <a:lnTo>
                    <a:pt x="1403" y="34"/>
                  </a:lnTo>
                  <a:lnTo>
                    <a:pt x="1406" y="34"/>
                  </a:lnTo>
                  <a:lnTo>
                    <a:pt x="1416" y="35"/>
                  </a:lnTo>
                  <a:lnTo>
                    <a:pt x="1422" y="38"/>
                  </a:lnTo>
                  <a:lnTo>
                    <a:pt x="1423" y="40"/>
                  </a:lnTo>
                  <a:lnTo>
                    <a:pt x="1421" y="43"/>
                  </a:lnTo>
                  <a:lnTo>
                    <a:pt x="1419" y="44"/>
                  </a:lnTo>
                  <a:lnTo>
                    <a:pt x="1418" y="44"/>
                  </a:lnTo>
                  <a:lnTo>
                    <a:pt x="1416" y="44"/>
                  </a:lnTo>
                  <a:lnTo>
                    <a:pt x="1413" y="43"/>
                  </a:lnTo>
                  <a:lnTo>
                    <a:pt x="1403" y="40"/>
                  </a:lnTo>
                  <a:lnTo>
                    <a:pt x="1395" y="38"/>
                  </a:lnTo>
                  <a:lnTo>
                    <a:pt x="1383" y="38"/>
                  </a:lnTo>
                  <a:lnTo>
                    <a:pt x="1374" y="36"/>
                  </a:lnTo>
                  <a:lnTo>
                    <a:pt x="1372" y="34"/>
                  </a:lnTo>
                  <a:lnTo>
                    <a:pt x="1369" y="33"/>
                  </a:lnTo>
                  <a:lnTo>
                    <a:pt x="1365" y="32"/>
                  </a:lnTo>
                  <a:lnTo>
                    <a:pt x="1363" y="31"/>
                  </a:lnTo>
                  <a:lnTo>
                    <a:pt x="1358" y="32"/>
                  </a:lnTo>
                  <a:lnTo>
                    <a:pt x="1353" y="34"/>
                  </a:lnTo>
                  <a:lnTo>
                    <a:pt x="1350" y="34"/>
                  </a:lnTo>
                  <a:lnTo>
                    <a:pt x="1349" y="35"/>
                  </a:lnTo>
                  <a:lnTo>
                    <a:pt x="1348" y="36"/>
                  </a:lnTo>
                  <a:lnTo>
                    <a:pt x="1349" y="37"/>
                  </a:lnTo>
                  <a:lnTo>
                    <a:pt x="1351" y="38"/>
                  </a:lnTo>
                  <a:lnTo>
                    <a:pt x="1352" y="38"/>
                  </a:lnTo>
                  <a:lnTo>
                    <a:pt x="1350" y="39"/>
                  </a:lnTo>
                  <a:lnTo>
                    <a:pt x="1346" y="42"/>
                  </a:lnTo>
                  <a:lnTo>
                    <a:pt x="1340" y="44"/>
                  </a:lnTo>
                  <a:lnTo>
                    <a:pt x="1336" y="45"/>
                  </a:lnTo>
                  <a:lnTo>
                    <a:pt x="1334" y="46"/>
                  </a:lnTo>
                  <a:lnTo>
                    <a:pt x="1333" y="46"/>
                  </a:lnTo>
                  <a:lnTo>
                    <a:pt x="1332" y="47"/>
                  </a:lnTo>
                  <a:lnTo>
                    <a:pt x="1333" y="47"/>
                  </a:lnTo>
                  <a:lnTo>
                    <a:pt x="1344" y="49"/>
                  </a:lnTo>
                  <a:lnTo>
                    <a:pt x="1348" y="50"/>
                  </a:lnTo>
                  <a:lnTo>
                    <a:pt x="1336" y="52"/>
                  </a:lnTo>
                  <a:lnTo>
                    <a:pt x="1326" y="53"/>
                  </a:lnTo>
                  <a:lnTo>
                    <a:pt x="1326" y="51"/>
                  </a:lnTo>
                  <a:lnTo>
                    <a:pt x="1327" y="50"/>
                  </a:lnTo>
                  <a:lnTo>
                    <a:pt x="1326" y="49"/>
                  </a:lnTo>
                  <a:lnTo>
                    <a:pt x="1320" y="50"/>
                  </a:lnTo>
                  <a:lnTo>
                    <a:pt x="1310" y="55"/>
                  </a:lnTo>
                  <a:lnTo>
                    <a:pt x="1303" y="57"/>
                  </a:lnTo>
                  <a:lnTo>
                    <a:pt x="1294" y="59"/>
                  </a:lnTo>
                  <a:lnTo>
                    <a:pt x="1288" y="62"/>
                  </a:lnTo>
                  <a:lnTo>
                    <a:pt x="1275" y="66"/>
                  </a:lnTo>
                  <a:lnTo>
                    <a:pt x="1263" y="71"/>
                  </a:lnTo>
                  <a:lnTo>
                    <a:pt x="1260" y="73"/>
                  </a:lnTo>
                  <a:lnTo>
                    <a:pt x="1259" y="75"/>
                  </a:lnTo>
                  <a:lnTo>
                    <a:pt x="1260" y="76"/>
                  </a:lnTo>
                  <a:lnTo>
                    <a:pt x="1262" y="77"/>
                  </a:lnTo>
                  <a:lnTo>
                    <a:pt x="1272" y="75"/>
                  </a:lnTo>
                  <a:lnTo>
                    <a:pt x="1282" y="73"/>
                  </a:lnTo>
                  <a:lnTo>
                    <a:pt x="1285" y="74"/>
                  </a:lnTo>
                  <a:lnTo>
                    <a:pt x="1287" y="75"/>
                  </a:lnTo>
                  <a:lnTo>
                    <a:pt x="1300" y="72"/>
                  </a:lnTo>
                  <a:lnTo>
                    <a:pt x="1309" y="70"/>
                  </a:lnTo>
                  <a:lnTo>
                    <a:pt x="1303" y="75"/>
                  </a:lnTo>
                  <a:lnTo>
                    <a:pt x="1297" y="79"/>
                  </a:lnTo>
                  <a:lnTo>
                    <a:pt x="1294" y="80"/>
                  </a:lnTo>
                  <a:lnTo>
                    <a:pt x="1291" y="81"/>
                  </a:lnTo>
                  <a:lnTo>
                    <a:pt x="1289" y="82"/>
                  </a:lnTo>
                  <a:lnTo>
                    <a:pt x="1286" y="86"/>
                  </a:lnTo>
                  <a:lnTo>
                    <a:pt x="1284" y="90"/>
                  </a:lnTo>
                  <a:lnTo>
                    <a:pt x="1282" y="92"/>
                  </a:lnTo>
                  <a:lnTo>
                    <a:pt x="1281" y="93"/>
                  </a:lnTo>
                  <a:lnTo>
                    <a:pt x="1281" y="94"/>
                  </a:lnTo>
                  <a:lnTo>
                    <a:pt x="1282" y="95"/>
                  </a:lnTo>
                  <a:lnTo>
                    <a:pt x="1284" y="95"/>
                  </a:lnTo>
                  <a:lnTo>
                    <a:pt x="1300" y="92"/>
                  </a:lnTo>
                  <a:lnTo>
                    <a:pt x="1314" y="90"/>
                  </a:lnTo>
                  <a:lnTo>
                    <a:pt x="1321" y="90"/>
                  </a:lnTo>
                  <a:lnTo>
                    <a:pt x="1331" y="87"/>
                  </a:lnTo>
                  <a:lnTo>
                    <a:pt x="1340" y="83"/>
                  </a:lnTo>
                  <a:lnTo>
                    <a:pt x="1347" y="82"/>
                  </a:lnTo>
                  <a:lnTo>
                    <a:pt x="1359" y="76"/>
                  </a:lnTo>
                  <a:lnTo>
                    <a:pt x="1365" y="75"/>
                  </a:lnTo>
                  <a:lnTo>
                    <a:pt x="1355" y="81"/>
                  </a:lnTo>
                  <a:lnTo>
                    <a:pt x="1343" y="86"/>
                  </a:lnTo>
                  <a:lnTo>
                    <a:pt x="1348" y="86"/>
                  </a:lnTo>
                  <a:lnTo>
                    <a:pt x="1359" y="83"/>
                  </a:lnTo>
                  <a:lnTo>
                    <a:pt x="1373" y="80"/>
                  </a:lnTo>
                  <a:lnTo>
                    <a:pt x="1381" y="79"/>
                  </a:lnTo>
                  <a:lnTo>
                    <a:pt x="1382" y="79"/>
                  </a:lnTo>
                  <a:lnTo>
                    <a:pt x="1383" y="80"/>
                  </a:lnTo>
                  <a:lnTo>
                    <a:pt x="1382" y="81"/>
                  </a:lnTo>
                  <a:lnTo>
                    <a:pt x="1382" y="82"/>
                  </a:lnTo>
                  <a:lnTo>
                    <a:pt x="1378" y="83"/>
                  </a:lnTo>
                  <a:lnTo>
                    <a:pt x="1371" y="86"/>
                  </a:lnTo>
                  <a:lnTo>
                    <a:pt x="1362" y="87"/>
                  </a:lnTo>
                  <a:lnTo>
                    <a:pt x="1354" y="87"/>
                  </a:lnTo>
                  <a:lnTo>
                    <a:pt x="1351" y="87"/>
                  </a:lnTo>
                  <a:lnTo>
                    <a:pt x="1348" y="88"/>
                  </a:lnTo>
                  <a:lnTo>
                    <a:pt x="1346" y="89"/>
                  </a:lnTo>
                  <a:lnTo>
                    <a:pt x="1344" y="90"/>
                  </a:lnTo>
                  <a:lnTo>
                    <a:pt x="1341" y="94"/>
                  </a:lnTo>
                  <a:lnTo>
                    <a:pt x="1337" y="97"/>
                  </a:lnTo>
                  <a:lnTo>
                    <a:pt x="1333" y="99"/>
                  </a:lnTo>
                  <a:lnTo>
                    <a:pt x="1330" y="98"/>
                  </a:lnTo>
                  <a:lnTo>
                    <a:pt x="1321" y="97"/>
                  </a:lnTo>
                  <a:lnTo>
                    <a:pt x="1310" y="97"/>
                  </a:lnTo>
                  <a:lnTo>
                    <a:pt x="1305" y="97"/>
                  </a:lnTo>
                  <a:lnTo>
                    <a:pt x="1299" y="97"/>
                  </a:lnTo>
                  <a:lnTo>
                    <a:pt x="1296" y="98"/>
                  </a:lnTo>
                  <a:lnTo>
                    <a:pt x="1294" y="99"/>
                  </a:lnTo>
                  <a:lnTo>
                    <a:pt x="1294" y="102"/>
                  </a:lnTo>
                  <a:lnTo>
                    <a:pt x="1296" y="106"/>
                  </a:lnTo>
                  <a:lnTo>
                    <a:pt x="1297" y="108"/>
                  </a:lnTo>
                  <a:lnTo>
                    <a:pt x="1300" y="109"/>
                  </a:lnTo>
                  <a:lnTo>
                    <a:pt x="1306" y="109"/>
                  </a:lnTo>
                  <a:lnTo>
                    <a:pt x="1311" y="108"/>
                  </a:lnTo>
                  <a:lnTo>
                    <a:pt x="1328" y="102"/>
                  </a:lnTo>
                  <a:lnTo>
                    <a:pt x="1333" y="102"/>
                  </a:lnTo>
                  <a:lnTo>
                    <a:pt x="1337" y="104"/>
                  </a:lnTo>
                  <a:lnTo>
                    <a:pt x="1340" y="106"/>
                  </a:lnTo>
                  <a:lnTo>
                    <a:pt x="1346" y="106"/>
                  </a:lnTo>
                  <a:lnTo>
                    <a:pt x="1354" y="106"/>
                  </a:lnTo>
                  <a:lnTo>
                    <a:pt x="1360" y="106"/>
                  </a:lnTo>
                  <a:lnTo>
                    <a:pt x="1368" y="103"/>
                  </a:lnTo>
                  <a:lnTo>
                    <a:pt x="1375" y="101"/>
                  </a:lnTo>
                  <a:lnTo>
                    <a:pt x="1382" y="98"/>
                  </a:lnTo>
                  <a:lnTo>
                    <a:pt x="1388" y="95"/>
                  </a:lnTo>
                  <a:lnTo>
                    <a:pt x="1394" y="93"/>
                  </a:lnTo>
                  <a:lnTo>
                    <a:pt x="1396" y="93"/>
                  </a:lnTo>
                  <a:lnTo>
                    <a:pt x="1397" y="93"/>
                  </a:lnTo>
                  <a:lnTo>
                    <a:pt x="1397" y="93"/>
                  </a:lnTo>
                  <a:lnTo>
                    <a:pt x="1397" y="94"/>
                  </a:lnTo>
                  <a:lnTo>
                    <a:pt x="1395" y="98"/>
                  </a:lnTo>
                  <a:lnTo>
                    <a:pt x="1395" y="100"/>
                  </a:lnTo>
                  <a:lnTo>
                    <a:pt x="1397" y="101"/>
                  </a:lnTo>
                  <a:lnTo>
                    <a:pt x="1402" y="100"/>
                  </a:lnTo>
                  <a:lnTo>
                    <a:pt x="1413" y="96"/>
                  </a:lnTo>
                  <a:lnTo>
                    <a:pt x="1425" y="91"/>
                  </a:lnTo>
                  <a:lnTo>
                    <a:pt x="1431" y="88"/>
                  </a:lnTo>
                  <a:lnTo>
                    <a:pt x="1438" y="84"/>
                  </a:lnTo>
                  <a:lnTo>
                    <a:pt x="1442" y="81"/>
                  </a:lnTo>
                  <a:lnTo>
                    <a:pt x="1444" y="78"/>
                  </a:lnTo>
                  <a:lnTo>
                    <a:pt x="1450" y="71"/>
                  </a:lnTo>
                  <a:lnTo>
                    <a:pt x="1458" y="65"/>
                  </a:lnTo>
                  <a:lnTo>
                    <a:pt x="1462" y="61"/>
                  </a:lnTo>
                  <a:lnTo>
                    <a:pt x="1465" y="59"/>
                  </a:lnTo>
                  <a:lnTo>
                    <a:pt x="1468" y="58"/>
                  </a:lnTo>
                  <a:lnTo>
                    <a:pt x="1470" y="59"/>
                  </a:lnTo>
                  <a:lnTo>
                    <a:pt x="1473" y="61"/>
                  </a:lnTo>
                  <a:lnTo>
                    <a:pt x="1475" y="64"/>
                  </a:lnTo>
                  <a:lnTo>
                    <a:pt x="1473" y="67"/>
                  </a:lnTo>
                  <a:lnTo>
                    <a:pt x="1466" y="70"/>
                  </a:lnTo>
                  <a:lnTo>
                    <a:pt x="1458" y="75"/>
                  </a:lnTo>
                  <a:lnTo>
                    <a:pt x="1450" y="78"/>
                  </a:lnTo>
                  <a:lnTo>
                    <a:pt x="1448" y="80"/>
                  </a:lnTo>
                  <a:lnTo>
                    <a:pt x="1447" y="81"/>
                  </a:lnTo>
                  <a:lnTo>
                    <a:pt x="1448" y="82"/>
                  </a:lnTo>
                  <a:lnTo>
                    <a:pt x="1451" y="82"/>
                  </a:lnTo>
                  <a:lnTo>
                    <a:pt x="1464" y="81"/>
                  </a:lnTo>
                  <a:lnTo>
                    <a:pt x="1479" y="79"/>
                  </a:lnTo>
                  <a:lnTo>
                    <a:pt x="1485" y="79"/>
                  </a:lnTo>
                  <a:lnTo>
                    <a:pt x="1489" y="79"/>
                  </a:lnTo>
                  <a:lnTo>
                    <a:pt x="1491" y="79"/>
                  </a:lnTo>
                  <a:lnTo>
                    <a:pt x="1491" y="80"/>
                  </a:lnTo>
                  <a:lnTo>
                    <a:pt x="1490" y="80"/>
                  </a:lnTo>
                  <a:lnTo>
                    <a:pt x="1489" y="81"/>
                  </a:lnTo>
                  <a:lnTo>
                    <a:pt x="1478" y="84"/>
                  </a:lnTo>
                  <a:lnTo>
                    <a:pt x="1463" y="86"/>
                  </a:lnTo>
                  <a:lnTo>
                    <a:pt x="1456" y="86"/>
                  </a:lnTo>
                  <a:lnTo>
                    <a:pt x="1448" y="87"/>
                  </a:lnTo>
                  <a:lnTo>
                    <a:pt x="1443" y="88"/>
                  </a:lnTo>
                  <a:lnTo>
                    <a:pt x="1439" y="90"/>
                  </a:lnTo>
                  <a:lnTo>
                    <a:pt x="1438" y="91"/>
                  </a:lnTo>
                  <a:lnTo>
                    <a:pt x="1438" y="92"/>
                  </a:lnTo>
                  <a:lnTo>
                    <a:pt x="1438" y="93"/>
                  </a:lnTo>
                  <a:lnTo>
                    <a:pt x="1439" y="94"/>
                  </a:lnTo>
                  <a:lnTo>
                    <a:pt x="1441" y="96"/>
                  </a:lnTo>
                  <a:lnTo>
                    <a:pt x="1443" y="97"/>
                  </a:lnTo>
                  <a:lnTo>
                    <a:pt x="1445" y="98"/>
                  </a:lnTo>
                  <a:lnTo>
                    <a:pt x="1446" y="99"/>
                  </a:lnTo>
                  <a:lnTo>
                    <a:pt x="1446" y="100"/>
                  </a:lnTo>
                  <a:lnTo>
                    <a:pt x="1442" y="100"/>
                  </a:lnTo>
                  <a:lnTo>
                    <a:pt x="1431" y="101"/>
                  </a:lnTo>
                  <a:lnTo>
                    <a:pt x="1421" y="102"/>
                  </a:lnTo>
                  <a:lnTo>
                    <a:pt x="1414" y="104"/>
                  </a:lnTo>
                  <a:lnTo>
                    <a:pt x="1408" y="105"/>
                  </a:lnTo>
                  <a:lnTo>
                    <a:pt x="1402" y="108"/>
                  </a:lnTo>
                  <a:lnTo>
                    <a:pt x="1393" y="110"/>
                  </a:lnTo>
                  <a:lnTo>
                    <a:pt x="1387" y="110"/>
                  </a:lnTo>
                  <a:lnTo>
                    <a:pt x="1384" y="111"/>
                  </a:lnTo>
                  <a:lnTo>
                    <a:pt x="1382" y="112"/>
                  </a:lnTo>
                  <a:lnTo>
                    <a:pt x="1381" y="113"/>
                  </a:lnTo>
                  <a:lnTo>
                    <a:pt x="1381" y="114"/>
                  </a:lnTo>
                  <a:lnTo>
                    <a:pt x="1382" y="114"/>
                  </a:lnTo>
                  <a:lnTo>
                    <a:pt x="1386" y="119"/>
                  </a:lnTo>
                  <a:lnTo>
                    <a:pt x="1393" y="123"/>
                  </a:lnTo>
                  <a:lnTo>
                    <a:pt x="1398" y="126"/>
                  </a:lnTo>
                  <a:lnTo>
                    <a:pt x="1402" y="128"/>
                  </a:lnTo>
                  <a:lnTo>
                    <a:pt x="1404" y="133"/>
                  </a:lnTo>
                  <a:lnTo>
                    <a:pt x="1408" y="138"/>
                  </a:lnTo>
                  <a:lnTo>
                    <a:pt x="1415" y="139"/>
                  </a:lnTo>
                  <a:lnTo>
                    <a:pt x="1424" y="138"/>
                  </a:lnTo>
                  <a:lnTo>
                    <a:pt x="1427" y="138"/>
                  </a:lnTo>
                  <a:lnTo>
                    <a:pt x="1429" y="139"/>
                  </a:lnTo>
                  <a:lnTo>
                    <a:pt x="1429" y="140"/>
                  </a:lnTo>
                  <a:lnTo>
                    <a:pt x="1426" y="142"/>
                  </a:lnTo>
                  <a:lnTo>
                    <a:pt x="1421" y="146"/>
                  </a:lnTo>
                  <a:lnTo>
                    <a:pt x="1419" y="149"/>
                  </a:lnTo>
                  <a:lnTo>
                    <a:pt x="1417" y="150"/>
                  </a:lnTo>
                  <a:lnTo>
                    <a:pt x="1412" y="149"/>
                  </a:lnTo>
                  <a:lnTo>
                    <a:pt x="1403" y="148"/>
                  </a:lnTo>
                  <a:lnTo>
                    <a:pt x="1395" y="147"/>
                  </a:lnTo>
                  <a:lnTo>
                    <a:pt x="1391" y="146"/>
                  </a:lnTo>
                  <a:lnTo>
                    <a:pt x="1387" y="145"/>
                  </a:lnTo>
                  <a:lnTo>
                    <a:pt x="1384" y="144"/>
                  </a:lnTo>
                  <a:lnTo>
                    <a:pt x="1383" y="142"/>
                  </a:lnTo>
                  <a:lnTo>
                    <a:pt x="1380" y="136"/>
                  </a:lnTo>
                  <a:lnTo>
                    <a:pt x="1374" y="127"/>
                  </a:lnTo>
                  <a:lnTo>
                    <a:pt x="1371" y="123"/>
                  </a:lnTo>
                  <a:lnTo>
                    <a:pt x="1366" y="120"/>
                  </a:lnTo>
                  <a:lnTo>
                    <a:pt x="1361" y="118"/>
                  </a:lnTo>
                  <a:lnTo>
                    <a:pt x="1356" y="117"/>
                  </a:lnTo>
                  <a:lnTo>
                    <a:pt x="1347" y="117"/>
                  </a:lnTo>
                  <a:lnTo>
                    <a:pt x="1341" y="116"/>
                  </a:lnTo>
                  <a:lnTo>
                    <a:pt x="1340" y="116"/>
                  </a:lnTo>
                  <a:lnTo>
                    <a:pt x="1339" y="116"/>
                  </a:lnTo>
                  <a:lnTo>
                    <a:pt x="1338" y="117"/>
                  </a:lnTo>
                  <a:lnTo>
                    <a:pt x="1337" y="119"/>
                  </a:lnTo>
                  <a:lnTo>
                    <a:pt x="1333" y="123"/>
                  </a:lnTo>
                  <a:lnTo>
                    <a:pt x="1330" y="125"/>
                  </a:lnTo>
                  <a:lnTo>
                    <a:pt x="1329" y="126"/>
                  </a:lnTo>
                  <a:lnTo>
                    <a:pt x="1328" y="127"/>
                  </a:lnTo>
                  <a:lnTo>
                    <a:pt x="1328" y="130"/>
                  </a:lnTo>
                  <a:lnTo>
                    <a:pt x="1330" y="132"/>
                  </a:lnTo>
                  <a:lnTo>
                    <a:pt x="1331" y="138"/>
                  </a:lnTo>
                  <a:lnTo>
                    <a:pt x="1332" y="143"/>
                  </a:lnTo>
                  <a:lnTo>
                    <a:pt x="1333" y="146"/>
                  </a:lnTo>
                  <a:lnTo>
                    <a:pt x="1334" y="149"/>
                  </a:lnTo>
                  <a:lnTo>
                    <a:pt x="1337" y="152"/>
                  </a:lnTo>
                  <a:lnTo>
                    <a:pt x="1340" y="154"/>
                  </a:lnTo>
                  <a:lnTo>
                    <a:pt x="1343" y="155"/>
                  </a:lnTo>
                  <a:lnTo>
                    <a:pt x="1347" y="155"/>
                  </a:lnTo>
                  <a:lnTo>
                    <a:pt x="1350" y="154"/>
                  </a:lnTo>
                  <a:lnTo>
                    <a:pt x="1353" y="153"/>
                  </a:lnTo>
                  <a:lnTo>
                    <a:pt x="1355" y="152"/>
                  </a:lnTo>
                  <a:lnTo>
                    <a:pt x="1357" y="152"/>
                  </a:lnTo>
                  <a:lnTo>
                    <a:pt x="1359" y="153"/>
                  </a:lnTo>
                  <a:lnTo>
                    <a:pt x="1359" y="155"/>
                  </a:lnTo>
                  <a:lnTo>
                    <a:pt x="1359" y="160"/>
                  </a:lnTo>
                  <a:lnTo>
                    <a:pt x="1359" y="163"/>
                  </a:lnTo>
                  <a:lnTo>
                    <a:pt x="1359" y="165"/>
                  </a:lnTo>
                  <a:lnTo>
                    <a:pt x="1361" y="167"/>
                  </a:lnTo>
                  <a:lnTo>
                    <a:pt x="1364" y="169"/>
                  </a:lnTo>
                  <a:lnTo>
                    <a:pt x="1370" y="171"/>
                  </a:lnTo>
                  <a:lnTo>
                    <a:pt x="1390" y="176"/>
                  </a:lnTo>
                  <a:lnTo>
                    <a:pt x="1400" y="178"/>
                  </a:lnTo>
                  <a:lnTo>
                    <a:pt x="1400" y="180"/>
                  </a:lnTo>
                  <a:lnTo>
                    <a:pt x="1399" y="182"/>
                  </a:lnTo>
                  <a:lnTo>
                    <a:pt x="1398" y="184"/>
                  </a:lnTo>
                  <a:lnTo>
                    <a:pt x="1396" y="186"/>
                  </a:lnTo>
                  <a:lnTo>
                    <a:pt x="1391" y="189"/>
                  </a:lnTo>
                  <a:lnTo>
                    <a:pt x="1383" y="191"/>
                  </a:lnTo>
                  <a:lnTo>
                    <a:pt x="1376" y="192"/>
                  </a:lnTo>
                  <a:lnTo>
                    <a:pt x="1368" y="194"/>
                  </a:lnTo>
                  <a:lnTo>
                    <a:pt x="1364" y="196"/>
                  </a:lnTo>
                  <a:lnTo>
                    <a:pt x="1360" y="197"/>
                  </a:lnTo>
                  <a:lnTo>
                    <a:pt x="1357" y="197"/>
                  </a:lnTo>
                  <a:lnTo>
                    <a:pt x="1355" y="196"/>
                  </a:lnTo>
                  <a:lnTo>
                    <a:pt x="1349" y="192"/>
                  </a:lnTo>
                  <a:lnTo>
                    <a:pt x="1342" y="190"/>
                  </a:lnTo>
                  <a:lnTo>
                    <a:pt x="1338" y="190"/>
                  </a:lnTo>
                  <a:lnTo>
                    <a:pt x="1334" y="190"/>
                  </a:lnTo>
                  <a:lnTo>
                    <a:pt x="1330" y="191"/>
                  </a:lnTo>
                  <a:lnTo>
                    <a:pt x="1326" y="193"/>
                  </a:lnTo>
                  <a:lnTo>
                    <a:pt x="1314" y="200"/>
                  </a:lnTo>
                  <a:lnTo>
                    <a:pt x="1301" y="207"/>
                  </a:lnTo>
                  <a:lnTo>
                    <a:pt x="1295" y="211"/>
                  </a:lnTo>
                  <a:lnTo>
                    <a:pt x="1291" y="214"/>
                  </a:lnTo>
                  <a:lnTo>
                    <a:pt x="1290" y="217"/>
                  </a:lnTo>
                  <a:lnTo>
                    <a:pt x="1289" y="218"/>
                  </a:lnTo>
                  <a:lnTo>
                    <a:pt x="1289" y="219"/>
                  </a:lnTo>
                  <a:lnTo>
                    <a:pt x="1289" y="220"/>
                  </a:lnTo>
                  <a:lnTo>
                    <a:pt x="1296" y="221"/>
                  </a:lnTo>
                  <a:lnTo>
                    <a:pt x="1307" y="221"/>
                  </a:lnTo>
                  <a:lnTo>
                    <a:pt x="1316" y="219"/>
                  </a:lnTo>
                  <a:lnTo>
                    <a:pt x="1321" y="218"/>
                  </a:lnTo>
                  <a:lnTo>
                    <a:pt x="1326" y="215"/>
                  </a:lnTo>
                  <a:lnTo>
                    <a:pt x="1333" y="212"/>
                  </a:lnTo>
                  <a:lnTo>
                    <a:pt x="1336" y="211"/>
                  </a:lnTo>
                  <a:lnTo>
                    <a:pt x="1338" y="211"/>
                  </a:lnTo>
                  <a:lnTo>
                    <a:pt x="1339" y="212"/>
                  </a:lnTo>
                  <a:lnTo>
                    <a:pt x="1338" y="214"/>
                  </a:lnTo>
                  <a:lnTo>
                    <a:pt x="1334" y="221"/>
                  </a:lnTo>
                  <a:lnTo>
                    <a:pt x="1329" y="226"/>
                  </a:lnTo>
                  <a:lnTo>
                    <a:pt x="1326" y="229"/>
                  </a:lnTo>
                  <a:lnTo>
                    <a:pt x="1325" y="231"/>
                  </a:lnTo>
                  <a:lnTo>
                    <a:pt x="1323" y="233"/>
                  </a:lnTo>
                  <a:lnTo>
                    <a:pt x="1325" y="236"/>
                  </a:lnTo>
                  <a:lnTo>
                    <a:pt x="1327" y="242"/>
                  </a:lnTo>
                  <a:lnTo>
                    <a:pt x="1330" y="247"/>
                  </a:lnTo>
                  <a:lnTo>
                    <a:pt x="1331" y="249"/>
                  </a:lnTo>
                  <a:lnTo>
                    <a:pt x="1333" y="250"/>
                  </a:lnTo>
                  <a:lnTo>
                    <a:pt x="1335" y="251"/>
                  </a:lnTo>
                  <a:lnTo>
                    <a:pt x="1338" y="251"/>
                  </a:lnTo>
                  <a:lnTo>
                    <a:pt x="1347" y="248"/>
                  </a:lnTo>
                  <a:lnTo>
                    <a:pt x="1359" y="243"/>
                  </a:lnTo>
                  <a:lnTo>
                    <a:pt x="1364" y="240"/>
                  </a:lnTo>
                  <a:lnTo>
                    <a:pt x="1370" y="239"/>
                  </a:lnTo>
                  <a:lnTo>
                    <a:pt x="1373" y="237"/>
                  </a:lnTo>
                  <a:lnTo>
                    <a:pt x="1374" y="239"/>
                  </a:lnTo>
                  <a:lnTo>
                    <a:pt x="1373" y="241"/>
                  </a:lnTo>
                  <a:lnTo>
                    <a:pt x="1372" y="243"/>
                  </a:lnTo>
                  <a:lnTo>
                    <a:pt x="1370" y="246"/>
                  </a:lnTo>
                  <a:lnTo>
                    <a:pt x="1366" y="249"/>
                  </a:lnTo>
                  <a:lnTo>
                    <a:pt x="1360" y="254"/>
                  </a:lnTo>
                  <a:lnTo>
                    <a:pt x="1355" y="257"/>
                  </a:lnTo>
                  <a:lnTo>
                    <a:pt x="1350" y="262"/>
                  </a:lnTo>
                  <a:lnTo>
                    <a:pt x="1344" y="267"/>
                  </a:lnTo>
                  <a:lnTo>
                    <a:pt x="1341" y="268"/>
                  </a:lnTo>
                  <a:lnTo>
                    <a:pt x="1337" y="269"/>
                  </a:lnTo>
                  <a:lnTo>
                    <a:pt x="1333" y="269"/>
                  </a:lnTo>
                  <a:lnTo>
                    <a:pt x="1328" y="268"/>
                  </a:lnTo>
                  <a:lnTo>
                    <a:pt x="1316" y="264"/>
                  </a:lnTo>
                  <a:lnTo>
                    <a:pt x="1306" y="259"/>
                  </a:lnTo>
                  <a:lnTo>
                    <a:pt x="1301" y="257"/>
                  </a:lnTo>
                  <a:lnTo>
                    <a:pt x="1298" y="255"/>
                  </a:lnTo>
                  <a:lnTo>
                    <a:pt x="1297" y="253"/>
                  </a:lnTo>
                  <a:lnTo>
                    <a:pt x="1296" y="251"/>
                  </a:lnTo>
                  <a:lnTo>
                    <a:pt x="1299" y="247"/>
                  </a:lnTo>
                  <a:lnTo>
                    <a:pt x="1303" y="242"/>
                  </a:lnTo>
                  <a:lnTo>
                    <a:pt x="1303" y="241"/>
                  </a:lnTo>
                  <a:lnTo>
                    <a:pt x="1301" y="239"/>
                  </a:lnTo>
                  <a:lnTo>
                    <a:pt x="1298" y="239"/>
                  </a:lnTo>
                  <a:lnTo>
                    <a:pt x="1294" y="240"/>
                  </a:lnTo>
                  <a:lnTo>
                    <a:pt x="1288" y="241"/>
                  </a:lnTo>
                  <a:lnTo>
                    <a:pt x="1284" y="241"/>
                  </a:lnTo>
                  <a:lnTo>
                    <a:pt x="1279" y="240"/>
                  </a:lnTo>
                  <a:lnTo>
                    <a:pt x="1276" y="239"/>
                  </a:lnTo>
                  <a:lnTo>
                    <a:pt x="1273" y="239"/>
                  </a:lnTo>
                  <a:lnTo>
                    <a:pt x="1272" y="240"/>
                  </a:lnTo>
                  <a:lnTo>
                    <a:pt x="1271" y="242"/>
                  </a:lnTo>
                  <a:lnTo>
                    <a:pt x="1271" y="247"/>
                  </a:lnTo>
                  <a:lnTo>
                    <a:pt x="1272" y="252"/>
                  </a:lnTo>
                  <a:lnTo>
                    <a:pt x="1273" y="255"/>
                  </a:lnTo>
                  <a:lnTo>
                    <a:pt x="1275" y="258"/>
                  </a:lnTo>
                  <a:lnTo>
                    <a:pt x="1277" y="261"/>
                  </a:lnTo>
                  <a:lnTo>
                    <a:pt x="1282" y="263"/>
                  </a:lnTo>
                  <a:lnTo>
                    <a:pt x="1287" y="266"/>
                  </a:lnTo>
                  <a:lnTo>
                    <a:pt x="1292" y="268"/>
                  </a:lnTo>
                  <a:lnTo>
                    <a:pt x="1296" y="270"/>
                  </a:lnTo>
                  <a:lnTo>
                    <a:pt x="1297" y="271"/>
                  </a:lnTo>
                  <a:lnTo>
                    <a:pt x="1297" y="272"/>
                  </a:lnTo>
                  <a:lnTo>
                    <a:pt x="1296" y="273"/>
                  </a:lnTo>
                  <a:lnTo>
                    <a:pt x="1295" y="275"/>
                  </a:lnTo>
                  <a:lnTo>
                    <a:pt x="1284" y="279"/>
                  </a:lnTo>
                  <a:lnTo>
                    <a:pt x="1271" y="284"/>
                  </a:lnTo>
                  <a:lnTo>
                    <a:pt x="1255" y="293"/>
                  </a:lnTo>
                  <a:lnTo>
                    <a:pt x="1241" y="301"/>
                  </a:lnTo>
                  <a:lnTo>
                    <a:pt x="1237" y="306"/>
                  </a:lnTo>
                  <a:lnTo>
                    <a:pt x="1230" y="310"/>
                  </a:lnTo>
                  <a:lnTo>
                    <a:pt x="1227" y="312"/>
                  </a:lnTo>
                  <a:lnTo>
                    <a:pt x="1224" y="313"/>
                  </a:lnTo>
                  <a:lnTo>
                    <a:pt x="1222" y="314"/>
                  </a:lnTo>
                  <a:lnTo>
                    <a:pt x="1220" y="313"/>
                  </a:lnTo>
                  <a:lnTo>
                    <a:pt x="1212" y="313"/>
                  </a:lnTo>
                  <a:lnTo>
                    <a:pt x="1199" y="315"/>
                  </a:lnTo>
                  <a:lnTo>
                    <a:pt x="1187" y="316"/>
                  </a:lnTo>
                  <a:lnTo>
                    <a:pt x="1182" y="317"/>
                  </a:lnTo>
                  <a:lnTo>
                    <a:pt x="1182" y="317"/>
                  </a:lnTo>
                  <a:lnTo>
                    <a:pt x="1183" y="316"/>
                  </a:lnTo>
                  <a:lnTo>
                    <a:pt x="1182" y="314"/>
                  </a:lnTo>
                  <a:lnTo>
                    <a:pt x="1178" y="310"/>
                  </a:lnTo>
                  <a:lnTo>
                    <a:pt x="1172" y="305"/>
                  </a:lnTo>
                  <a:lnTo>
                    <a:pt x="1166" y="300"/>
                  </a:lnTo>
                  <a:lnTo>
                    <a:pt x="1161" y="298"/>
                  </a:lnTo>
                  <a:lnTo>
                    <a:pt x="1156" y="298"/>
                  </a:lnTo>
                  <a:lnTo>
                    <a:pt x="1146" y="298"/>
                  </a:lnTo>
                  <a:lnTo>
                    <a:pt x="1141" y="298"/>
                  </a:lnTo>
                  <a:lnTo>
                    <a:pt x="1137" y="299"/>
                  </a:lnTo>
                  <a:lnTo>
                    <a:pt x="1133" y="299"/>
                  </a:lnTo>
                  <a:lnTo>
                    <a:pt x="1129" y="302"/>
                  </a:lnTo>
                  <a:lnTo>
                    <a:pt x="1127" y="303"/>
                  </a:lnTo>
                  <a:close/>
                  <a:moveTo>
                    <a:pt x="1227" y="268"/>
                  </a:moveTo>
                  <a:lnTo>
                    <a:pt x="1224" y="276"/>
                  </a:lnTo>
                  <a:lnTo>
                    <a:pt x="1219" y="283"/>
                  </a:lnTo>
                  <a:lnTo>
                    <a:pt x="1219" y="284"/>
                  </a:lnTo>
                  <a:lnTo>
                    <a:pt x="1220" y="287"/>
                  </a:lnTo>
                  <a:lnTo>
                    <a:pt x="1221" y="288"/>
                  </a:lnTo>
                  <a:lnTo>
                    <a:pt x="1222" y="288"/>
                  </a:lnTo>
                  <a:lnTo>
                    <a:pt x="1224" y="289"/>
                  </a:lnTo>
                  <a:lnTo>
                    <a:pt x="1226" y="288"/>
                  </a:lnTo>
                  <a:lnTo>
                    <a:pt x="1234" y="284"/>
                  </a:lnTo>
                  <a:lnTo>
                    <a:pt x="1242" y="278"/>
                  </a:lnTo>
                  <a:lnTo>
                    <a:pt x="1244" y="275"/>
                  </a:lnTo>
                  <a:lnTo>
                    <a:pt x="1243" y="271"/>
                  </a:lnTo>
                  <a:lnTo>
                    <a:pt x="1241" y="268"/>
                  </a:lnTo>
                  <a:lnTo>
                    <a:pt x="1240" y="266"/>
                  </a:lnTo>
                  <a:lnTo>
                    <a:pt x="1238" y="264"/>
                  </a:lnTo>
                  <a:lnTo>
                    <a:pt x="1234" y="262"/>
                  </a:lnTo>
                  <a:lnTo>
                    <a:pt x="1231" y="261"/>
                  </a:lnTo>
                  <a:lnTo>
                    <a:pt x="1229" y="262"/>
                  </a:lnTo>
                  <a:lnTo>
                    <a:pt x="1228" y="266"/>
                  </a:lnTo>
                  <a:lnTo>
                    <a:pt x="1227" y="268"/>
                  </a:lnTo>
                  <a:close/>
                  <a:moveTo>
                    <a:pt x="1143" y="274"/>
                  </a:moveTo>
                  <a:lnTo>
                    <a:pt x="1147" y="276"/>
                  </a:lnTo>
                  <a:lnTo>
                    <a:pt x="1156" y="277"/>
                  </a:lnTo>
                  <a:lnTo>
                    <a:pt x="1165" y="278"/>
                  </a:lnTo>
                  <a:lnTo>
                    <a:pt x="1172" y="277"/>
                  </a:lnTo>
                  <a:lnTo>
                    <a:pt x="1176" y="276"/>
                  </a:lnTo>
                  <a:lnTo>
                    <a:pt x="1181" y="276"/>
                  </a:lnTo>
                  <a:lnTo>
                    <a:pt x="1183" y="276"/>
                  </a:lnTo>
                  <a:lnTo>
                    <a:pt x="1185" y="274"/>
                  </a:lnTo>
                  <a:lnTo>
                    <a:pt x="1186" y="273"/>
                  </a:lnTo>
                  <a:lnTo>
                    <a:pt x="1186" y="270"/>
                  </a:lnTo>
                  <a:lnTo>
                    <a:pt x="1185" y="267"/>
                  </a:lnTo>
                  <a:lnTo>
                    <a:pt x="1183" y="265"/>
                  </a:lnTo>
                  <a:lnTo>
                    <a:pt x="1180" y="263"/>
                  </a:lnTo>
                  <a:lnTo>
                    <a:pt x="1177" y="263"/>
                  </a:lnTo>
                  <a:lnTo>
                    <a:pt x="1171" y="263"/>
                  </a:lnTo>
                  <a:lnTo>
                    <a:pt x="1166" y="263"/>
                  </a:lnTo>
                  <a:lnTo>
                    <a:pt x="1164" y="263"/>
                  </a:lnTo>
                  <a:lnTo>
                    <a:pt x="1160" y="263"/>
                  </a:lnTo>
                  <a:lnTo>
                    <a:pt x="1156" y="264"/>
                  </a:lnTo>
                  <a:lnTo>
                    <a:pt x="1152" y="266"/>
                  </a:lnTo>
                  <a:lnTo>
                    <a:pt x="1145" y="271"/>
                  </a:lnTo>
                  <a:lnTo>
                    <a:pt x="1143" y="274"/>
                  </a:lnTo>
                  <a:close/>
                  <a:moveTo>
                    <a:pt x="984" y="288"/>
                  </a:moveTo>
                  <a:lnTo>
                    <a:pt x="983" y="290"/>
                  </a:lnTo>
                  <a:lnTo>
                    <a:pt x="982" y="293"/>
                  </a:lnTo>
                  <a:lnTo>
                    <a:pt x="981" y="298"/>
                  </a:lnTo>
                  <a:lnTo>
                    <a:pt x="981" y="303"/>
                  </a:lnTo>
                  <a:lnTo>
                    <a:pt x="981" y="309"/>
                  </a:lnTo>
                  <a:lnTo>
                    <a:pt x="981" y="314"/>
                  </a:lnTo>
                  <a:lnTo>
                    <a:pt x="983" y="318"/>
                  </a:lnTo>
                  <a:lnTo>
                    <a:pt x="985" y="322"/>
                  </a:lnTo>
                  <a:lnTo>
                    <a:pt x="987" y="324"/>
                  </a:lnTo>
                  <a:lnTo>
                    <a:pt x="991" y="325"/>
                  </a:lnTo>
                  <a:lnTo>
                    <a:pt x="995" y="327"/>
                  </a:lnTo>
                  <a:lnTo>
                    <a:pt x="999" y="325"/>
                  </a:lnTo>
                  <a:lnTo>
                    <a:pt x="1003" y="324"/>
                  </a:lnTo>
                  <a:lnTo>
                    <a:pt x="1005" y="323"/>
                  </a:lnTo>
                  <a:lnTo>
                    <a:pt x="1007" y="320"/>
                  </a:lnTo>
                  <a:lnTo>
                    <a:pt x="1006" y="318"/>
                  </a:lnTo>
                  <a:lnTo>
                    <a:pt x="998" y="306"/>
                  </a:lnTo>
                  <a:lnTo>
                    <a:pt x="991" y="297"/>
                  </a:lnTo>
                  <a:lnTo>
                    <a:pt x="987" y="292"/>
                  </a:lnTo>
                  <a:lnTo>
                    <a:pt x="984" y="288"/>
                  </a:lnTo>
                  <a:close/>
                  <a:moveTo>
                    <a:pt x="1115" y="164"/>
                  </a:moveTo>
                  <a:lnTo>
                    <a:pt x="1114" y="167"/>
                  </a:lnTo>
                  <a:lnTo>
                    <a:pt x="1114" y="170"/>
                  </a:lnTo>
                  <a:lnTo>
                    <a:pt x="1115" y="174"/>
                  </a:lnTo>
                  <a:lnTo>
                    <a:pt x="1117" y="177"/>
                  </a:lnTo>
                  <a:lnTo>
                    <a:pt x="1119" y="179"/>
                  </a:lnTo>
                  <a:lnTo>
                    <a:pt x="1121" y="181"/>
                  </a:lnTo>
                  <a:lnTo>
                    <a:pt x="1123" y="181"/>
                  </a:lnTo>
                  <a:lnTo>
                    <a:pt x="1125" y="179"/>
                  </a:lnTo>
                  <a:lnTo>
                    <a:pt x="1131" y="174"/>
                  </a:lnTo>
                  <a:lnTo>
                    <a:pt x="1136" y="167"/>
                  </a:lnTo>
                  <a:lnTo>
                    <a:pt x="1138" y="165"/>
                  </a:lnTo>
                  <a:lnTo>
                    <a:pt x="1140" y="162"/>
                  </a:lnTo>
                  <a:lnTo>
                    <a:pt x="1140" y="160"/>
                  </a:lnTo>
                  <a:lnTo>
                    <a:pt x="1139" y="159"/>
                  </a:lnTo>
                  <a:lnTo>
                    <a:pt x="1136" y="157"/>
                  </a:lnTo>
                  <a:lnTo>
                    <a:pt x="1135" y="156"/>
                  </a:lnTo>
                  <a:lnTo>
                    <a:pt x="1133" y="156"/>
                  </a:lnTo>
                  <a:lnTo>
                    <a:pt x="1130" y="157"/>
                  </a:lnTo>
                  <a:lnTo>
                    <a:pt x="1120" y="161"/>
                  </a:lnTo>
                  <a:lnTo>
                    <a:pt x="1115" y="164"/>
                  </a:lnTo>
                  <a:close/>
                  <a:moveTo>
                    <a:pt x="1124" y="220"/>
                  </a:moveTo>
                  <a:lnTo>
                    <a:pt x="1123" y="223"/>
                  </a:lnTo>
                  <a:lnTo>
                    <a:pt x="1124" y="226"/>
                  </a:lnTo>
                  <a:lnTo>
                    <a:pt x="1125" y="229"/>
                  </a:lnTo>
                  <a:lnTo>
                    <a:pt x="1128" y="231"/>
                  </a:lnTo>
                  <a:lnTo>
                    <a:pt x="1131" y="236"/>
                  </a:lnTo>
                  <a:lnTo>
                    <a:pt x="1132" y="241"/>
                  </a:lnTo>
                  <a:lnTo>
                    <a:pt x="1128" y="245"/>
                  </a:lnTo>
                  <a:lnTo>
                    <a:pt x="1122" y="248"/>
                  </a:lnTo>
                  <a:lnTo>
                    <a:pt x="1121" y="249"/>
                  </a:lnTo>
                  <a:lnTo>
                    <a:pt x="1120" y="252"/>
                  </a:lnTo>
                  <a:lnTo>
                    <a:pt x="1122" y="254"/>
                  </a:lnTo>
                  <a:lnTo>
                    <a:pt x="1125" y="257"/>
                  </a:lnTo>
                  <a:lnTo>
                    <a:pt x="1131" y="261"/>
                  </a:lnTo>
                  <a:lnTo>
                    <a:pt x="1136" y="262"/>
                  </a:lnTo>
                  <a:lnTo>
                    <a:pt x="1139" y="262"/>
                  </a:lnTo>
                  <a:lnTo>
                    <a:pt x="1143" y="261"/>
                  </a:lnTo>
                  <a:lnTo>
                    <a:pt x="1149" y="258"/>
                  </a:lnTo>
                  <a:lnTo>
                    <a:pt x="1153" y="255"/>
                  </a:lnTo>
                  <a:lnTo>
                    <a:pt x="1160" y="252"/>
                  </a:lnTo>
                  <a:lnTo>
                    <a:pt x="1168" y="249"/>
                  </a:lnTo>
                  <a:lnTo>
                    <a:pt x="1173" y="246"/>
                  </a:lnTo>
                  <a:lnTo>
                    <a:pt x="1175" y="244"/>
                  </a:lnTo>
                  <a:lnTo>
                    <a:pt x="1176" y="243"/>
                  </a:lnTo>
                  <a:lnTo>
                    <a:pt x="1176" y="241"/>
                  </a:lnTo>
                  <a:lnTo>
                    <a:pt x="1176" y="240"/>
                  </a:lnTo>
                  <a:lnTo>
                    <a:pt x="1175" y="237"/>
                  </a:lnTo>
                  <a:lnTo>
                    <a:pt x="1172" y="231"/>
                  </a:lnTo>
                  <a:lnTo>
                    <a:pt x="1171" y="225"/>
                  </a:lnTo>
                  <a:lnTo>
                    <a:pt x="1168" y="223"/>
                  </a:lnTo>
                  <a:lnTo>
                    <a:pt x="1165" y="221"/>
                  </a:lnTo>
                  <a:lnTo>
                    <a:pt x="1160" y="219"/>
                  </a:lnTo>
                  <a:lnTo>
                    <a:pt x="1154" y="218"/>
                  </a:lnTo>
                  <a:lnTo>
                    <a:pt x="1139" y="218"/>
                  </a:lnTo>
                  <a:lnTo>
                    <a:pt x="1131" y="218"/>
                  </a:lnTo>
                  <a:lnTo>
                    <a:pt x="1125" y="220"/>
                  </a:lnTo>
                  <a:lnTo>
                    <a:pt x="1124" y="220"/>
                  </a:lnTo>
                  <a:close/>
                  <a:moveTo>
                    <a:pt x="1007" y="218"/>
                  </a:moveTo>
                  <a:lnTo>
                    <a:pt x="1006" y="220"/>
                  </a:lnTo>
                  <a:lnTo>
                    <a:pt x="1005" y="222"/>
                  </a:lnTo>
                  <a:lnTo>
                    <a:pt x="1005" y="223"/>
                  </a:lnTo>
                  <a:lnTo>
                    <a:pt x="1005" y="225"/>
                  </a:lnTo>
                  <a:lnTo>
                    <a:pt x="1007" y="227"/>
                  </a:lnTo>
                  <a:lnTo>
                    <a:pt x="1011" y="228"/>
                  </a:lnTo>
                  <a:lnTo>
                    <a:pt x="1019" y="231"/>
                  </a:lnTo>
                  <a:lnTo>
                    <a:pt x="1024" y="233"/>
                  </a:lnTo>
                  <a:lnTo>
                    <a:pt x="1029" y="235"/>
                  </a:lnTo>
                  <a:lnTo>
                    <a:pt x="1034" y="235"/>
                  </a:lnTo>
                  <a:lnTo>
                    <a:pt x="1036" y="236"/>
                  </a:lnTo>
                  <a:lnTo>
                    <a:pt x="1037" y="237"/>
                  </a:lnTo>
                  <a:lnTo>
                    <a:pt x="1036" y="239"/>
                  </a:lnTo>
                  <a:lnTo>
                    <a:pt x="1032" y="242"/>
                  </a:lnTo>
                  <a:lnTo>
                    <a:pt x="1023" y="247"/>
                  </a:lnTo>
                  <a:lnTo>
                    <a:pt x="1014" y="249"/>
                  </a:lnTo>
                  <a:lnTo>
                    <a:pt x="1012" y="250"/>
                  </a:lnTo>
                  <a:lnTo>
                    <a:pt x="1010" y="251"/>
                  </a:lnTo>
                  <a:lnTo>
                    <a:pt x="1010" y="252"/>
                  </a:lnTo>
                  <a:lnTo>
                    <a:pt x="1010" y="253"/>
                  </a:lnTo>
                  <a:lnTo>
                    <a:pt x="1011" y="255"/>
                  </a:lnTo>
                  <a:lnTo>
                    <a:pt x="1013" y="256"/>
                  </a:lnTo>
                  <a:lnTo>
                    <a:pt x="1015" y="258"/>
                  </a:lnTo>
                  <a:lnTo>
                    <a:pt x="1019" y="258"/>
                  </a:lnTo>
                  <a:lnTo>
                    <a:pt x="1024" y="259"/>
                  </a:lnTo>
                  <a:lnTo>
                    <a:pt x="1030" y="259"/>
                  </a:lnTo>
                  <a:lnTo>
                    <a:pt x="1043" y="254"/>
                  </a:lnTo>
                  <a:lnTo>
                    <a:pt x="1052" y="251"/>
                  </a:lnTo>
                  <a:lnTo>
                    <a:pt x="1056" y="253"/>
                  </a:lnTo>
                  <a:lnTo>
                    <a:pt x="1062" y="254"/>
                  </a:lnTo>
                  <a:lnTo>
                    <a:pt x="1065" y="254"/>
                  </a:lnTo>
                  <a:lnTo>
                    <a:pt x="1067" y="255"/>
                  </a:lnTo>
                  <a:lnTo>
                    <a:pt x="1068" y="256"/>
                  </a:lnTo>
                  <a:lnTo>
                    <a:pt x="1068" y="258"/>
                  </a:lnTo>
                  <a:lnTo>
                    <a:pt x="1067" y="262"/>
                  </a:lnTo>
                  <a:lnTo>
                    <a:pt x="1066" y="264"/>
                  </a:lnTo>
                  <a:lnTo>
                    <a:pt x="1066" y="266"/>
                  </a:lnTo>
                  <a:lnTo>
                    <a:pt x="1067" y="267"/>
                  </a:lnTo>
                  <a:lnTo>
                    <a:pt x="1070" y="268"/>
                  </a:lnTo>
                  <a:lnTo>
                    <a:pt x="1074" y="268"/>
                  </a:lnTo>
                  <a:lnTo>
                    <a:pt x="1081" y="270"/>
                  </a:lnTo>
                  <a:lnTo>
                    <a:pt x="1086" y="271"/>
                  </a:lnTo>
                  <a:lnTo>
                    <a:pt x="1088" y="270"/>
                  </a:lnTo>
                  <a:lnTo>
                    <a:pt x="1089" y="269"/>
                  </a:lnTo>
                  <a:lnTo>
                    <a:pt x="1091" y="267"/>
                  </a:lnTo>
                  <a:lnTo>
                    <a:pt x="1092" y="264"/>
                  </a:lnTo>
                  <a:lnTo>
                    <a:pt x="1094" y="261"/>
                  </a:lnTo>
                  <a:lnTo>
                    <a:pt x="1095" y="256"/>
                  </a:lnTo>
                  <a:lnTo>
                    <a:pt x="1095" y="253"/>
                  </a:lnTo>
                  <a:lnTo>
                    <a:pt x="1095" y="249"/>
                  </a:lnTo>
                  <a:lnTo>
                    <a:pt x="1095" y="243"/>
                  </a:lnTo>
                  <a:lnTo>
                    <a:pt x="1093" y="235"/>
                  </a:lnTo>
                  <a:lnTo>
                    <a:pt x="1092" y="232"/>
                  </a:lnTo>
                  <a:lnTo>
                    <a:pt x="1089" y="230"/>
                  </a:lnTo>
                  <a:lnTo>
                    <a:pt x="1084" y="227"/>
                  </a:lnTo>
                  <a:lnTo>
                    <a:pt x="1078" y="225"/>
                  </a:lnTo>
                  <a:lnTo>
                    <a:pt x="1066" y="222"/>
                  </a:lnTo>
                  <a:lnTo>
                    <a:pt x="1054" y="219"/>
                  </a:lnTo>
                  <a:lnTo>
                    <a:pt x="1043" y="212"/>
                  </a:lnTo>
                  <a:lnTo>
                    <a:pt x="1036" y="208"/>
                  </a:lnTo>
                  <a:lnTo>
                    <a:pt x="1033" y="208"/>
                  </a:lnTo>
                  <a:lnTo>
                    <a:pt x="1029" y="209"/>
                  </a:lnTo>
                  <a:lnTo>
                    <a:pt x="1023" y="210"/>
                  </a:lnTo>
                  <a:lnTo>
                    <a:pt x="1018" y="213"/>
                  </a:lnTo>
                  <a:lnTo>
                    <a:pt x="1009" y="218"/>
                  </a:lnTo>
                  <a:lnTo>
                    <a:pt x="1007" y="218"/>
                  </a:lnTo>
                  <a:close/>
                  <a:moveTo>
                    <a:pt x="875" y="290"/>
                  </a:moveTo>
                  <a:lnTo>
                    <a:pt x="877" y="291"/>
                  </a:lnTo>
                  <a:lnTo>
                    <a:pt x="880" y="292"/>
                  </a:lnTo>
                  <a:lnTo>
                    <a:pt x="884" y="291"/>
                  </a:lnTo>
                  <a:lnTo>
                    <a:pt x="889" y="291"/>
                  </a:lnTo>
                  <a:lnTo>
                    <a:pt x="897" y="289"/>
                  </a:lnTo>
                  <a:lnTo>
                    <a:pt x="901" y="288"/>
                  </a:lnTo>
                  <a:lnTo>
                    <a:pt x="905" y="288"/>
                  </a:lnTo>
                  <a:lnTo>
                    <a:pt x="915" y="287"/>
                  </a:lnTo>
                  <a:lnTo>
                    <a:pt x="919" y="286"/>
                  </a:lnTo>
                  <a:lnTo>
                    <a:pt x="924" y="284"/>
                  </a:lnTo>
                  <a:lnTo>
                    <a:pt x="927" y="283"/>
                  </a:lnTo>
                  <a:lnTo>
                    <a:pt x="930" y="280"/>
                  </a:lnTo>
                  <a:lnTo>
                    <a:pt x="931" y="275"/>
                  </a:lnTo>
                  <a:lnTo>
                    <a:pt x="931" y="269"/>
                  </a:lnTo>
                  <a:lnTo>
                    <a:pt x="930" y="266"/>
                  </a:lnTo>
                  <a:lnTo>
                    <a:pt x="928" y="264"/>
                  </a:lnTo>
                  <a:lnTo>
                    <a:pt x="926" y="262"/>
                  </a:lnTo>
                  <a:lnTo>
                    <a:pt x="923" y="262"/>
                  </a:lnTo>
                  <a:lnTo>
                    <a:pt x="918" y="265"/>
                  </a:lnTo>
                  <a:lnTo>
                    <a:pt x="908" y="272"/>
                  </a:lnTo>
                  <a:lnTo>
                    <a:pt x="897" y="278"/>
                  </a:lnTo>
                  <a:lnTo>
                    <a:pt x="887" y="284"/>
                  </a:lnTo>
                  <a:lnTo>
                    <a:pt x="878" y="289"/>
                  </a:lnTo>
                  <a:lnTo>
                    <a:pt x="875" y="290"/>
                  </a:lnTo>
                  <a:close/>
                  <a:moveTo>
                    <a:pt x="840" y="320"/>
                  </a:moveTo>
                  <a:lnTo>
                    <a:pt x="847" y="320"/>
                  </a:lnTo>
                  <a:lnTo>
                    <a:pt x="855" y="318"/>
                  </a:lnTo>
                  <a:lnTo>
                    <a:pt x="858" y="318"/>
                  </a:lnTo>
                  <a:lnTo>
                    <a:pt x="861" y="318"/>
                  </a:lnTo>
                  <a:lnTo>
                    <a:pt x="864" y="319"/>
                  </a:lnTo>
                  <a:lnTo>
                    <a:pt x="862" y="321"/>
                  </a:lnTo>
                  <a:lnTo>
                    <a:pt x="862" y="324"/>
                  </a:lnTo>
                  <a:lnTo>
                    <a:pt x="864" y="327"/>
                  </a:lnTo>
                  <a:lnTo>
                    <a:pt x="866" y="329"/>
                  </a:lnTo>
                  <a:lnTo>
                    <a:pt x="869" y="330"/>
                  </a:lnTo>
                  <a:lnTo>
                    <a:pt x="876" y="332"/>
                  </a:lnTo>
                  <a:lnTo>
                    <a:pt x="882" y="333"/>
                  </a:lnTo>
                  <a:lnTo>
                    <a:pt x="886" y="332"/>
                  </a:lnTo>
                  <a:lnTo>
                    <a:pt x="890" y="329"/>
                  </a:lnTo>
                  <a:lnTo>
                    <a:pt x="895" y="323"/>
                  </a:lnTo>
                  <a:lnTo>
                    <a:pt x="901" y="318"/>
                  </a:lnTo>
                  <a:lnTo>
                    <a:pt x="911" y="308"/>
                  </a:lnTo>
                  <a:lnTo>
                    <a:pt x="915" y="303"/>
                  </a:lnTo>
                  <a:lnTo>
                    <a:pt x="918" y="301"/>
                  </a:lnTo>
                  <a:lnTo>
                    <a:pt x="925" y="298"/>
                  </a:lnTo>
                  <a:lnTo>
                    <a:pt x="930" y="296"/>
                  </a:lnTo>
                  <a:lnTo>
                    <a:pt x="932" y="294"/>
                  </a:lnTo>
                  <a:lnTo>
                    <a:pt x="934" y="292"/>
                  </a:lnTo>
                  <a:lnTo>
                    <a:pt x="933" y="291"/>
                  </a:lnTo>
                  <a:lnTo>
                    <a:pt x="930" y="290"/>
                  </a:lnTo>
                  <a:lnTo>
                    <a:pt x="924" y="290"/>
                  </a:lnTo>
                  <a:lnTo>
                    <a:pt x="916" y="291"/>
                  </a:lnTo>
                  <a:lnTo>
                    <a:pt x="900" y="297"/>
                  </a:lnTo>
                  <a:lnTo>
                    <a:pt x="888" y="305"/>
                  </a:lnTo>
                  <a:lnTo>
                    <a:pt x="881" y="309"/>
                  </a:lnTo>
                  <a:lnTo>
                    <a:pt x="880" y="310"/>
                  </a:lnTo>
                  <a:lnTo>
                    <a:pt x="878" y="311"/>
                  </a:lnTo>
                  <a:lnTo>
                    <a:pt x="877" y="311"/>
                  </a:lnTo>
                  <a:lnTo>
                    <a:pt x="875" y="310"/>
                  </a:lnTo>
                  <a:lnTo>
                    <a:pt x="867" y="311"/>
                  </a:lnTo>
                  <a:lnTo>
                    <a:pt x="855" y="315"/>
                  </a:lnTo>
                  <a:lnTo>
                    <a:pt x="845" y="318"/>
                  </a:lnTo>
                  <a:lnTo>
                    <a:pt x="840" y="320"/>
                  </a:lnTo>
                  <a:close/>
                  <a:moveTo>
                    <a:pt x="718" y="439"/>
                  </a:moveTo>
                  <a:lnTo>
                    <a:pt x="714" y="441"/>
                  </a:lnTo>
                  <a:lnTo>
                    <a:pt x="707" y="444"/>
                  </a:lnTo>
                  <a:lnTo>
                    <a:pt x="704" y="446"/>
                  </a:lnTo>
                  <a:lnTo>
                    <a:pt x="702" y="447"/>
                  </a:lnTo>
                  <a:lnTo>
                    <a:pt x="699" y="448"/>
                  </a:lnTo>
                  <a:lnTo>
                    <a:pt x="698" y="447"/>
                  </a:lnTo>
                  <a:lnTo>
                    <a:pt x="697" y="446"/>
                  </a:lnTo>
                  <a:lnTo>
                    <a:pt x="696" y="443"/>
                  </a:lnTo>
                  <a:lnTo>
                    <a:pt x="697" y="439"/>
                  </a:lnTo>
                  <a:lnTo>
                    <a:pt x="698" y="434"/>
                  </a:lnTo>
                  <a:lnTo>
                    <a:pt x="701" y="427"/>
                  </a:lnTo>
                  <a:lnTo>
                    <a:pt x="705" y="423"/>
                  </a:lnTo>
                  <a:lnTo>
                    <a:pt x="718" y="413"/>
                  </a:lnTo>
                  <a:lnTo>
                    <a:pt x="742" y="395"/>
                  </a:lnTo>
                  <a:lnTo>
                    <a:pt x="766" y="375"/>
                  </a:lnTo>
                  <a:lnTo>
                    <a:pt x="781" y="363"/>
                  </a:lnTo>
                  <a:lnTo>
                    <a:pt x="787" y="358"/>
                  </a:lnTo>
                  <a:lnTo>
                    <a:pt x="798" y="351"/>
                  </a:lnTo>
                  <a:lnTo>
                    <a:pt x="808" y="344"/>
                  </a:lnTo>
                  <a:lnTo>
                    <a:pt x="816" y="339"/>
                  </a:lnTo>
                  <a:lnTo>
                    <a:pt x="822" y="335"/>
                  </a:lnTo>
                  <a:lnTo>
                    <a:pt x="826" y="332"/>
                  </a:lnTo>
                  <a:lnTo>
                    <a:pt x="828" y="330"/>
                  </a:lnTo>
                  <a:lnTo>
                    <a:pt x="829" y="330"/>
                  </a:lnTo>
                  <a:lnTo>
                    <a:pt x="829" y="331"/>
                  </a:lnTo>
                  <a:lnTo>
                    <a:pt x="829" y="333"/>
                  </a:lnTo>
                  <a:lnTo>
                    <a:pt x="828" y="338"/>
                  </a:lnTo>
                  <a:lnTo>
                    <a:pt x="826" y="344"/>
                  </a:lnTo>
                  <a:lnTo>
                    <a:pt x="824" y="349"/>
                  </a:lnTo>
                  <a:lnTo>
                    <a:pt x="822" y="352"/>
                  </a:lnTo>
                  <a:lnTo>
                    <a:pt x="812" y="360"/>
                  </a:lnTo>
                  <a:lnTo>
                    <a:pt x="804" y="371"/>
                  </a:lnTo>
                  <a:lnTo>
                    <a:pt x="803" y="375"/>
                  </a:lnTo>
                  <a:lnTo>
                    <a:pt x="802" y="380"/>
                  </a:lnTo>
                  <a:lnTo>
                    <a:pt x="800" y="386"/>
                  </a:lnTo>
                  <a:lnTo>
                    <a:pt x="793" y="393"/>
                  </a:lnTo>
                  <a:lnTo>
                    <a:pt x="787" y="400"/>
                  </a:lnTo>
                  <a:lnTo>
                    <a:pt x="782" y="406"/>
                  </a:lnTo>
                  <a:lnTo>
                    <a:pt x="779" y="408"/>
                  </a:lnTo>
                  <a:lnTo>
                    <a:pt x="777" y="410"/>
                  </a:lnTo>
                  <a:lnTo>
                    <a:pt x="774" y="410"/>
                  </a:lnTo>
                  <a:lnTo>
                    <a:pt x="773" y="410"/>
                  </a:lnTo>
                  <a:lnTo>
                    <a:pt x="772" y="405"/>
                  </a:lnTo>
                  <a:lnTo>
                    <a:pt x="773" y="397"/>
                  </a:lnTo>
                  <a:lnTo>
                    <a:pt x="773" y="394"/>
                  </a:lnTo>
                  <a:lnTo>
                    <a:pt x="772" y="393"/>
                  </a:lnTo>
                  <a:lnTo>
                    <a:pt x="771" y="393"/>
                  </a:lnTo>
                  <a:lnTo>
                    <a:pt x="768" y="395"/>
                  </a:lnTo>
                  <a:lnTo>
                    <a:pt x="757" y="407"/>
                  </a:lnTo>
                  <a:lnTo>
                    <a:pt x="744" y="423"/>
                  </a:lnTo>
                  <a:lnTo>
                    <a:pt x="738" y="431"/>
                  </a:lnTo>
                  <a:lnTo>
                    <a:pt x="732" y="440"/>
                  </a:lnTo>
                  <a:lnTo>
                    <a:pt x="726" y="445"/>
                  </a:lnTo>
                  <a:lnTo>
                    <a:pt x="722" y="448"/>
                  </a:lnTo>
                  <a:lnTo>
                    <a:pt x="720" y="448"/>
                  </a:lnTo>
                  <a:lnTo>
                    <a:pt x="720" y="446"/>
                  </a:lnTo>
                  <a:lnTo>
                    <a:pt x="721" y="444"/>
                  </a:lnTo>
                  <a:lnTo>
                    <a:pt x="721" y="442"/>
                  </a:lnTo>
                  <a:lnTo>
                    <a:pt x="724" y="437"/>
                  </a:lnTo>
                  <a:lnTo>
                    <a:pt x="725" y="434"/>
                  </a:lnTo>
                  <a:lnTo>
                    <a:pt x="722" y="437"/>
                  </a:lnTo>
                  <a:lnTo>
                    <a:pt x="718" y="439"/>
                  </a:lnTo>
                  <a:close/>
                  <a:moveTo>
                    <a:pt x="748" y="451"/>
                  </a:moveTo>
                  <a:lnTo>
                    <a:pt x="755" y="448"/>
                  </a:lnTo>
                  <a:lnTo>
                    <a:pt x="760" y="444"/>
                  </a:lnTo>
                  <a:lnTo>
                    <a:pt x="763" y="441"/>
                  </a:lnTo>
                  <a:lnTo>
                    <a:pt x="765" y="439"/>
                  </a:lnTo>
                  <a:lnTo>
                    <a:pt x="766" y="435"/>
                  </a:lnTo>
                  <a:lnTo>
                    <a:pt x="767" y="431"/>
                  </a:lnTo>
                  <a:lnTo>
                    <a:pt x="769" y="425"/>
                  </a:lnTo>
                  <a:lnTo>
                    <a:pt x="770" y="419"/>
                  </a:lnTo>
                  <a:lnTo>
                    <a:pt x="771" y="418"/>
                  </a:lnTo>
                  <a:lnTo>
                    <a:pt x="771" y="417"/>
                  </a:lnTo>
                  <a:lnTo>
                    <a:pt x="770" y="417"/>
                  </a:lnTo>
                  <a:lnTo>
                    <a:pt x="769" y="418"/>
                  </a:lnTo>
                  <a:lnTo>
                    <a:pt x="756" y="429"/>
                  </a:lnTo>
                  <a:lnTo>
                    <a:pt x="744" y="440"/>
                  </a:lnTo>
                  <a:lnTo>
                    <a:pt x="742" y="448"/>
                  </a:lnTo>
                  <a:lnTo>
                    <a:pt x="743" y="453"/>
                  </a:lnTo>
                  <a:lnTo>
                    <a:pt x="746" y="451"/>
                  </a:lnTo>
                  <a:lnTo>
                    <a:pt x="748" y="451"/>
                  </a:lnTo>
                  <a:close/>
                  <a:moveTo>
                    <a:pt x="766" y="454"/>
                  </a:moveTo>
                  <a:lnTo>
                    <a:pt x="768" y="456"/>
                  </a:lnTo>
                  <a:lnTo>
                    <a:pt x="771" y="457"/>
                  </a:lnTo>
                  <a:lnTo>
                    <a:pt x="776" y="459"/>
                  </a:lnTo>
                  <a:lnTo>
                    <a:pt x="782" y="460"/>
                  </a:lnTo>
                  <a:lnTo>
                    <a:pt x="787" y="461"/>
                  </a:lnTo>
                  <a:lnTo>
                    <a:pt x="792" y="461"/>
                  </a:lnTo>
                  <a:lnTo>
                    <a:pt x="798" y="460"/>
                  </a:lnTo>
                  <a:lnTo>
                    <a:pt x="801" y="459"/>
                  </a:lnTo>
                  <a:lnTo>
                    <a:pt x="806" y="453"/>
                  </a:lnTo>
                  <a:lnTo>
                    <a:pt x="815" y="446"/>
                  </a:lnTo>
                  <a:lnTo>
                    <a:pt x="820" y="442"/>
                  </a:lnTo>
                  <a:lnTo>
                    <a:pt x="823" y="440"/>
                  </a:lnTo>
                  <a:lnTo>
                    <a:pt x="826" y="439"/>
                  </a:lnTo>
                  <a:lnTo>
                    <a:pt x="827" y="439"/>
                  </a:lnTo>
                  <a:lnTo>
                    <a:pt x="828" y="440"/>
                  </a:lnTo>
                  <a:lnTo>
                    <a:pt x="830" y="441"/>
                  </a:lnTo>
                  <a:lnTo>
                    <a:pt x="833" y="441"/>
                  </a:lnTo>
                  <a:lnTo>
                    <a:pt x="836" y="441"/>
                  </a:lnTo>
                  <a:lnTo>
                    <a:pt x="844" y="441"/>
                  </a:lnTo>
                  <a:lnTo>
                    <a:pt x="849" y="441"/>
                  </a:lnTo>
                  <a:lnTo>
                    <a:pt x="854" y="440"/>
                  </a:lnTo>
                  <a:lnTo>
                    <a:pt x="860" y="440"/>
                  </a:lnTo>
                  <a:lnTo>
                    <a:pt x="862" y="440"/>
                  </a:lnTo>
                  <a:lnTo>
                    <a:pt x="865" y="440"/>
                  </a:lnTo>
                  <a:lnTo>
                    <a:pt x="866" y="440"/>
                  </a:lnTo>
                  <a:lnTo>
                    <a:pt x="865" y="442"/>
                  </a:lnTo>
                  <a:lnTo>
                    <a:pt x="857" y="445"/>
                  </a:lnTo>
                  <a:lnTo>
                    <a:pt x="848" y="447"/>
                  </a:lnTo>
                  <a:lnTo>
                    <a:pt x="843" y="449"/>
                  </a:lnTo>
                  <a:lnTo>
                    <a:pt x="838" y="451"/>
                  </a:lnTo>
                  <a:lnTo>
                    <a:pt x="834" y="453"/>
                  </a:lnTo>
                  <a:lnTo>
                    <a:pt x="831" y="456"/>
                  </a:lnTo>
                  <a:lnTo>
                    <a:pt x="824" y="463"/>
                  </a:lnTo>
                  <a:lnTo>
                    <a:pt x="812" y="469"/>
                  </a:lnTo>
                  <a:lnTo>
                    <a:pt x="803" y="475"/>
                  </a:lnTo>
                  <a:lnTo>
                    <a:pt x="800" y="479"/>
                  </a:lnTo>
                  <a:lnTo>
                    <a:pt x="801" y="481"/>
                  </a:lnTo>
                  <a:lnTo>
                    <a:pt x="803" y="482"/>
                  </a:lnTo>
                  <a:lnTo>
                    <a:pt x="805" y="483"/>
                  </a:lnTo>
                  <a:lnTo>
                    <a:pt x="809" y="483"/>
                  </a:lnTo>
                  <a:lnTo>
                    <a:pt x="816" y="484"/>
                  </a:lnTo>
                  <a:lnTo>
                    <a:pt x="825" y="482"/>
                  </a:lnTo>
                  <a:lnTo>
                    <a:pt x="831" y="482"/>
                  </a:lnTo>
                  <a:lnTo>
                    <a:pt x="838" y="481"/>
                  </a:lnTo>
                  <a:lnTo>
                    <a:pt x="842" y="479"/>
                  </a:lnTo>
                  <a:lnTo>
                    <a:pt x="846" y="477"/>
                  </a:lnTo>
                  <a:lnTo>
                    <a:pt x="852" y="473"/>
                  </a:lnTo>
                  <a:lnTo>
                    <a:pt x="858" y="468"/>
                  </a:lnTo>
                  <a:lnTo>
                    <a:pt x="872" y="455"/>
                  </a:lnTo>
                  <a:lnTo>
                    <a:pt x="883" y="444"/>
                  </a:lnTo>
                  <a:lnTo>
                    <a:pt x="889" y="441"/>
                  </a:lnTo>
                  <a:lnTo>
                    <a:pt x="893" y="438"/>
                  </a:lnTo>
                  <a:lnTo>
                    <a:pt x="896" y="437"/>
                  </a:lnTo>
                  <a:lnTo>
                    <a:pt x="899" y="437"/>
                  </a:lnTo>
                  <a:lnTo>
                    <a:pt x="903" y="440"/>
                  </a:lnTo>
                  <a:lnTo>
                    <a:pt x="904" y="444"/>
                  </a:lnTo>
                  <a:lnTo>
                    <a:pt x="905" y="445"/>
                  </a:lnTo>
                  <a:lnTo>
                    <a:pt x="908" y="445"/>
                  </a:lnTo>
                  <a:lnTo>
                    <a:pt x="909" y="445"/>
                  </a:lnTo>
                  <a:lnTo>
                    <a:pt x="912" y="444"/>
                  </a:lnTo>
                  <a:lnTo>
                    <a:pt x="918" y="441"/>
                  </a:lnTo>
                  <a:lnTo>
                    <a:pt x="924" y="440"/>
                  </a:lnTo>
                  <a:lnTo>
                    <a:pt x="930" y="440"/>
                  </a:lnTo>
                  <a:lnTo>
                    <a:pt x="932" y="440"/>
                  </a:lnTo>
                  <a:lnTo>
                    <a:pt x="932" y="441"/>
                  </a:lnTo>
                  <a:lnTo>
                    <a:pt x="934" y="442"/>
                  </a:lnTo>
                  <a:lnTo>
                    <a:pt x="935" y="443"/>
                  </a:lnTo>
                  <a:lnTo>
                    <a:pt x="936" y="442"/>
                  </a:lnTo>
                  <a:lnTo>
                    <a:pt x="938" y="441"/>
                  </a:lnTo>
                  <a:lnTo>
                    <a:pt x="940" y="438"/>
                  </a:lnTo>
                  <a:lnTo>
                    <a:pt x="949" y="424"/>
                  </a:lnTo>
                  <a:lnTo>
                    <a:pt x="954" y="418"/>
                  </a:lnTo>
                  <a:lnTo>
                    <a:pt x="956" y="416"/>
                  </a:lnTo>
                  <a:lnTo>
                    <a:pt x="961" y="410"/>
                  </a:lnTo>
                  <a:lnTo>
                    <a:pt x="963" y="407"/>
                  </a:lnTo>
                  <a:lnTo>
                    <a:pt x="965" y="403"/>
                  </a:lnTo>
                  <a:lnTo>
                    <a:pt x="966" y="399"/>
                  </a:lnTo>
                  <a:lnTo>
                    <a:pt x="965" y="395"/>
                  </a:lnTo>
                  <a:lnTo>
                    <a:pt x="964" y="386"/>
                  </a:lnTo>
                  <a:lnTo>
                    <a:pt x="962" y="378"/>
                  </a:lnTo>
                  <a:lnTo>
                    <a:pt x="961" y="376"/>
                  </a:lnTo>
                  <a:lnTo>
                    <a:pt x="958" y="375"/>
                  </a:lnTo>
                  <a:lnTo>
                    <a:pt x="955" y="377"/>
                  </a:lnTo>
                  <a:lnTo>
                    <a:pt x="949" y="380"/>
                  </a:lnTo>
                  <a:lnTo>
                    <a:pt x="941" y="388"/>
                  </a:lnTo>
                  <a:lnTo>
                    <a:pt x="937" y="391"/>
                  </a:lnTo>
                  <a:lnTo>
                    <a:pt x="934" y="391"/>
                  </a:lnTo>
                  <a:lnTo>
                    <a:pt x="932" y="388"/>
                  </a:lnTo>
                  <a:lnTo>
                    <a:pt x="928" y="384"/>
                  </a:lnTo>
                  <a:lnTo>
                    <a:pt x="924" y="379"/>
                  </a:lnTo>
                  <a:lnTo>
                    <a:pt x="923" y="377"/>
                  </a:lnTo>
                  <a:lnTo>
                    <a:pt x="922" y="374"/>
                  </a:lnTo>
                  <a:lnTo>
                    <a:pt x="921" y="372"/>
                  </a:lnTo>
                  <a:lnTo>
                    <a:pt x="922" y="371"/>
                  </a:lnTo>
                  <a:lnTo>
                    <a:pt x="925" y="365"/>
                  </a:lnTo>
                  <a:lnTo>
                    <a:pt x="928" y="361"/>
                  </a:lnTo>
                  <a:lnTo>
                    <a:pt x="930" y="358"/>
                  </a:lnTo>
                  <a:lnTo>
                    <a:pt x="930" y="356"/>
                  </a:lnTo>
                  <a:lnTo>
                    <a:pt x="930" y="354"/>
                  </a:lnTo>
                  <a:lnTo>
                    <a:pt x="927" y="352"/>
                  </a:lnTo>
                  <a:lnTo>
                    <a:pt x="925" y="351"/>
                  </a:lnTo>
                  <a:lnTo>
                    <a:pt x="924" y="350"/>
                  </a:lnTo>
                  <a:lnTo>
                    <a:pt x="922" y="350"/>
                  </a:lnTo>
                  <a:lnTo>
                    <a:pt x="920" y="351"/>
                  </a:lnTo>
                  <a:lnTo>
                    <a:pt x="915" y="354"/>
                  </a:lnTo>
                  <a:lnTo>
                    <a:pt x="906" y="359"/>
                  </a:lnTo>
                  <a:lnTo>
                    <a:pt x="902" y="361"/>
                  </a:lnTo>
                  <a:lnTo>
                    <a:pt x="899" y="364"/>
                  </a:lnTo>
                  <a:lnTo>
                    <a:pt x="897" y="367"/>
                  </a:lnTo>
                  <a:lnTo>
                    <a:pt x="895" y="371"/>
                  </a:lnTo>
                  <a:lnTo>
                    <a:pt x="894" y="374"/>
                  </a:lnTo>
                  <a:lnTo>
                    <a:pt x="894" y="376"/>
                  </a:lnTo>
                  <a:lnTo>
                    <a:pt x="897" y="381"/>
                  </a:lnTo>
                  <a:lnTo>
                    <a:pt x="900" y="390"/>
                  </a:lnTo>
                  <a:lnTo>
                    <a:pt x="898" y="394"/>
                  </a:lnTo>
                  <a:lnTo>
                    <a:pt x="895" y="397"/>
                  </a:lnTo>
                  <a:lnTo>
                    <a:pt x="893" y="398"/>
                  </a:lnTo>
                  <a:lnTo>
                    <a:pt x="892" y="399"/>
                  </a:lnTo>
                  <a:lnTo>
                    <a:pt x="892" y="400"/>
                  </a:lnTo>
                  <a:lnTo>
                    <a:pt x="893" y="401"/>
                  </a:lnTo>
                  <a:lnTo>
                    <a:pt x="896" y="402"/>
                  </a:lnTo>
                  <a:lnTo>
                    <a:pt x="900" y="402"/>
                  </a:lnTo>
                  <a:lnTo>
                    <a:pt x="902" y="402"/>
                  </a:lnTo>
                  <a:lnTo>
                    <a:pt x="903" y="403"/>
                  </a:lnTo>
                  <a:lnTo>
                    <a:pt x="903" y="404"/>
                  </a:lnTo>
                  <a:lnTo>
                    <a:pt x="902" y="406"/>
                  </a:lnTo>
                  <a:lnTo>
                    <a:pt x="899" y="412"/>
                  </a:lnTo>
                  <a:lnTo>
                    <a:pt x="895" y="420"/>
                  </a:lnTo>
                  <a:lnTo>
                    <a:pt x="892" y="422"/>
                  </a:lnTo>
                  <a:lnTo>
                    <a:pt x="890" y="424"/>
                  </a:lnTo>
                  <a:lnTo>
                    <a:pt x="888" y="425"/>
                  </a:lnTo>
                  <a:lnTo>
                    <a:pt x="886" y="425"/>
                  </a:lnTo>
                  <a:lnTo>
                    <a:pt x="872" y="419"/>
                  </a:lnTo>
                  <a:lnTo>
                    <a:pt x="861" y="413"/>
                  </a:lnTo>
                  <a:lnTo>
                    <a:pt x="860" y="409"/>
                  </a:lnTo>
                  <a:lnTo>
                    <a:pt x="859" y="403"/>
                  </a:lnTo>
                  <a:lnTo>
                    <a:pt x="858" y="400"/>
                  </a:lnTo>
                  <a:lnTo>
                    <a:pt x="856" y="398"/>
                  </a:lnTo>
                  <a:lnTo>
                    <a:pt x="854" y="395"/>
                  </a:lnTo>
                  <a:lnTo>
                    <a:pt x="851" y="394"/>
                  </a:lnTo>
                  <a:lnTo>
                    <a:pt x="844" y="389"/>
                  </a:lnTo>
                  <a:lnTo>
                    <a:pt x="838" y="384"/>
                  </a:lnTo>
                  <a:lnTo>
                    <a:pt x="835" y="382"/>
                  </a:lnTo>
                  <a:lnTo>
                    <a:pt x="832" y="382"/>
                  </a:lnTo>
                  <a:lnTo>
                    <a:pt x="829" y="383"/>
                  </a:lnTo>
                  <a:lnTo>
                    <a:pt x="825" y="386"/>
                  </a:lnTo>
                  <a:lnTo>
                    <a:pt x="809" y="399"/>
                  </a:lnTo>
                  <a:lnTo>
                    <a:pt x="803" y="406"/>
                  </a:lnTo>
                  <a:lnTo>
                    <a:pt x="799" y="409"/>
                  </a:lnTo>
                  <a:lnTo>
                    <a:pt x="792" y="411"/>
                  </a:lnTo>
                  <a:lnTo>
                    <a:pt x="789" y="412"/>
                  </a:lnTo>
                  <a:lnTo>
                    <a:pt x="787" y="415"/>
                  </a:lnTo>
                  <a:lnTo>
                    <a:pt x="786" y="417"/>
                  </a:lnTo>
                  <a:lnTo>
                    <a:pt x="787" y="420"/>
                  </a:lnTo>
                  <a:lnTo>
                    <a:pt x="790" y="423"/>
                  </a:lnTo>
                  <a:lnTo>
                    <a:pt x="793" y="425"/>
                  </a:lnTo>
                  <a:lnTo>
                    <a:pt x="796" y="426"/>
                  </a:lnTo>
                  <a:lnTo>
                    <a:pt x="800" y="427"/>
                  </a:lnTo>
                  <a:lnTo>
                    <a:pt x="803" y="428"/>
                  </a:lnTo>
                  <a:lnTo>
                    <a:pt x="804" y="429"/>
                  </a:lnTo>
                  <a:lnTo>
                    <a:pt x="804" y="429"/>
                  </a:lnTo>
                  <a:lnTo>
                    <a:pt x="802" y="431"/>
                  </a:lnTo>
                  <a:lnTo>
                    <a:pt x="789" y="438"/>
                  </a:lnTo>
                  <a:lnTo>
                    <a:pt x="779" y="443"/>
                  </a:lnTo>
                  <a:lnTo>
                    <a:pt x="770" y="450"/>
                  </a:lnTo>
                  <a:lnTo>
                    <a:pt x="766" y="454"/>
                  </a:lnTo>
                  <a:close/>
                  <a:moveTo>
                    <a:pt x="986" y="531"/>
                  </a:moveTo>
                  <a:lnTo>
                    <a:pt x="988" y="536"/>
                  </a:lnTo>
                  <a:lnTo>
                    <a:pt x="993" y="542"/>
                  </a:lnTo>
                  <a:lnTo>
                    <a:pt x="1002" y="549"/>
                  </a:lnTo>
                  <a:lnTo>
                    <a:pt x="1010" y="556"/>
                  </a:lnTo>
                  <a:lnTo>
                    <a:pt x="1019" y="562"/>
                  </a:lnTo>
                  <a:lnTo>
                    <a:pt x="1026" y="570"/>
                  </a:lnTo>
                  <a:lnTo>
                    <a:pt x="1032" y="575"/>
                  </a:lnTo>
                  <a:lnTo>
                    <a:pt x="1035" y="580"/>
                  </a:lnTo>
                  <a:lnTo>
                    <a:pt x="1036" y="588"/>
                  </a:lnTo>
                  <a:lnTo>
                    <a:pt x="1037" y="597"/>
                  </a:lnTo>
                  <a:lnTo>
                    <a:pt x="1037" y="600"/>
                  </a:lnTo>
                  <a:lnTo>
                    <a:pt x="1039" y="603"/>
                  </a:lnTo>
                  <a:lnTo>
                    <a:pt x="1041" y="604"/>
                  </a:lnTo>
                  <a:lnTo>
                    <a:pt x="1043" y="604"/>
                  </a:lnTo>
                  <a:lnTo>
                    <a:pt x="1050" y="601"/>
                  </a:lnTo>
                  <a:lnTo>
                    <a:pt x="1059" y="595"/>
                  </a:lnTo>
                  <a:lnTo>
                    <a:pt x="1069" y="586"/>
                  </a:lnTo>
                  <a:lnTo>
                    <a:pt x="1074" y="581"/>
                  </a:lnTo>
                  <a:lnTo>
                    <a:pt x="1079" y="574"/>
                  </a:lnTo>
                  <a:lnTo>
                    <a:pt x="1086" y="561"/>
                  </a:lnTo>
                  <a:lnTo>
                    <a:pt x="1089" y="554"/>
                  </a:lnTo>
                  <a:lnTo>
                    <a:pt x="1091" y="548"/>
                  </a:lnTo>
                  <a:lnTo>
                    <a:pt x="1091" y="541"/>
                  </a:lnTo>
                  <a:lnTo>
                    <a:pt x="1090" y="536"/>
                  </a:lnTo>
                  <a:lnTo>
                    <a:pt x="1086" y="532"/>
                  </a:lnTo>
                  <a:lnTo>
                    <a:pt x="1081" y="529"/>
                  </a:lnTo>
                  <a:lnTo>
                    <a:pt x="1076" y="526"/>
                  </a:lnTo>
                  <a:lnTo>
                    <a:pt x="1071" y="523"/>
                  </a:lnTo>
                  <a:lnTo>
                    <a:pt x="1067" y="520"/>
                  </a:lnTo>
                  <a:lnTo>
                    <a:pt x="1065" y="518"/>
                  </a:lnTo>
                  <a:lnTo>
                    <a:pt x="1064" y="516"/>
                  </a:lnTo>
                  <a:lnTo>
                    <a:pt x="1064" y="515"/>
                  </a:lnTo>
                  <a:lnTo>
                    <a:pt x="1064" y="514"/>
                  </a:lnTo>
                  <a:lnTo>
                    <a:pt x="1065" y="512"/>
                  </a:lnTo>
                  <a:lnTo>
                    <a:pt x="1071" y="504"/>
                  </a:lnTo>
                  <a:lnTo>
                    <a:pt x="1077" y="492"/>
                  </a:lnTo>
                  <a:lnTo>
                    <a:pt x="1083" y="483"/>
                  </a:lnTo>
                  <a:lnTo>
                    <a:pt x="1084" y="476"/>
                  </a:lnTo>
                  <a:lnTo>
                    <a:pt x="1085" y="471"/>
                  </a:lnTo>
                  <a:lnTo>
                    <a:pt x="1086" y="464"/>
                  </a:lnTo>
                  <a:lnTo>
                    <a:pt x="1085" y="461"/>
                  </a:lnTo>
                  <a:lnTo>
                    <a:pt x="1084" y="459"/>
                  </a:lnTo>
                  <a:lnTo>
                    <a:pt x="1083" y="457"/>
                  </a:lnTo>
                  <a:lnTo>
                    <a:pt x="1078" y="459"/>
                  </a:lnTo>
                  <a:lnTo>
                    <a:pt x="1074" y="463"/>
                  </a:lnTo>
                  <a:lnTo>
                    <a:pt x="1071" y="467"/>
                  </a:lnTo>
                  <a:lnTo>
                    <a:pt x="1068" y="473"/>
                  </a:lnTo>
                  <a:lnTo>
                    <a:pt x="1065" y="478"/>
                  </a:lnTo>
                  <a:lnTo>
                    <a:pt x="1062" y="484"/>
                  </a:lnTo>
                  <a:lnTo>
                    <a:pt x="1058" y="488"/>
                  </a:lnTo>
                  <a:lnTo>
                    <a:pt x="1056" y="489"/>
                  </a:lnTo>
                  <a:lnTo>
                    <a:pt x="1055" y="489"/>
                  </a:lnTo>
                  <a:lnTo>
                    <a:pt x="1053" y="489"/>
                  </a:lnTo>
                  <a:lnTo>
                    <a:pt x="1052" y="488"/>
                  </a:lnTo>
                  <a:lnTo>
                    <a:pt x="1047" y="482"/>
                  </a:lnTo>
                  <a:lnTo>
                    <a:pt x="1043" y="475"/>
                  </a:lnTo>
                  <a:lnTo>
                    <a:pt x="1042" y="474"/>
                  </a:lnTo>
                  <a:lnTo>
                    <a:pt x="1040" y="474"/>
                  </a:lnTo>
                  <a:lnTo>
                    <a:pt x="1037" y="475"/>
                  </a:lnTo>
                  <a:lnTo>
                    <a:pt x="1034" y="478"/>
                  </a:lnTo>
                  <a:lnTo>
                    <a:pt x="1028" y="486"/>
                  </a:lnTo>
                  <a:lnTo>
                    <a:pt x="1022" y="490"/>
                  </a:lnTo>
                  <a:lnTo>
                    <a:pt x="1019" y="492"/>
                  </a:lnTo>
                  <a:lnTo>
                    <a:pt x="1017" y="493"/>
                  </a:lnTo>
                  <a:lnTo>
                    <a:pt x="1015" y="495"/>
                  </a:lnTo>
                  <a:lnTo>
                    <a:pt x="1015" y="497"/>
                  </a:lnTo>
                  <a:lnTo>
                    <a:pt x="1017" y="500"/>
                  </a:lnTo>
                  <a:lnTo>
                    <a:pt x="1018" y="505"/>
                  </a:lnTo>
                  <a:lnTo>
                    <a:pt x="1020" y="508"/>
                  </a:lnTo>
                  <a:lnTo>
                    <a:pt x="1023" y="512"/>
                  </a:lnTo>
                  <a:lnTo>
                    <a:pt x="1027" y="518"/>
                  </a:lnTo>
                  <a:lnTo>
                    <a:pt x="1030" y="522"/>
                  </a:lnTo>
                  <a:lnTo>
                    <a:pt x="1028" y="527"/>
                  </a:lnTo>
                  <a:lnTo>
                    <a:pt x="1023" y="533"/>
                  </a:lnTo>
                  <a:lnTo>
                    <a:pt x="1021" y="535"/>
                  </a:lnTo>
                  <a:lnTo>
                    <a:pt x="1018" y="537"/>
                  </a:lnTo>
                  <a:lnTo>
                    <a:pt x="1015" y="537"/>
                  </a:lnTo>
                  <a:lnTo>
                    <a:pt x="1013" y="536"/>
                  </a:lnTo>
                  <a:lnTo>
                    <a:pt x="998" y="530"/>
                  </a:lnTo>
                  <a:lnTo>
                    <a:pt x="988" y="527"/>
                  </a:lnTo>
                  <a:lnTo>
                    <a:pt x="986" y="529"/>
                  </a:lnTo>
                  <a:lnTo>
                    <a:pt x="986" y="531"/>
                  </a:lnTo>
                  <a:close/>
                  <a:moveTo>
                    <a:pt x="705" y="596"/>
                  </a:moveTo>
                  <a:lnTo>
                    <a:pt x="719" y="585"/>
                  </a:lnTo>
                  <a:lnTo>
                    <a:pt x="740" y="570"/>
                  </a:lnTo>
                  <a:lnTo>
                    <a:pt x="751" y="561"/>
                  </a:lnTo>
                  <a:lnTo>
                    <a:pt x="761" y="554"/>
                  </a:lnTo>
                  <a:lnTo>
                    <a:pt x="768" y="548"/>
                  </a:lnTo>
                  <a:lnTo>
                    <a:pt x="771" y="543"/>
                  </a:lnTo>
                  <a:lnTo>
                    <a:pt x="772" y="539"/>
                  </a:lnTo>
                  <a:lnTo>
                    <a:pt x="773" y="536"/>
                  </a:lnTo>
                  <a:lnTo>
                    <a:pt x="773" y="533"/>
                  </a:lnTo>
                  <a:lnTo>
                    <a:pt x="772" y="530"/>
                  </a:lnTo>
                  <a:lnTo>
                    <a:pt x="770" y="526"/>
                  </a:lnTo>
                  <a:lnTo>
                    <a:pt x="767" y="522"/>
                  </a:lnTo>
                  <a:lnTo>
                    <a:pt x="762" y="519"/>
                  </a:lnTo>
                  <a:lnTo>
                    <a:pt x="755" y="516"/>
                  </a:lnTo>
                  <a:lnTo>
                    <a:pt x="745" y="511"/>
                  </a:lnTo>
                  <a:lnTo>
                    <a:pt x="742" y="509"/>
                  </a:lnTo>
                  <a:lnTo>
                    <a:pt x="740" y="509"/>
                  </a:lnTo>
                  <a:lnTo>
                    <a:pt x="733" y="514"/>
                  </a:lnTo>
                  <a:lnTo>
                    <a:pt x="724" y="520"/>
                  </a:lnTo>
                  <a:lnTo>
                    <a:pt x="717" y="523"/>
                  </a:lnTo>
                  <a:lnTo>
                    <a:pt x="713" y="526"/>
                  </a:lnTo>
                  <a:lnTo>
                    <a:pt x="712" y="526"/>
                  </a:lnTo>
                  <a:lnTo>
                    <a:pt x="711" y="521"/>
                  </a:lnTo>
                  <a:lnTo>
                    <a:pt x="708" y="514"/>
                  </a:lnTo>
                  <a:lnTo>
                    <a:pt x="706" y="510"/>
                  </a:lnTo>
                  <a:lnTo>
                    <a:pt x="704" y="507"/>
                  </a:lnTo>
                  <a:lnTo>
                    <a:pt x="702" y="506"/>
                  </a:lnTo>
                  <a:lnTo>
                    <a:pt x="699" y="506"/>
                  </a:lnTo>
                  <a:lnTo>
                    <a:pt x="697" y="506"/>
                  </a:lnTo>
                  <a:lnTo>
                    <a:pt x="694" y="506"/>
                  </a:lnTo>
                  <a:lnTo>
                    <a:pt x="679" y="512"/>
                  </a:lnTo>
                  <a:lnTo>
                    <a:pt x="672" y="515"/>
                  </a:lnTo>
                  <a:lnTo>
                    <a:pt x="667" y="517"/>
                  </a:lnTo>
                  <a:lnTo>
                    <a:pt x="657" y="519"/>
                  </a:lnTo>
                  <a:lnTo>
                    <a:pt x="653" y="521"/>
                  </a:lnTo>
                  <a:lnTo>
                    <a:pt x="649" y="523"/>
                  </a:lnTo>
                  <a:lnTo>
                    <a:pt x="646" y="527"/>
                  </a:lnTo>
                  <a:lnTo>
                    <a:pt x="644" y="530"/>
                  </a:lnTo>
                  <a:lnTo>
                    <a:pt x="644" y="533"/>
                  </a:lnTo>
                  <a:lnTo>
                    <a:pt x="646" y="534"/>
                  </a:lnTo>
                  <a:lnTo>
                    <a:pt x="649" y="535"/>
                  </a:lnTo>
                  <a:lnTo>
                    <a:pt x="651" y="536"/>
                  </a:lnTo>
                  <a:lnTo>
                    <a:pt x="654" y="536"/>
                  </a:lnTo>
                  <a:lnTo>
                    <a:pt x="655" y="538"/>
                  </a:lnTo>
                  <a:lnTo>
                    <a:pt x="655" y="540"/>
                  </a:lnTo>
                  <a:lnTo>
                    <a:pt x="653" y="545"/>
                  </a:lnTo>
                  <a:lnTo>
                    <a:pt x="638" y="562"/>
                  </a:lnTo>
                  <a:lnTo>
                    <a:pt x="632" y="572"/>
                  </a:lnTo>
                  <a:lnTo>
                    <a:pt x="631" y="577"/>
                  </a:lnTo>
                  <a:lnTo>
                    <a:pt x="631" y="583"/>
                  </a:lnTo>
                  <a:lnTo>
                    <a:pt x="630" y="586"/>
                  </a:lnTo>
                  <a:lnTo>
                    <a:pt x="629" y="590"/>
                  </a:lnTo>
                  <a:lnTo>
                    <a:pt x="628" y="593"/>
                  </a:lnTo>
                  <a:lnTo>
                    <a:pt x="625" y="596"/>
                  </a:lnTo>
                  <a:lnTo>
                    <a:pt x="617" y="604"/>
                  </a:lnTo>
                  <a:lnTo>
                    <a:pt x="610" y="614"/>
                  </a:lnTo>
                  <a:lnTo>
                    <a:pt x="607" y="619"/>
                  </a:lnTo>
                  <a:lnTo>
                    <a:pt x="604" y="623"/>
                  </a:lnTo>
                  <a:lnTo>
                    <a:pt x="603" y="626"/>
                  </a:lnTo>
                  <a:lnTo>
                    <a:pt x="602" y="629"/>
                  </a:lnTo>
                  <a:lnTo>
                    <a:pt x="602" y="634"/>
                  </a:lnTo>
                  <a:lnTo>
                    <a:pt x="601" y="639"/>
                  </a:lnTo>
                  <a:lnTo>
                    <a:pt x="602" y="642"/>
                  </a:lnTo>
                  <a:lnTo>
                    <a:pt x="603" y="645"/>
                  </a:lnTo>
                  <a:lnTo>
                    <a:pt x="605" y="647"/>
                  </a:lnTo>
                  <a:lnTo>
                    <a:pt x="608" y="650"/>
                  </a:lnTo>
                  <a:lnTo>
                    <a:pt x="616" y="654"/>
                  </a:lnTo>
                  <a:lnTo>
                    <a:pt x="623" y="658"/>
                  </a:lnTo>
                  <a:lnTo>
                    <a:pt x="626" y="660"/>
                  </a:lnTo>
                  <a:lnTo>
                    <a:pt x="627" y="662"/>
                  </a:lnTo>
                  <a:lnTo>
                    <a:pt x="628" y="664"/>
                  </a:lnTo>
                  <a:lnTo>
                    <a:pt x="628" y="666"/>
                  </a:lnTo>
                  <a:lnTo>
                    <a:pt x="627" y="671"/>
                  </a:lnTo>
                  <a:lnTo>
                    <a:pt x="628" y="676"/>
                  </a:lnTo>
                  <a:lnTo>
                    <a:pt x="628" y="679"/>
                  </a:lnTo>
                  <a:lnTo>
                    <a:pt x="629" y="680"/>
                  </a:lnTo>
                  <a:lnTo>
                    <a:pt x="630" y="681"/>
                  </a:lnTo>
                  <a:lnTo>
                    <a:pt x="632" y="681"/>
                  </a:lnTo>
                  <a:lnTo>
                    <a:pt x="647" y="665"/>
                  </a:lnTo>
                  <a:lnTo>
                    <a:pt x="657" y="651"/>
                  </a:lnTo>
                  <a:lnTo>
                    <a:pt x="659" y="651"/>
                  </a:lnTo>
                  <a:lnTo>
                    <a:pt x="663" y="650"/>
                  </a:lnTo>
                  <a:lnTo>
                    <a:pt x="667" y="650"/>
                  </a:lnTo>
                  <a:lnTo>
                    <a:pt x="669" y="649"/>
                  </a:lnTo>
                  <a:lnTo>
                    <a:pt x="671" y="647"/>
                  </a:lnTo>
                  <a:lnTo>
                    <a:pt x="672" y="645"/>
                  </a:lnTo>
                  <a:lnTo>
                    <a:pt x="678" y="629"/>
                  </a:lnTo>
                  <a:lnTo>
                    <a:pt x="685" y="615"/>
                  </a:lnTo>
                  <a:lnTo>
                    <a:pt x="697" y="603"/>
                  </a:lnTo>
                  <a:lnTo>
                    <a:pt x="705" y="596"/>
                  </a:lnTo>
                  <a:close/>
                  <a:moveTo>
                    <a:pt x="921" y="501"/>
                  </a:moveTo>
                  <a:lnTo>
                    <a:pt x="922" y="505"/>
                  </a:lnTo>
                  <a:lnTo>
                    <a:pt x="924" y="509"/>
                  </a:lnTo>
                  <a:lnTo>
                    <a:pt x="928" y="513"/>
                  </a:lnTo>
                  <a:lnTo>
                    <a:pt x="934" y="517"/>
                  </a:lnTo>
                  <a:lnTo>
                    <a:pt x="940" y="520"/>
                  </a:lnTo>
                  <a:lnTo>
                    <a:pt x="945" y="522"/>
                  </a:lnTo>
                  <a:lnTo>
                    <a:pt x="947" y="523"/>
                  </a:lnTo>
                  <a:lnTo>
                    <a:pt x="949" y="523"/>
                  </a:lnTo>
                  <a:lnTo>
                    <a:pt x="952" y="522"/>
                  </a:lnTo>
                  <a:lnTo>
                    <a:pt x="954" y="520"/>
                  </a:lnTo>
                  <a:lnTo>
                    <a:pt x="958" y="515"/>
                  </a:lnTo>
                  <a:lnTo>
                    <a:pt x="961" y="511"/>
                  </a:lnTo>
                  <a:lnTo>
                    <a:pt x="963" y="509"/>
                  </a:lnTo>
                  <a:lnTo>
                    <a:pt x="963" y="507"/>
                  </a:lnTo>
                  <a:lnTo>
                    <a:pt x="963" y="504"/>
                  </a:lnTo>
                  <a:lnTo>
                    <a:pt x="962" y="499"/>
                  </a:lnTo>
                  <a:lnTo>
                    <a:pt x="959" y="495"/>
                  </a:lnTo>
                  <a:lnTo>
                    <a:pt x="957" y="493"/>
                  </a:lnTo>
                  <a:lnTo>
                    <a:pt x="955" y="491"/>
                  </a:lnTo>
                  <a:lnTo>
                    <a:pt x="952" y="491"/>
                  </a:lnTo>
                  <a:lnTo>
                    <a:pt x="946" y="492"/>
                  </a:lnTo>
                  <a:lnTo>
                    <a:pt x="938" y="495"/>
                  </a:lnTo>
                  <a:lnTo>
                    <a:pt x="925" y="499"/>
                  </a:lnTo>
                  <a:lnTo>
                    <a:pt x="921" y="501"/>
                  </a:lnTo>
                  <a:close/>
                  <a:moveTo>
                    <a:pt x="968" y="715"/>
                  </a:moveTo>
                  <a:lnTo>
                    <a:pt x="962" y="708"/>
                  </a:lnTo>
                  <a:lnTo>
                    <a:pt x="955" y="700"/>
                  </a:lnTo>
                  <a:lnTo>
                    <a:pt x="952" y="696"/>
                  </a:lnTo>
                  <a:lnTo>
                    <a:pt x="949" y="692"/>
                  </a:lnTo>
                  <a:lnTo>
                    <a:pt x="949" y="691"/>
                  </a:lnTo>
                  <a:lnTo>
                    <a:pt x="949" y="689"/>
                  </a:lnTo>
                  <a:lnTo>
                    <a:pt x="950" y="688"/>
                  </a:lnTo>
                  <a:lnTo>
                    <a:pt x="952" y="687"/>
                  </a:lnTo>
                  <a:lnTo>
                    <a:pt x="962" y="683"/>
                  </a:lnTo>
                  <a:lnTo>
                    <a:pt x="976" y="681"/>
                  </a:lnTo>
                  <a:lnTo>
                    <a:pt x="983" y="679"/>
                  </a:lnTo>
                  <a:lnTo>
                    <a:pt x="988" y="678"/>
                  </a:lnTo>
                  <a:lnTo>
                    <a:pt x="990" y="676"/>
                  </a:lnTo>
                  <a:lnTo>
                    <a:pt x="991" y="675"/>
                  </a:lnTo>
                  <a:lnTo>
                    <a:pt x="992" y="673"/>
                  </a:lnTo>
                  <a:lnTo>
                    <a:pt x="992" y="672"/>
                  </a:lnTo>
                  <a:lnTo>
                    <a:pt x="989" y="668"/>
                  </a:lnTo>
                  <a:lnTo>
                    <a:pt x="984" y="661"/>
                  </a:lnTo>
                  <a:lnTo>
                    <a:pt x="976" y="652"/>
                  </a:lnTo>
                  <a:lnTo>
                    <a:pt x="966" y="644"/>
                  </a:lnTo>
                  <a:lnTo>
                    <a:pt x="958" y="635"/>
                  </a:lnTo>
                  <a:lnTo>
                    <a:pt x="949" y="626"/>
                  </a:lnTo>
                  <a:lnTo>
                    <a:pt x="944" y="620"/>
                  </a:lnTo>
                  <a:lnTo>
                    <a:pt x="942" y="615"/>
                  </a:lnTo>
                  <a:lnTo>
                    <a:pt x="940" y="602"/>
                  </a:lnTo>
                  <a:lnTo>
                    <a:pt x="938" y="585"/>
                  </a:lnTo>
                  <a:lnTo>
                    <a:pt x="935" y="570"/>
                  </a:lnTo>
                  <a:lnTo>
                    <a:pt x="933" y="561"/>
                  </a:lnTo>
                  <a:lnTo>
                    <a:pt x="933" y="547"/>
                  </a:lnTo>
                  <a:lnTo>
                    <a:pt x="934" y="534"/>
                  </a:lnTo>
                  <a:lnTo>
                    <a:pt x="928" y="533"/>
                  </a:lnTo>
                  <a:lnTo>
                    <a:pt x="917" y="530"/>
                  </a:lnTo>
                  <a:lnTo>
                    <a:pt x="910" y="529"/>
                  </a:lnTo>
                  <a:lnTo>
                    <a:pt x="904" y="529"/>
                  </a:lnTo>
                  <a:lnTo>
                    <a:pt x="901" y="529"/>
                  </a:lnTo>
                  <a:lnTo>
                    <a:pt x="899" y="530"/>
                  </a:lnTo>
                  <a:lnTo>
                    <a:pt x="898" y="531"/>
                  </a:lnTo>
                  <a:lnTo>
                    <a:pt x="897" y="533"/>
                  </a:lnTo>
                  <a:lnTo>
                    <a:pt x="895" y="541"/>
                  </a:lnTo>
                  <a:lnTo>
                    <a:pt x="892" y="550"/>
                  </a:lnTo>
                  <a:lnTo>
                    <a:pt x="891" y="554"/>
                  </a:lnTo>
                  <a:lnTo>
                    <a:pt x="891" y="558"/>
                  </a:lnTo>
                  <a:lnTo>
                    <a:pt x="892" y="562"/>
                  </a:lnTo>
                  <a:lnTo>
                    <a:pt x="894" y="565"/>
                  </a:lnTo>
                  <a:lnTo>
                    <a:pt x="898" y="572"/>
                  </a:lnTo>
                  <a:lnTo>
                    <a:pt x="902" y="579"/>
                  </a:lnTo>
                  <a:lnTo>
                    <a:pt x="904" y="582"/>
                  </a:lnTo>
                  <a:lnTo>
                    <a:pt x="904" y="585"/>
                  </a:lnTo>
                  <a:lnTo>
                    <a:pt x="904" y="588"/>
                  </a:lnTo>
                  <a:lnTo>
                    <a:pt x="902" y="591"/>
                  </a:lnTo>
                  <a:lnTo>
                    <a:pt x="895" y="596"/>
                  </a:lnTo>
                  <a:lnTo>
                    <a:pt x="883" y="602"/>
                  </a:lnTo>
                  <a:lnTo>
                    <a:pt x="878" y="604"/>
                  </a:lnTo>
                  <a:lnTo>
                    <a:pt x="874" y="605"/>
                  </a:lnTo>
                  <a:lnTo>
                    <a:pt x="872" y="604"/>
                  </a:lnTo>
                  <a:lnTo>
                    <a:pt x="871" y="604"/>
                  </a:lnTo>
                  <a:lnTo>
                    <a:pt x="870" y="603"/>
                  </a:lnTo>
                  <a:lnTo>
                    <a:pt x="869" y="601"/>
                  </a:lnTo>
                  <a:lnTo>
                    <a:pt x="871" y="590"/>
                  </a:lnTo>
                  <a:lnTo>
                    <a:pt x="874" y="574"/>
                  </a:lnTo>
                  <a:lnTo>
                    <a:pt x="875" y="567"/>
                  </a:lnTo>
                  <a:lnTo>
                    <a:pt x="875" y="561"/>
                  </a:lnTo>
                  <a:lnTo>
                    <a:pt x="874" y="559"/>
                  </a:lnTo>
                  <a:lnTo>
                    <a:pt x="873" y="557"/>
                  </a:lnTo>
                  <a:lnTo>
                    <a:pt x="872" y="557"/>
                  </a:lnTo>
                  <a:lnTo>
                    <a:pt x="870" y="557"/>
                  </a:lnTo>
                  <a:lnTo>
                    <a:pt x="865" y="559"/>
                  </a:lnTo>
                  <a:lnTo>
                    <a:pt x="859" y="563"/>
                  </a:lnTo>
                  <a:lnTo>
                    <a:pt x="853" y="570"/>
                  </a:lnTo>
                  <a:lnTo>
                    <a:pt x="847" y="576"/>
                  </a:lnTo>
                  <a:lnTo>
                    <a:pt x="842" y="582"/>
                  </a:lnTo>
                  <a:lnTo>
                    <a:pt x="836" y="586"/>
                  </a:lnTo>
                  <a:lnTo>
                    <a:pt x="834" y="587"/>
                  </a:lnTo>
                  <a:lnTo>
                    <a:pt x="832" y="588"/>
                  </a:lnTo>
                  <a:lnTo>
                    <a:pt x="830" y="588"/>
                  </a:lnTo>
                  <a:lnTo>
                    <a:pt x="828" y="586"/>
                  </a:lnTo>
                  <a:lnTo>
                    <a:pt x="826" y="583"/>
                  </a:lnTo>
                  <a:lnTo>
                    <a:pt x="825" y="578"/>
                  </a:lnTo>
                  <a:lnTo>
                    <a:pt x="825" y="573"/>
                  </a:lnTo>
                  <a:lnTo>
                    <a:pt x="826" y="567"/>
                  </a:lnTo>
                  <a:lnTo>
                    <a:pt x="826" y="562"/>
                  </a:lnTo>
                  <a:lnTo>
                    <a:pt x="826" y="557"/>
                  </a:lnTo>
                  <a:lnTo>
                    <a:pt x="826" y="554"/>
                  </a:lnTo>
                  <a:lnTo>
                    <a:pt x="824" y="552"/>
                  </a:lnTo>
                  <a:lnTo>
                    <a:pt x="822" y="552"/>
                  </a:lnTo>
                  <a:lnTo>
                    <a:pt x="816" y="555"/>
                  </a:lnTo>
                  <a:lnTo>
                    <a:pt x="810" y="560"/>
                  </a:lnTo>
                  <a:lnTo>
                    <a:pt x="804" y="565"/>
                  </a:lnTo>
                  <a:lnTo>
                    <a:pt x="796" y="571"/>
                  </a:lnTo>
                  <a:lnTo>
                    <a:pt x="791" y="575"/>
                  </a:lnTo>
                  <a:lnTo>
                    <a:pt x="789" y="576"/>
                  </a:lnTo>
                  <a:lnTo>
                    <a:pt x="787" y="577"/>
                  </a:lnTo>
                  <a:lnTo>
                    <a:pt x="786" y="577"/>
                  </a:lnTo>
                  <a:lnTo>
                    <a:pt x="785" y="576"/>
                  </a:lnTo>
                  <a:lnTo>
                    <a:pt x="786" y="566"/>
                  </a:lnTo>
                  <a:lnTo>
                    <a:pt x="788" y="556"/>
                  </a:lnTo>
                  <a:lnTo>
                    <a:pt x="789" y="552"/>
                  </a:lnTo>
                  <a:lnTo>
                    <a:pt x="789" y="549"/>
                  </a:lnTo>
                  <a:lnTo>
                    <a:pt x="789" y="547"/>
                  </a:lnTo>
                  <a:lnTo>
                    <a:pt x="789" y="547"/>
                  </a:lnTo>
                  <a:lnTo>
                    <a:pt x="788" y="547"/>
                  </a:lnTo>
                  <a:lnTo>
                    <a:pt x="787" y="547"/>
                  </a:lnTo>
                  <a:lnTo>
                    <a:pt x="773" y="554"/>
                  </a:lnTo>
                  <a:lnTo>
                    <a:pt x="754" y="564"/>
                  </a:lnTo>
                  <a:lnTo>
                    <a:pt x="743" y="571"/>
                  </a:lnTo>
                  <a:lnTo>
                    <a:pt x="735" y="577"/>
                  </a:lnTo>
                  <a:lnTo>
                    <a:pt x="728" y="582"/>
                  </a:lnTo>
                  <a:lnTo>
                    <a:pt x="726" y="586"/>
                  </a:lnTo>
                  <a:lnTo>
                    <a:pt x="723" y="600"/>
                  </a:lnTo>
                  <a:lnTo>
                    <a:pt x="722" y="606"/>
                  </a:lnTo>
                  <a:lnTo>
                    <a:pt x="717" y="608"/>
                  </a:lnTo>
                  <a:lnTo>
                    <a:pt x="707" y="613"/>
                  </a:lnTo>
                  <a:lnTo>
                    <a:pt x="702" y="616"/>
                  </a:lnTo>
                  <a:lnTo>
                    <a:pt x="698" y="619"/>
                  </a:lnTo>
                  <a:lnTo>
                    <a:pt x="696" y="621"/>
                  </a:lnTo>
                  <a:lnTo>
                    <a:pt x="695" y="623"/>
                  </a:lnTo>
                  <a:lnTo>
                    <a:pt x="695" y="624"/>
                  </a:lnTo>
                  <a:lnTo>
                    <a:pt x="695" y="626"/>
                  </a:lnTo>
                  <a:lnTo>
                    <a:pt x="697" y="629"/>
                  </a:lnTo>
                  <a:lnTo>
                    <a:pt x="700" y="634"/>
                  </a:lnTo>
                  <a:lnTo>
                    <a:pt x="704" y="637"/>
                  </a:lnTo>
                  <a:lnTo>
                    <a:pt x="708" y="640"/>
                  </a:lnTo>
                  <a:lnTo>
                    <a:pt x="714" y="642"/>
                  </a:lnTo>
                  <a:lnTo>
                    <a:pt x="719" y="644"/>
                  </a:lnTo>
                  <a:lnTo>
                    <a:pt x="723" y="645"/>
                  </a:lnTo>
                  <a:lnTo>
                    <a:pt x="726" y="645"/>
                  </a:lnTo>
                  <a:lnTo>
                    <a:pt x="735" y="639"/>
                  </a:lnTo>
                  <a:lnTo>
                    <a:pt x="743" y="630"/>
                  </a:lnTo>
                  <a:lnTo>
                    <a:pt x="747" y="626"/>
                  </a:lnTo>
                  <a:lnTo>
                    <a:pt x="750" y="624"/>
                  </a:lnTo>
                  <a:lnTo>
                    <a:pt x="752" y="623"/>
                  </a:lnTo>
                  <a:lnTo>
                    <a:pt x="752" y="623"/>
                  </a:lnTo>
                  <a:lnTo>
                    <a:pt x="754" y="623"/>
                  </a:lnTo>
                  <a:lnTo>
                    <a:pt x="754" y="625"/>
                  </a:lnTo>
                  <a:lnTo>
                    <a:pt x="752" y="628"/>
                  </a:lnTo>
                  <a:lnTo>
                    <a:pt x="750" y="632"/>
                  </a:lnTo>
                  <a:lnTo>
                    <a:pt x="747" y="638"/>
                  </a:lnTo>
                  <a:lnTo>
                    <a:pt x="743" y="642"/>
                  </a:lnTo>
                  <a:lnTo>
                    <a:pt x="735" y="649"/>
                  </a:lnTo>
                  <a:lnTo>
                    <a:pt x="732" y="652"/>
                  </a:lnTo>
                  <a:lnTo>
                    <a:pt x="727" y="651"/>
                  </a:lnTo>
                  <a:lnTo>
                    <a:pt x="719" y="649"/>
                  </a:lnTo>
                  <a:lnTo>
                    <a:pt x="714" y="649"/>
                  </a:lnTo>
                  <a:lnTo>
                    <a:pt x="710" y="650"/>
                  </a:lnTo>
                  <a:lnTo>
                    <a:pt x="707" y="652"/>
                  </a:lnTo>
                  <a:lnTo>
                    <a:pt x="705" y="653"/>
                  </a:lnTo>
                  <a:lnTo>
                    <a:pt x="704" y="657"/>
                  </a:lnTo>
                  <a:lnTo>
                    <a:pt x="703" y="660"/>
                  </a:lnTo>
                  <a:lnTo>
                    <a:pt x="703" y="666"/>
                  </a:lnTo>
                  <a:lnTo>
                    <a:pt x="704" y="671"/>
                  </a:lnTo>
                  <a:lnTo>
                    <a:pt x="706" y="676"/>
                  </a:lnTo>
                  <a:lnTo>
                    <a:pt x="710" y="681"/>
                  </a:lnTo>
                  <a:lnTo>
                    <a:pt x="713" y="683"/>
                  </a:lnTo>
                  <a:lnTo>
                    <a:pt x="717" y="685"/>
                  </a:lnTo>
                  <a:lnTo>
                    <a:pt x="720" y="686"/>
                  </a:lnTo>
                  <a:lnTo>
                    <a:pt x="723" y="685"/>
                  </a:lnTo>
                  <a:lnTo>
                    <a:pt x="734" y="681"/>
                  </a:lnTo>
                  <a:lnTo>
                    <a:pt x="750" y="674"/>
                  </a:lnTo>
                  <a:lnTo>
                    <a:pt x="760" y="670"/>
                  </a:lnTo>
                  <a:lnTo>
                    <a:pt x="769" y="667"/>
                  </a:lnTo>
                  <a:lnTo>
                    <a:pt x="780" y="665"/>
                  </a:lnTo>
                  <a:lnTo>
                    <a:pt x="788" y="665"/>
                  </a:lnTo>
                  <a:lnTo>
                    <a:pt x="802" y="666"/>
                  </a:lnTo>
                  <a:lnTo>
                    <a:pt x="810" y="668"/>
                  </a:lnTo>
                  <a:lnTo>
                    <a:pt x="812" y="669"/>
                  </a:lnTo>
                  <a:lnTo>
                    <a:pt x="812" y="671"/>
                  </a:lnTo>
                  <a:lnTo>
                    <a:pt x="811" y="673"/>
                  </a:lnTo>
                  <a:lnTo>
                    <a:pt x="808" y="676"/>
                  </a:lnTo>
                  <a:lnTo>
                    <a:pt x="805" y="680"/>
                  </a:lnTo>
                  <a:lnTo>
                    <a:pt x="801" y="681"/>
                  </a:lnTo>
                  <a:lnTo>
                    <a:pt x="796" y="681"/>
                  </a:lnTo>
                  <a:lnTo>
                    <a:pt x="791" y="681"/>
                  </a:lnTo>
                  <a:lnTo>
                    <a:pt x="786" y="681"/>
                  </a:lnTo>
                  <a:lnTo>
                    <a:pt x="780" y="681"/>
                  </a:lnTo>
                  <a:lnTo>
                    <a:pt x="772" y="682"/>
                  </a:lnTo>
                  <a:lnTo>
                    <a:pt x="764" y="685"/>
                  </a:lnTo>
                  <a:lnTo>
                    <a:pt x="746" y="690"/>
                  </a:lnTo>
                  <a:lnTo>
                    <a:pt x="727" y="693"/>
                  </a:lnTo>
                  <a:lnTo>
                    <a:pt x="720" y="694"/>
                  </a:lnTo>
                  <a:lnTo>
                    <a:pt x="714" y="696"/>
                  </a:lnTo>
                  <a:lnTo>
                    <a:pt x="711" y="698"/>
                  </a:lnTo>
                  <a:lnTo>
                    <a:pt x="710" y="700"/>
                  </a:lnTo>
                  <a:lnTo>
                    <a:pt x="708" y="702"/>
                  </a:lnTo>
                  <a:lnTo>
                    <a:pt x="708" y="703"/>
                  </a:lnTo>
                  <a:lnTo>
                    <a:pt x="710" y="711"/>
                  </a:lnTo>
                  <a:lnTo>
                    <a:pt x="713" y="719"/>
                  </a:lnTo>
                  <a:lnTo>
                    <a:pt x="715" y="723"/>
                  </a:lnTo>
                  <a:lnTo>
                    <a:pt x="717" y="726"/>
                  </a:lnTo>
                  <a:lnTo>
                    <a:pt x="720" y="728"/>
                  </a:lnTo>
                  <a:lnTo>
                    <a:pt x="723" y="730"/>
                  </a:lnTo>
                  <a:lnTo>
                    <a:pt x="728" y="730"/>
                  </a:lnTo>
                  <a:lnTo>
                    <a:pt x="735" y="730"/>
                  </a:lnTo>
                  <a:lnTo>
                    <a:pt x="743" y="728"/>
                  </a:lnTo>
                  <a:lnTo>
                    <a:pt x="751" y="727"/>
                  </a:lnTo>
                  <a:lnTo>
                    <a:pt x="759" y="725"/>
                  </a:lnTo>
                  <a:lnTo>
                    <a:pt x="765" y="725"/>
                  </a:lnTo>
                  <a:lnTo>
                    <a:pt x="768" y="725"/>
                  </a:lnTo>
                  <a:lnTo>
                    <a:pt x="770" y="726"/>
                  </a:lnTo>
                  <a:lnTo>
                    <a:pt x="771" y="727"/>
                  </a:lnTo>
                  <a:lnTo>
                    <a:pt x="771" y="729"/>
                  </a:lnTo>
                  <a:lnTo>
                    <a:pt x="771" y="749"/>
                  </a:lnTo>
                  <a:lnTo>
                    <a:pt x="771" y="759"/>
                  </a:lnTo>
                  <a:lnTo>
                    <a:pt x="778" y="759"/>
                  </a:lnTo>
                  <a:lnTo>
                    <a:pt x="791" y="757"/>
                  </a:lnTo>
                  <a:lnTo>
                    <a:pt x="808" y="754"/>
                  </a:lnTo>
                  <a:lnTo>
                    <a:pt x="820" y="751"/>
                  </a:lnTo>
                  <a:lnTo>
                    <a:pt x="830" y="747"/>
                  </a:lnTo>
                  <a:lnTo>
                    <a:pt x="843" y="741"/>
                  </a:lnTo>
                  <a:lnTo>
                    <a:pt x="850" y="738"/>
                  </a:lnTo>
                  <a:lnTo>
                    <a:pt x="856" y="735"/>
                  </a:lnTo>
                  <a:lnTo>
                    <a:pt x="862" y="731"/>
                  </a:lnTo>
                  <a:lnTo>
                    <a:pt x="868" y="727"/>
                  </a:lnTo>
                  <a:lnTo>
                    <a:pt x="878" y="717"/>
                  </a:lnTo>
                  <a:lnTo>
                    <a:pt x="886" y="709"/>
                  </a:lnTo>
                  <a:lnTo>
                    <a:pt x="890" y="707"/>
                  </a:lnTo>
                  <a:lnTo>
                    <a:pt x="894" y="707"/>
                  </a:lnTo>
                  <a:lnTo>
                    <a:pt x="899" y="707"/>
                  </a:lnTo>
                  <a:lnTo>
                    <a:pt x="904" y="710"/>
                  </a:lnTo>
                  <a:lnTo>
                    <a:pt x="911" y="714"/>
                  </a:lnTo>
                  <a:lnTo>
                    <a:pt x="918" y="717"/>
                  </a:lnTo>
                  <a:lnTo>
                    <a:pt x="924" y="719"/>
                  </a:lnTo>
                  <a:lnTo>
                    <a:pt x="932" y="722"/>
                  </a:lnTo>
                  <a:lnTo>
                    <a:pt x="944" y="723"/>
                  </a:lnTo>
                  <a:lnTo>
                    <a:pt x="952" y="724"/>
                  </a:lnTo>
                  <a:lnTo>
                    <a:pt x="962" y="719"/>
                  </a:lnTo>
                  <a:lnTo>
                    <a:pt x="968" y="715"/>
                  </a:lnTo>
                  <a:close/>
                  <a:moveTo>
                    <a:pt x="1545" y="2250"/>
                  </a:moveTo>
                  <a:lnTo>
                    <a:pt x="1533" y="2254"/>
                  </a:lnTo>
                  <a:lnTo>
                    <a:pt x="1516" y="2259"/>
                  </a:lnTo>
                  <a:lnTo>
                    <a:pt x="1509" y="2262"/>
                  </a:lnTo>
                  <a:lnTo>
                    <a:pt x="1504" y="2265"/>
                  </a:lnTo>
                  <a:lnTo>
                    <a:pt x="1502" y="2267"/>
                  </a:lnTo>
                  <a:lnTo>
                    <a:pt x="1501" y="2269"/>
                  </a:lnTo>
                  <a:lnTo>
                    <a:pt x="1502" y="2271"/>
                  </a:lnTo>
                  <a:lnTo>
                    <a:pt x="1503" y="2273"/>
                  </a:lnTo>
                  <a:lnTo>
                    <a:pt x="1508" y="2277"/>
                  </a:lnTo>
                  <a:lnTo>
                    <a:pt x="1513" y="2281"/>
                  </a:lnTo>
                  <a:lnTo>
                    <a:pt x="1517" y="2283"/>
                  </a:lnTo>
                  <a:lnTo>
                    <a:pt x="1523" y="2283"/>
                  </a:lnTo>
                  <a:lnTo>
                    <a:pt x="1533" y="2284"/>
                  </a:lnTo>
                  <a:lnTo>
                    <a:pt x="1541" y="2285"/>
                  </a:lnTo>
                  <a:lnTo>
                    <a:pt x="1552" y="2289"/>
                  </a:lnTo>
                  <a:lnTo>
                    <a:pt x="1563" y="2292"/>
                  </a:lnTo>
                  <a:lnTo>
                    <a:pt x="1569" y="2293"/>
                  </a:lnTo>
                  <a:lnTo>
                    <a:pt x="1573" y="2294"/>
                  </a:lnTo>
                  <a:lnTo>
                    <a:pt x="1576" y="2294"/>
                  </a:lnTo>
                  <a:lnTo>
                    <a:pt x="1577" y="2292"/>
                  </a:lnTo>
                  <a:lnTo>
                    <a:pt x="1578" y="2289"/>
                  </a:lnTo>
                  <a:lnTo>
                    <a:pt x="1579" y="2284"/>
                  </a:lnTo>
                  <a:lnTo>
                    <a:pt x="1581" y="2282"/>
                  </a:lnTo>
                  <a:lnTo>
                    <a:pt x="1582" y="2280"/>
                  </a:lnTo>
                  <a:lnTo>
                    <a:pt x="1585" y="2280"/>
                  </a:lnTo>
                  <a:lnTo>
                    <a:pt x="1589" y="2280"/>
                  </a:lnTo>
                  <a:lnTo>
                    <a:pt x="1600" y="2280"/>
                  </a:lnTo>
                  <a:lnTo>
                    <a:pt x="1616" y="2277"/>
                  </a:lnTo>
                  <a:lnTo>
                    <a:pt x="1623" y="2276"/>
                  </a:lnTo>
                  <a:lnTo>
                    <a:pt x="1629" y="2274"/>
                  </a:lnTo>
                  <a:lnTo>
                    <a:pt x="1634" y="2273"/>
                  </a:lnTo>
                  <a:lnTo>
                    <a:pt x="1634" y="2272"/>
                  </a:lnTo>
                  <a:lnTo>
                    <a:pt x="1627" y="2266"/>
                  </a:lnTo>
                  <a:lnTo>
                    <a:pt x="1615" y="2256"/>
                  </a:lnTo>
                  <a:lnTo>
                    <a:pt x="1606" y="2251"/>
                  </a:lnTo>
                  <a:lnTo>
                    <a:pt x="1599" y="2247"/>
                  </a:lnTo>
                  <a:lnTo>
                    <a:pt x="1592" y="2244"/>
                  </a:lnTo>
                  <a:lnTo>
                    <a:pt x="1584" y="2243"/>
                  </a:lnTo>
                  <a:lnTo>
                    <a:pt x="1575" y="2243"/>
                  </a:lnTo>
                  <a:lnTo>
                    <a:pt x="1569" y="2243"/>
                  </a:lnTo>
                  <a:lnTo>
                    <a:pt x="1567" y="2244"/>
                  </a:lnTo>
                  <a:lnTo>
                    <a:pt x="1564" y="2245"/>
                  </a:lnTo>
                  <a:lnTo>
                    <a:pt x="1562" y="2247"/>
                  </a:lnTo>
                  <a:lnTo>
                    <a:pt x="1560" y="2249"/>
                  </a:lnTo>
                  <a:lnTo>
                    <a:pt x="1557" y="2251"/>
                  </a:lnTo>
                  <a:lnTo>
                    <a:pt x="1555" y="2252"/>
                  </a:lnTo>
                  <a:lnTo>
                    <a:pt x="1553" y="2252"/>
                  </a:lnTo>
                  <a:lnTo>
                    <a:pt x="1550" y="2252"/>
                  </a:lnTo>
                  <a:lnTo>
                    <a:pt x="1547" y="2251"/>
                  </a:lnTo>
                  <a:lnTo>
                    <a:pt x="1545" y="2250"/>
                  </a:lnTo>
                  <a:close/>
                  <a:moveTo>
                    <a:pt x="1297" y="2187"/>
                  </a:moveTo>
                  <a:lnTo>
                    <a:pt x="1307" y="2180"/>
                  </a:lnTo>
                  <a:lnTo>
                    <a:pt x="1323" y="2170"/>
                  </a:lnTo>
                  <a:lnTo>
                    <a:pt x="1333" y="2164"/>
                  </a:lnTo>
                  <a:lnTo>
                    <a:pt x="1341" y="2161"/>
                  </a:lnTo>
                  <a:lnTo>
                    <a:pt x="1346" y="2161"/>
                  </a:lnTo>
                  <a:lnTo>
                    <a:pt x="1350" y="2161"/>
                  </a:lnTo>
                  <a:lnTo>
                    <a:pt x="1353" y="2162"/>
                  </a:lnTo>
                  <a:lnTo>
                    <a:pt x="1356" y="2164"/>
                  </a:lnTo>
                  <a:lnTo>
                    <a:pt x="1361" y="2167"/>
                  </a:lnTo>
                  <a:lnTo>
                    <a:pt x="1369" y="2171"/>
                  </a:lnTo>
                  <a:lnTo>
                    <a:pt x="1376" y="2173"/>
                  </a:lnTo>
                  <a:lnTo>
                    <a:pt x="1384" y="2174"/>
                  </a:lnTo>
                  <a:lnTo>
                    <a:pt x="1399" y="2175"/>
                  </a:lnTo>
                  <a:lnTo>
                    <a:pt x="1410" y="2176"/>
                  </a:lnTo>
                  <a:lnTo>
                    <a:pt x="1424" y="2181"/>
                  </a:lnTo>
                  <a:lnTo>
                    <a:pt x="1445" y="2190"/>
                  </a:lnTo>
                  <a:lnTo>
                    <a:pt x="1456" y="2196"/>
                  </a:lnTo>
                  <a:lnTo>
                    <a:pt x="1465" y="2201"/>
                  </a:lnTo>
                  <a:lnTo>
                    <a:pt x="1473" y="2206"/>
                  </a:lnTo>
                  <a:lnTo>
                    <a:pt x="1478" y="2211"/>
                  </a:lnTo>
                  <a:lnTo>
                    <a:pt x="1485" y="2220"/>
                  </a:lnTo>
                  <a:lnTo>
                    <a:pt x="1492" y="2228"/>
                  </a:lnTo>
                  <a:lnTo>
                    <a:pt x="1495" y="2231"/>
                  </a:lnTo>
                  <a:lnTo>
                    <a:pt x="1495" y="2234"/>
                  </a:lnTo>
                  <a:lnTo>
                    <a:pt x="1495" y="2236"/>
                  </a:lnTo>
                  <a:lnTo>
                    <a:pt x="1494" y="2238"/>
                  </a:lnTo>
                  <a:lnTo>
                    <a:pt x="1493" y="2239"/>
                  </a:lnTo>
                  <a:lnTo>
                    <a:pt x="1491" y="2240"/>
                  </a:lnTo>
                  <a:lnTo>
                    <a:pt x="1485" y="2242"/>
                  </a:lnTo>
                  <a:lnTo>
                    <a:pt x="1478" y="2244"/>
                  </a:lnTo>
                  <a:lnTo>
                    <a:pt x="1468" y="2244"/>
                  </a:lnTo>
                  <a:lnTo>
                    <a:pt x="1459" y="2245"/>
                  </a:lnTo>
                  <a:lnTo>
                    <a:pt x="1449" y="2244"/>
                  </a:lnTo>
                  <a:lnTo>
                    <a:pt x="1441" y="2242"/>
                  </a:lnTo>
                  <a:lnTo>
                    <a:pt x="1432" y="2239"/>
                  </a:lnTo>
                  <a:lnTo>
                    <a:pt x="1426" y="2234"/>
                  </a:lnTo>
                  <a:lnTo>
                    <a:pt x="1415" y="2224"/>
                  </a:lnTo>
                  <a:lnTo>
                    <a:pt x="1401" y="2214"/>
                  </a:lnTo>
                  <a:lnTo>
                    <a:pt x="1394" y="2209"/>
                  </a:lnTo>
                  <a:lnTo>
                    <a:pt x="1387" y="2206"/>
                  </a:lnTo>
                  <a:lnTo>
                    <a:pt x="1381" y="2204"/>
                  </a:lnTo>
                  <a:lnTo>
                    <a:pt x="1376" y="2203"/>
                  </a:lnTo>
                  <a:lnTo>
                    <a:pt x="1362" y="2201"/>
                  </a:lnTo>
                  <a:lnTo>
                    <a:pt x="1347" y="2199"/>
                  </a:lnTo>
                  <a:lnTo>
                    <a:pt x="1339" y="2197"/>
                  </a:lnTo>
                  <a:lnTo>
                    <a:pt x="1333" y="2197"/>
                  </a:lnTo>
                  <a:lnTo>
                    <a:pt x="1329" y="2197"/>
                  </a:lnTo>
                  <a:lnTo>
                    <a:pt x="1326" y="2198"/>
                  </a:lnTo>
                  <a:lnTo>
                    <a:pt x="1326" y="2201"/>
                  </a:lnTo>
                  <a:lnTo>
                    <a:pt x="1327" y="2204"/>
                  </a:lnTo>
                  <a:lnTo>
                    <a:pt x="1327" y="2205"/>
                  </a:lnTo>
                  <a:lnTo>
                    <a:pt x="1327" y="2206"/>
                  </a:lnTo>
                  <a:lnTo>
                    <a:pt x="1325" y="2206"/>
                  </a:lnTo>
                  <a:lnTo>
                    <a:pt x="1319" y="2206"/>
                  </a:lnTo>
                  <a:lnTo>
                    <a:pt x="1310" y="2204"/>
                  </a:lnTo>
                  <a:lnTo>
                    <a:pt x="1303" y="2201"/>
                  </a:lnTo>
                  <a:lnTo>
                    <a:pt x="1297" y="2199"/>
                  </a:lnTo>
                  <a:lnTo>
                    <a:pt x="1294" y="2198"/>
                  </a:lnTo>
                  <a:lnTo>
                    <a:pt x="1294" y="2193"/>
                  </a:lnTo>
                  <a:lnTo>
                    <a:pt x="1297" y="2187"/>
                  </a:lnTo>
                  <a:close/>
                  <a:moveTo>
                    <a:pt x="2970" y="1751"/>
                  </a:moveTo>
                  <a:lnTo>
                    <a:pt x="2962" y="1758"/>
                  </a:lnTo>
                  <a:lnTo>
                    <a:pt x="2954" y="1768"/>
                  </a:lnTo>
                  <a:lnTo>
                    <a:pt x="2954" y="1771"/>
                  </a:lnTo>
                  <a:lnTo>
                    <a:pt x="2955" y="1776"/>
                  </a:lnTo>
                  <a:lnTo>
                    <a:pt x="2956" y="1777"/>
                  </a:lnTo>
                  <a:lnTo>
                    <a:pt x="2956" y="1779"/>
                  </a:lnTo>
                  <a:lnTo>
                    <a:pt x="2957" y="1779"/>
                  </a:lnTo>
                  <a:lnTo>
                    <a:pt x="2958" y="1779"/>
                  </a:lnTo>
                  <a:lnTo>
                    <a:pt x="2963" y="1770"/>
                  </a:lnTo>
                  <a:lnTo>
                    <a:pt x="2967" y="1763"/>
                  </a:lnTo>
                  <a:lnTo>
                    <a:pt x="2970" y="1762"/>
                  </a:lnTo>
                  <a:lnTo>
                    <a:pt x="2972" y="1761"/>
                  </a:lnTo>
                  <a:lnTo>
                    <a:pt x="2975" y="1761"/>
                  </a:lnTo>
                  <a:lnTo>
                    <a:pt x="2979" y="1762"/>
                  </a:lnTo>
                  <a:lnTo>
                    <a:pt x="2981" y="1763"/>
                  </a:lnTo>
                  <a:lnTo>
                    <a:pt x="2982" y="1763"/>
                  </a:lnTo>
                  <a:lnTo>
                    <a:pt x="2984" y="1762"/>
                  </a:lnTo>
                  <a:lnTo>
                    <a:pt x="2985" y="1761"/>
                  </a:lnTo>
                  <a:lnTo>
                    <a:pt x="2987" y="1757"/>
                  </a:lnTo>
                  <a:lnTo>
                    <a:pt x="2989" y="1754"/>
                  </a:lnTo>
                  <a:lnTo>
                    <a:pt x="2994" y="1751"/>
                  </a:lnTo>
                  <a:lnTo>
                    <a:pt x="2998" y="1749"/>
                  </a:lnTo>
                  <a:lnTo>
                    <a:pt x="2999" y="1748"/>
                  </a:lnTo>
                  <a:lnTo>
                    <a:pt x="3000" y="1746"/>
                  </a:lnTo>
                  <a:lnTo>
                    <a:pt x="3000" y="1744"/>
                  </a:lnTo>
                  <a:lnTo>
                    <a:pt x="2998" y="1740"/>
                  </a:lnTo>
                  <a:lnTo>
                    <a:pt x="2993" y="1734"/>
                  </a:lnTo>
                  <a:lnTo>
                    <a:pt x="2988" y="1731"/>
                  </a:lnTo>
                  <a:lnTo>
                    <a:pt x="2986" y="1731"/>
                  </a:lnTo>
                  <a:lnTo>
                    <a:pt x="2984" y="1731"/>
                  </a:lnTo>
                  <a:lnTo>
                    <a:pt x="2983" y="1732"/>
                  </a:lnTo>
                  <a:lnTo>
                    <a:pt x="2982" y="1733"/>
                  </a:lnTo>
                  <a:lnTo>
                    <a:pt x="2976" y="1745"/>
                  </a:lnTo>
                  <a:lnTo>
                    <a:pt x="2973" y="1751"/>
                  </a:lnTo>
                  <a:lnTo>
                    <a:pt x="2971" y="1751"/>
                  </a:lnTo>
                  <a:lnTo>
                    <a:pt x="2970" y="1751"/>
                  </a:lnTo>
                  <a:close/>
                  <a:moveTo>
                    <a:pt x="3055" y="1671"/>
                  </a:moveTo>
                  <a:lnTo>
                    <a:pt x="3052" y="1678"/>
                  </a:lnTo>
                  <a:lnTo>
                    <a:pt x="3051" y="1684"/>
                  </a:lnTo>
                  <a:lnTo>
                    <a:pt x="3051" y="1691"/>
                  </a:lnTo>
                  <a:lnTo>
                    <a:pt x="3053" y="1696"/>
                  </a:lnTo>
                  <a:lnTo>
                    <a:pt x="3055" y="1702"/>
                  </a:lnTo>
                  <a:lnTo>
                    <a:pt x="3056" y="1707"/>
                  </a:lnTo>
                  <a:lnTo>
                    <a:pt x="3055" y="1713"/>
                  </a:lnTo>
                  <a:lnTo>
                    <a:pt x="3053" y="1716"/>
                  </a:lnTo>
                  <a:lnTo>
                    <a:pt x="3050" y="1718"/>
                  </a:lnTo>
                  <a:lnTo>
                    <a:pt x="3045" y="1719"/>
                  </a:lnTo>
                  <a:lnTo>
                    <a:pt x="3043" y="1720"/>
                  </a:lnTo>
                  <a:lnTo>
                    <a:pt x="3042" y="1721"/>
                  </a:lnTo>
                  <a:lnTo>
                    <a:pt x="3042" y="1723"/>
                  </a:lnTo>
                  <a:lnTo>
                    <a:pt x="3042" y="1725"/>
                  </a:lnTo>
                  <a:lnTo>
                    <a:pt x="3045" y="1732"/>
                  </a:lnTo>
                  <a:lnTo>
                    <a:pt x="3048" y="1737"/>
                  </a:lnTo>
                  <a:lnTo>
                    <a:pt x="3049" y="1740"/>
                  </a:lnTo>
                  <a:lnTo>
                    <a:pt x="3050" y="1742"/>
                  </a:lnTo>
                  <a:lnTo>
                    <a:pt x="3050" y="1745"/>
                  </a:lnTo>
                  <a:lnTo>
                    <a:pt x="3050" y="1748"/>
                  </a:lnTo>
                  <a:lnTo>
                    <a:pt x="3049" y="1756"/>
                  </a:lnTo>
                  <a:lnTo>
                    <a:pt x="3050" y="1762"/>
                  </a:lnTo>
                  <a:lnTo>
                    <a:pt x="3051" y="1767"/>
                  </a:lnTo>
                  <a:lnTo>
                    <a:pt x="3052" y="1769"/>
                  </a:lnTo>
                  <a:lnTo>
                    <a:pt x="3054" y="1771"/>
                  </a:lnTo>
                  <a:lnTo>
                    <a:pt x="3061" y="1773"/>
                  </a:lnTo>
                  <a:lnTo>
                    <a:pt x="3063" y="1773"/>
                  </a:lnTo>
                  <a:lnTo>
                    <a:pt x="3066" y="1772"/>
                  </a:lnTo>
                  <a:lnTo>
                    <a:pt x="3067" y="1769"/>
                  </a:lnTo>
                  <a:lnTo>
                    <a:pt x="3068" y="1764"/>
                  </a:lnTo>
                  <a:lnTo>
                    <a:pt x="3068" y="1751"/>
                  </a:lnTo>
                  <a:lnTo>
                    <a:pt x="3068" y="1739"/>
                  </a:lnTo>
                  <a:lnTo>
                    <a:pt x="3069" y="1729"/>
                  </a:lnTo>
                  <a:lnTo>
                    <a:pt x="3068" y="1724"/>
                  </a:lnTo>
                  <a:lnTo>
                    <a:pt x="3066" y="1722"/>
                  </a:lnTo>
                  <a:lnTo>
                    <a:pt x="3065" y="1718"/>
                  </a:lnTo>
                  <a:lnTo>
                    <a:pt x="3064" y="1713"/>
                  </a:lnTo>
                  <a:lnTo>
                    <a:pt x="3065" y="1704"/>
                  </a:lnTo>
                  <a:lnTo>
                    <a:pt x="3066" y="1694"/>
                  </a:lnTo>
                  <a:lnTo>
                    <a:pt x="3067" y="1685"/>
                  </a:lnTo>
                  <a:lnTo>
                    <a:pt x="3066" y="1679"/>
                  </a:lnTo>
                  <a:lnTo>
                    <a:pt x="3064" y="1675"/>
                  </a:lnTo>
                  <a:lnTo>
                    <a:pt x="3062" y="1672"/>
                  </a:lnTo>
                  <a:lnTo>
                    <a:pt x="3059" y="1671"/>
                  </a:lnTo>
                  <a:lnTo>
                    <a:pt x="3056" y="1671"/>
                  </a:lnTo>
                  <a:lnTo>
                    <a:pt x="3055" y="1671"/>
                  </a:lnTo>
                  <a:close/>
                  <a:moveTo>
                    <a:pt x="2133" y="1095"/>
                  </a:moveTo>
                  <a:lnTo>
                    <a:pt x="2137" y="1078"/>
                  </a:lnTo>
                  <a:lnTo>
                    <a:pt x="2143" y="1040"/>
                  </a:lnTo>
                  <a:lnTo>
                    <a:pt x="2148" y="1019"/>
                  </a:lnTo>
                  <a:lnTo>
                    <a:pt x="2152" y="999"/>
                  </a:lnTo>
                  <a:lnTo>
                    <a:pt x="2155" y="990"/>
                  </a:lnTo>
                  <a:lnTo>
                    <a:pt x="2158" y="982"/>
                  </a:lnTo>
                  <a:lnTo>
                    <a:pt x="2161" y="976"/>
                  </a:lnTo>
                  <a:lnTo>
                    <a:pt x="2164" y="972"/>
                  </a:lnTo>
                  <a:lnTo>
                    <a:pt x="2175" y="959"/>
                  </a:lnTo>
                  <a:lnTo>
                    <a:pt x="2188" y="946"/>
                  </a:lnTo>
                  <a:lnTo>
                    <a:pt x="2193" y="938"/>
                  </a:lnTo>
                  <a:lnTo>
                    <a:pt x="2197" y="932"/>
                  </a:lnTo>
                  <a:lnTo>
                    <a:pt x="2198" y="928"/>
                  </a:lnTo>
                  <a:lnTo>
                    <a:pt x="2199" y="925"/>
                  </a:lnTo>
                  <a:lnTo>
                    <a:pt x="2199" y="922"/>
                  </a:lnTo>
                  <a:lnTo>
                    <a:pt x="2199" y="918"/>
                  </a:lnTo>
                  <a:lnTo>
                    <a:pt x="2198" y="911"/>
                  </a:lnTo>
                  <a:lnTo>
                    <a:pt x="2198" y="903"/>
                  </a:lnTo>
                  <a:lnTo>
                    <a:pt x="2199" y="893"/>
                  </a:lnTo>
                  <a:lnTo>
                    <a:pt x="2202" y="885"/>
                  </a:lnTo>
                  <a:lnTo>
                    <a:pt x="2204" y="877"/>
                  </a:lnTo>
                  <a:lnTo>
                    <a:pt x="2208" y="870"/>
                  </a:lnTo>
                  <a:lnTo>
                    <a:pt x="2209" y="868"/>
                  </a:lnTo>
                  <a:lnTo>
                    <a:pt x="2211" y="866"/>
                  </a:lnTo>
                  <a:lnTo>
                    <a:pt x="2213" y="864"/>
                  </a:lnTo>
                  <a:lnTo>
                    <a:pt x="2215" y="864"/>
                  </a:lnTo>
                  <a:lnTo>
                    <a:pt x="2219" y="862"/>
                  </a:lnTo>
                  <a:lnTo>
                    <a:pt x="2226" y="857"/>
                  </a:lnTo>
                  <a:lnTo>
                    <a:pt x="2232" y="850"/>
                  </a:lnTo>
                  <a:lnTo>
                    <a:pt x="2239" y="843"/>
                  </a:lnTo>
                  <a:lnTo>
                    <a:pt x="2247" y="837"/>
                  </a:lnTo>
                  <a:lnTo>
                    <a:pt x="2254" y="834"/>
                  </a:lnTo>
                  <a:lnTo>
                    <a:pt x="2257" y="833"/>
                  </a:lnTo>
                  <a:lnTo>
                    <a:pt x="2260" y="833"/>
                  </a:lnTo>
                  <a:lnTo>
                    <a:pt x="2262" y="834"/>
                  </a:lnTo>
                  <a:lnTo>
                    <a:pt x="2265" y="836"/>
                  </a:lnTo>
                  <a:lnTo>
                    <a:pt x="2269" y="840"/>
                  </a:lnTo>
                  <a:lnTo>
                    <a:pt x="2271" y="842"/>
                  </a:lnTo>
                  <a:lnTo>
                    <a:pt x="2273" y="841"/>
                  </a:lnTo>
                  <a:lnTo>
                    <a:pt x="2275" y="839"/>
                  </a:lnTo>
                  <a:lnTo>
                    <a:pt x="2276" y="836"/>
                  </a:lnTo>
                  <a:lnTo>
                    <a:pt x="2278" y="832"/>
                  </a:lnTo>
                  <a:lnTo>
                    <a:pt x="2280" y="828"/>
                  </a:lnTo>
                  <a:lnTo>
                    <a:pt x="2283" y="825"/>
                  </a:lnTo>
                  <a:lnTo>
                    <a:pt x="2288" y="821"/>
                  </a:lnTo>
                  <a:lnTo>
                    <a:pt x="2297" y="814"/>
                  </a:lnTo>
                  <a:lnTo>
                    <a:pt x="2307" y="804"/>
                  </a:lnTo>
                  <a:lnTo>
                    <a:pt x="2317" y="793"/>
                  </a:lnTo>
                  <a:lnTo>
                    <a:pt x="2326" y="781"/>
                  </a:lnTo>
                  <a:lnTo>
                    <a:pt x="2334" y="770"/>
                  </a:lnTo>
                  <a:lnTo>
                    <a:pt x="2336" y="766"/>
                  </a:lnTo>
                  <a:lnTo>
                    <a:pt x="2338" y="760"/>
                  </a:lnTo>
                  <a:lnTo>
                    <a:pt x="2338" y="757"/>
                  </a:lnTo>
                  <a:lnTo>
                    <a:pt x="2337" y="754"/>
                  </a:lnTo>
                  <a:lnTo>
                    <a:pt x="2330" y="745"/>
                  </a:lnTo>
                  <a:lnTo>
                    <a:pt x="2327" y="735"/>
                  </a:lnTo>
                  <a:lnTo>
                    <a:pt x="2325" y="729"/>
                  </a:lnTo>
                  <a:lnTo>
                    <a:pt x="2325" y="727"/>
                  </a:lnTo>
                  <a:lnTo>
                    <a:pt x="2328" y="731"/>
                  </a:lnTo>
                  <a:lnTo>
                    <a:pt x="2338" y="741"/>
                  </a:lnTo>
                  <a:lnTo>
                    <a:pt x="2343" y="747"/>
                  </a:lnTo>
                  <a:lnTo>
                    <a:pt x="2349" y="751"/>
                  </a:lnTo>
                  <a:lnTo>
                    <a:pt x="2352" y="752"/>
                  </a:lnTo>
                  <a:lnTo>
                    <a:pt x="2357" y="753"/>
                  </a:lnTo>
                  <a:lnTo>
                    <a:pt x="2360" y="754"/>
                  </a:lnTo>
                  <a:lnTo>
                    <a:pt x="2363" y="754"/>
                  </a:lnTo>
                  <a:lnTo>
                    <a:pt x="2374" y="750"/>
                  </a:lnTo>
                  <a:lnTo>
                    <a:pt x="2391" y="742"/>
                  </a:lnTo>
                  <a:lnTo>
                    <a:pt x="2412" y="731"/>
                  </a:lnTo>
                  <a:lnTo>
                    <a:pt x="2435" y="718"/>
                  </a:lnTo>
                  <a:lnTo>
                    <a:pt x="2475" y="696"/>
                  </a:lnTo>
                  <a:lnTo>
                    <a:pt x="2493" y="686"/>
                  </a:lnTo>
                  <a:lnTo>
                    <a:pt x="2485" y="682"/>
                  </a:lnTo>
                  <a:lnTo>
                    <a:pt x="2470" y="673"/>
                  </a:lnTo>
                  <a:lnTo>
                    <a:pt x="2459" y="669"/>
                  </a:lnTo>
                  <a:lnTo>
                    <a:pt x="2450" y="665"/>
                  </a:lnTo>
                  <a:lnTo>
                    <a:pt x="2445" y="664"/>
                  </a:lnTo>
                  <a:lnTo>
                    <a:pt x="2440" y="663"/>
                  </a:lnTo>
                  <a:lnTo>
                    <a:pt x="2436" y="663"/>
                  </a:lnTo>
                  <a:lnTo>
                    <a:pt x="2432" y="664"/>
                  </a:lnTo>
                  <a:lnTo>
                    <a:pt x="2426" y="665"/>
                  </a:lnTo>
                  <a:lnTo>
                    <a:pt x="2420" y="664"/>
                  </a:lnTo>
                  <a:lnTo>
                    <a:pt x="2416" y="661"/>
                  </a:lnTo>
                  <a:lnTo>
                    <a:pt x="2413" y="658"/>
                  </a:lnTo>
                  <a:lnTo>
                    <a:pt x="2411" y="654"/>
                  </a:lnTo>
                  <a:lnTo>
                    <a:pt x="2410" y="651"/>
                  </a:lnTo>
                  <a:lnTo>
                    <a:pt x="2411" y="648"/>
                  </a:lnTo>
                  <a:lnTo>
                    <a:pt x="2413" y="646"/>
                  </a:lnTo>
                  <a:lnTo>
                    <a:pt x="2420" y="642"/>
                  </a:lnTo>
                  <a:lnTo>
                    <a:pt x="2430" y="640"/>
                  </a:lnTo>
                  <a:lnTo>
                    <a:pt x="2434" y="638"/>
                  </a:lnTo>
                  <a:lnTo>
                    <a:pt x="2437" y="636"/>
                  </a:lnTo>
                  <a:lnTo>
                    <a:pt x="2437" y="635"/>
                  </a:lnTo>
                  <a:lnTo>
                    <a:pt x="2437" y="634"/>
                  </a:lnTo>
                  <a:lnTo>
                    <a:pt x="2436" y="632"/>
                  </a:lnTo>
                  <a:lnTo>
                    <a:pt x="2435" y="631"/>
                  </a:lnTo>
                  <a:lnTo>
                    <a:pt x="2432" y="628"/>
                  </a:lnTo>
                  <a:lnTo>
                    <a:pt x="2430" y="625"/>
                  </a:lnTo>
                  <a:lnTo>
                    <a:pt x="2428" y="621"/>
                  </a:lnTo>
                  <a:lnTo>
                    <a:pt x="2427" y="618"/>
                  </a:lnTo>
                  <a:lnTo>
                    <a:pt x="2427" y="615"/>
                  </a:lnTo>
                  <a:lnTo>
                    <a:pt x="2428" y="613"/>
                  </a:lnTo>
                  <a:lnTo>
                    <a:pt x="2430" y="612"/>
                  </a:lnTo>
                  <a:lnTo>
                    <a:pt x="2434" y="613"/>
                  </a:lnTo>
                  <a:lnTo>
                    <a:pt x="2438" y="616"/>
                  </a:lnTo>
                  <a:lnTo>
                    <a:pt x="2444" y="621"/>
                  </a:lnTo>
                  <a:lnTo>
                    <a:pt x="2448" y="627"/>
                  </a:lnTo>
                  <a:lnTo>
                    <a:pt x="2453" y="635"/>
                  </a:lnTo>
                  <a:lnTo>
                    <a:pt x="2459" y="646"/>
                  </a:lnTo>
                  <a:lnTo>
                    <a:pt x="2462" y="651"/>
                  </a:lnTo>
                  <a:lnTo>
                    <a:pt x="2464" y="654"/>
                  </a:lnTo>
                  <a:lnTo>
                    <a:pt x="2471" y="663"/>
                  </a:lnTo>
                  <a:lnTo>
                    <a:pt x="2475" y="666"/>
                  </a:lnTo>
                  <a:lnTo>
                    <a:pt x="2479" y="669"/>
                  </a:lnTo>
                  <a:lnTo>
                    <a:pt x="2482" y="670"/>
                  </a:lnTo>
                  <a:lnTo>
                    <a:pt x="2487" y="670"/>
                  </a:lnTo>
                  <a:lnTo>
                    <a:pt x="2491" y="668"/>
                  </a:lnTo>
                  <a:lnTo>
                    <a:pt x="2495" y="665"/>
                  </a:lnTo>
                  <a:lnTo>
                    <a:pt x="2500" y="661"/>
                  </a:lnTo>
                  <a:lnTo>
                    <a:pt x="2504" y="656"/>
                  </a:lnTo>
                  <a:lnTo>
                    <a:pt x="2507" y="650"/>
                  </a:lnTo>
                  <a:lnTo>
                    <a:pt x="2509" y="645"/>
                  </a:lnTo>
                  <a:lnTo>
                    <a:pt x="2510" y="643"/>
                  </a:lnTo>
                  <a:lnTo>
                    <a:pt x="2509" y="640"/>
                  </a:lnTo>
                  <a:lnTo>
                    <a:pt x="2507" y="637"/>
                  </a:lnTo>
                  <a:lnTo>
                    <a:pt x="2506" y="635"/>
                  </a:lnTo>
                  <a:lnTo>
                    <a:pt x="2496" y="621"/>
                  </a:lnTo>
                  <a:lnTo>
                    <a:pt x="2483" y="605"/>
                  </a:lnTo>
                  <a:lnTo>
                    <a:pt x="2471" y="591"/>
                  </a:lnTo>
                  <a:lnTo>
                    <a:pt x="2460" y="579"/>
                  </a:lnTo>
                  <a:lnTo>
                    <a:pt x="2449" y="569"/>
                  </a:lnTo>
                  <a:lnTo>
                    <a:pt x="2434" y="556"/>
                  </a:lnTo>
                  <a:lnTo>
                    <a:pt x="2422" y="545"/>
                  </a:lnTo>
                  <a:lnTo>
                    <a:pt x="2416" y="541"/>
                  </a:lnTo>
                  <a:lnTo>
                    <a:pt x="2420" y="541"/>
                  </a:lnTo>
                  <a:lnTo>
                    <a:pt x="2432" y="541"/>
                  </a:lnTo>
                  <a:lnTo>
                    <a:pt x="2438" y="541"/>
                  </a:lnTo>
                  <a:lnTo>
                    <a:pt x="2445" y="542"/>
                  </a:lnTo>
                  <a:lnTo>
                    <a:pt x="2449" y="543"/>
                  </a:lnTo>
                  <a:lnTo>
                    <a:pt x="2452" y="547"/>
                  </a:lnTo>
                  <a:lnTo>
                    <a:pt x="2454" y="548"/>
                  </a:lnTo>
                  <a:lnTo>
                    <a:pt x="2456" y="548"/>
                  </a:lnTo>
                  <a:lnTo>
                    <a:pt x="2457" y="547"/>
                  </a:lnTo>
                  <a:lnTo>
                    <a:pt x="2458" y="544"/>
                  </a:lnTo>
                  <a:lnTo>
                    <a:pt x="2459" y="538"/>
                  </a:lnTo>
                  <a:lnTo>
                    <a:pt x="2459" y="536"/>
                  </a:lnTo>
                  <a:lnTo>
                    <a:pt x="2459" y="533"/>
                  </a:lnTo>
                  <a:lnTo>
                    <a:pt x="2458" y="526"/>
                  </a:lnTo>
                  <a:lnTo>
                    <a:pt x="2459" y="522"/>
                  </a:lnTo>
                  <a:lnTo>
                    <a:pt x="2460" y="520"/>
                  </a:lnTo>
                  <a:lnTo>
                    <a:pt x="2462" y="520"/>
                  </a:lnTo>
                  <a:lnTo>
                    <a:pt x="2464" y="522"/>
                  </a:lnTo>
                  <a:lnTo>
                    <a:pt x="2469" y="527"/>
                  </a:lnTo>
                  <a:lnTo>
                    <a:pt x="2474" y="529"/>
                  </a:lnTo>
                  <a:lnTo>
                    <a:pt x="2479" y="530"/>
                  </a:lnTo>
                  <a:lnTo>
                    <a:pt x="2484" y="531"/>
                  </a:lnTo>
                  <a:lnTo>
                    <a:pt x="2493" y="531"/>
                  </a:lnTo>
                  <a:lnTo>
                    <a:pt x="2497" y="531"/>
                  </a:lnTo>
                  <a:lnTo>
                    <a:pt x="2492" y="520"/>
                  </a:lnTo>
                  <a:lnTo>
                    <a:pt x="2487" y="510"/>
                  </a:lnTo>
                  <a:lnTo>
                    <a:pt x="2480" y="506"/>
                  </a:lnTo>
                  <a:lnTo>
                    <a:pt x="2469" y="497"/>
                  </a:lnTo>
                  <a:lnTo>
                    <a:pt x="2463" y="493"/>
                  </a:lnTo>
                  <a:lnTo>
                    <a:pt x="2459" y="489"/>
                  </a:lnTo>
                  <a:lnTo>
                    <a:pt x="2458" y="488"/>
                  </a:lnTo>
                  <a:lnTo>
                    <a:pt x="2458" y="486"/>
                  </a:lnTo>
                  <a:lnTo>
                    <a:pt x="2458" y="485"/>
                  </a:lnTo>
                  <a:lnTo>
                    <a:pt x="2459" y="484"/>
                  </a:lnTo>
                  <a:lnTo>
                    <a:pt x="2469" y="482"/>
                  </a:lnTo>
                  <a:lnTo>
                    <a:pt x="2480" y="479"/>
                  </a:lnTo>
                  <a:lnTo>
                    <a:pt x="2492" y="478"/>
                  </a:lnTo>
                  <a:lnTo>
                    <a:pt x="2497" y="478"/>
                  </a:lnTo>
                  <a:lnTo>
                    <a:pt x="2497" y="476"/>
                  </a:lnTo>
                  <a:lnTo>
                    <a:pt x="2492" y="470"/>
                  </a:lnTo>
                  <a:lnTo>
                    <a:pt x="2483" y="462"/>
                  </a:lnTo>
                  <a:lnTo>
                    <a:pt x="2475" y="453"/>
                  </a:lnTo>
                  <a:lnTo>
                    <a:pt x="2464" y="444"/>
                  </a:lnTo>
                  <a:lnTo>
                    <a:pt x="2455" y="432"/>
                  </a:lnTo>
                  <a:lnTo>
                    <a:pt x="2451" y="427"/>
                  </a:lnTo>
                  <a:lnTo>
                    <a:pt x="2449" y="423"/>
                  </a:lnTo>
                  <a:lnTo>
                    <a:pt x="2448" y="422"/>
                  </a:lnTo>
                  <a:lnTo>
                    <a:pt x="2448" y="421"/>
                  </a:lnTo>
                  <a:lnTo>
                    <a:pt x="2448" y="421"/>
                  </a:lnTo>
                  <a:lnTo>
                    <a:pt x="2449" y="421"/>
                  </a:lnTo>
                  <a:lnTo>
                    <a:pt x="2458" y="427"/>
                  </a:lnTo>
                  <a:lnTo>
                    <a:pt x="2472" y="435"/>
                  </a:lnTo>
                  <a:lnTo>
                    <a:pt x="2479" y="440"/>
                  </a:lnTo>
                  <a:lnTo>
                    <a:pt x="2484" y="442"/>
                  </a:lnTo>
                  <a:lnTo>
                    <a:pt x="2487" y="443"/>
                  </a:lnTo>
                  <a:lnTo>
                    <a:pt x="2489" y="443"/>
                  </a:lnTo>
                  <a:lnTo>
                    <a:pt x="2490" y="443"/>
                  </a:lnTo>
                  <a:lnTo>
                    <a:pt x="2490" y="442"/>
                  </a:lnTo>
                  <a:lnTo>
                    <a:pt x="2482" y="431"/>
                  </a:lnTo>
                  <a:lnTo>
                    <a:pt x="2469" y="413"/>
                  </a:lnTo>
                  <a:lnTo>
                    <a:pt x="2454" y="398"/>
                  </a:lnTo>
                  <a:lnTo>
                    <a:pt x="2447" y="389"/>
                  </a:lnTo>
                  <a:lnTo>
                    <a:pt x="2440" y="387"/>
                  </a:lnTo>
                  <a:lnTo>
                    <a:pt x="2433" y="383"/>
                  </a:lnTo>
                  <a:lnTo>
                    <a:pt x="2430" y="380"/>
                  </a:lnTo>
                  <a:lnTo>
                    <a:pt x="2427" y="378"/>
                  </a:lnTo>
                  <a:lnTo>
                    <a:pt x="2426" y="375"/>
                  </a:lnTo>
                  <a:lnTo>
                    <a:pt x="2427" y="371"/>
                  </a:lnTo>
                  <a:lnTo>
                    <a:pt x="2429" y="367"/>
                  </a:lnTo>
                  <a:lnTo>
                    <a:pt x="2432" y="364"/>
                  </a:lnTo>
                  <a:lnTo>
                    <a:pt x="2435" y="361"/>
                  </a:lnTo>
                  <a:lnTo>
                    <a:pt x="2438" y="359"/>
                  </a:lnTo>
                  <a:lnTo>
                    <a:pt x="2442" y="357"/>
                  </a:lnTo>
                  <a:lnTo>
                    <a:pt x="2447" y="357"/>
                  </a:lnTo>
                  <a:lnTo>
                    <a:pt x="2450" y="357"/>
                  </a:lnTo>
                  <a:lnTo>
                    <a:pt x="2454" y="359"/>
                  </a:lnTo>
                  <a:lnTo>
                    <a:pt x="2473" y="375"/>
                  </a:lnTo>
                  <a:lnTo>
                    <a:pt x="2482" y="381"/>
                  </a:lnTo>
                  <a:lnTo>
                    <a:pt x="2481" y="375"/>
                  </a:lnTo>
                  <a:lnTo>
                    <a:pt x="2478" y="362"/>
                  </a:lnTo>
                  <a:lnTo>
                    <a:pt x="2474" y="350"/>
                  </a:lnTo>
                  <a:lnTo>
                    <a:pt x="2472" y="344"/>
                  </a:lnTo>
                  <a:lnTo>
                    <a:pt x="2467" y="343"/>
                  </a:lnTo>
                  <a:lnTo>
                    <a:pt x="2460" y="343"/>
                  </a:lnTo>
                  <a:lnTo>
                    <a:pt x="2455" y="342"/>
                  </a:lnTo>
                  <a:lnTo>
                    <a:pt x="2448" y="340"/>
                  </a:lnTo>
                  <a:lnTo>
                    <a:pt x="2444" y="339"/>
                  </a:lnTo>
                  <a:lnTo>
                    <a:pt x="2440" y="337"/>
                  </a:lnTo>
                  <a:lnTo>
                    <a:pt x="2438" y="335"/>
                  </a:lnTo>
                  <a:lnTo>
                    <a:pt x="2438" y="334"/>
                  </a:lnTo>
                  <a:lnTo>
                    <a:pt x="2440" y="330"/>
                  </a:lnTo>
                  <a:lnTo>
                    <a:pt x="2444" y="325"/>
                  </a:lnTo>
                  <a:lnTo>
                    <a:pt x="2446" y="322"/>
                  </a:lnTo>
                  <a:lnTo>
                    <a:pt x="2446" y="319"/>
                  </a:lnTo>
                  <a:lnTo>
                    <a:pt x="2438" y="318"/>
                  </a:lnTo>
                  <a:lnTo>
                    <a:pt x="2428" y="319"/>
                  </a:lnTo>
                  <a:lnTo>
                    <a:pt x="2424" y="319"/>
                  </a:lnTo>
                  <a:lnTo>
                    <a:pt x="2419" y="317"/>
                  </a:lnTo>
                  <a:lnTo>
                    <a:pt x="2417" y="316"/>
                  </a:lnTo>
                  <a:lnTo>
                    <a:pt x="2415" y="315"/>
                  </a:lnTo>
                  <a:lnTo>
                    <a:pt x="2413" y="313"/>
                  </a:lnTo>
                  <a:lnTo>
                    <a:pt x="2412" y="311"/>
                  </a:lnTo>
                  <a:lnTo>
                    <a:pt x="2411" y="306"/>
                  </a:lnTo>
                  <a:lnTo>
                    <a:pt x="2410" y="301"/>
                  </a:lnTo>
                  <a:lnTo>
                    <a:pt x="2410" y="300"/>
                  </a:lnTo>
                  <a:lnTo>
                    <a:pt x="2410" y="299"/>
                  </a:lnTo>
                  <a:lnTo>
                    <a:pt x="2411" y="297"/>
                  </a:lnTo>
                  <a:lnTo>
                    <a:pt x="2413" y="297"/>
                  </a:lnTo>
                  <a:lnTo>
                    <a:pt x="2417" y="296"/>
                  </a:lnTo>
                  <a:lnTo>
                    <a:pt x="2422" y="296"/>
                  </a:lnTo>
                  <a:lnTo>
                    <a:pt x="2423" y="295"/>
                  </a:lnTo>
                  <a:lnTo>
                    <a:pt x="2423" y="293"/>
                  </a:lnTo>
                  <a:lnTo>
                    <a:pt x="2422" y="291"/>
                  </a:lnTo>
                  <a:lnTo>
                    <a:pt x="2418" y="287"/>
                  </a:lnTo>
                  <a:lnTo>
                    <a:pt x="2411" y="278"/>
                  </a:lnTo>
                  <a:lnTo>
                    <a:pt x="2406" y="272"/>
                  </a:lnTo>
                  <a:lnTo>
                    <a:pt x="2405" y="270"/>
                  </a:lnTo>
                  <a:lnTo>
                    <a:pt x="2404" y="268"/>
                  </a:lnTo>
                  <a:lnTo>
                    <a:pt x="2403" y="267"/>
                  </a:lnTo>
                  <a:lnTo>
                    <a:pt x="2404" y="266"/>
                  </a:lnTo>
                  <a:lnTo>
                    <a:pt x="2416" y="262"/>
                  </a:lnTo>
                  <a:lnTo>
                    <a:pt x="2426" y="258"/>
                  </a:lnTo>
                  <a:lnTo>
                    <a:pt x="2417" y="246"/>
                  </a:lnTo>
                  <a:lnTo>
                    <a:pt x="2410" y="235"/>
                  </a:lnTo>
                  <a:lnTo>
                    <a:pt x="2417" y="232"/>
                  </a:lnTo>
                  <a:lnTo>
                    <a:pt x="2424" y="228"/>
                  </a:lnTo>
                  <a:lnTo>
                    <a:pt x="2416" y="224"/>
                  </a:lnTo>
                  <a:lnTo>
                    <a:pt x="2410" y="221"/>
                  </a:lnTo>
                  <a:lnTo>
                    <a:pt x="2411" y="222"/>
                  </a:lnTo>
                  <a:lnTo>
                    <a:pt x="2412" y="225"/>
                  </a:lnTo>
                  <a:lnTo>
                    <a:pt x="2412" y="226"/>
                  </a:lnTo>
                  <a:lnTo>
                    <a:pt x="2411" y="226"/>
                  </a:lnTo>
                  <a:lnTo>
                    <a:pt x="2409" y="226"/>
                  </a:lnTo>
                  <a:lnTo>
                    <a:pt x="2406" y="225"/>
                  </a:lnTo>
                  <a:lnTo>
                    <a:pt x="2400" y="223"/>
                  </a:lnTo>
                  <a:lnTo>
                    <a:pt x="2395" y="222"/>
                  </a:lnTo>
                  <a:lnTo>
                    <a:pt x="2393" y="220"/>
                  </a:lnTo>
                  <a:lnTo>
                    <a:pt x="2392" y="217"/>
                  </a:lnTo>
                  <a:lnTo>
                    <a:pt x="2392" y="213"/>
                  </a:lnTo>
                  <a:lnTo>
                    <a:pt x="2392" y="211"/>
                  </a:lnTo>
                  <a:lnTo>
                    <a:pt x="2394" y="209"/>
                  </a:lnTo>
                  <a:lnTo>
                    <a:pt x="2396" y="207"/>
                  </a:lnTo>
                  <a:lnTo>
                    <a:pt x="2403" y="210"/>
                  </a:lnTo>
                  <a:lnTo>
                    <a:pt x="2412" y="217"/>
                  </a:lnTo>
                  <a:lnTo>
                    <a:pt x="2417" y="220"/>
                  </a:lnTo>
                  <a:lnTo>
                    <a:pt x="2423" y="222"/>
                  </a:lnTo>
                  <a:lnTo>
                    <a:pt x="2426" y="223"/>
                  </a:lnTo>
                  <a:lnTo>
                    <a:pt x="2429" y="222"/>
                  </a:lnTo>
                  <a:lnTo>
                    <a:pt x="2433" y="219"/>
                  </a:lnTo>
                  <a:lnTo>
                    <a:pt x="2436" y="218"/>
                  </a:lnTo>
                  <a:lnTo>
                    <a:pt x="2436" y="217"/>
                  </a:lnTo>
                  <a:lnTo>
                    <a:pt x="2436" y="215"/>
                  </a:lnTo>
                  <a:lnTo>
                    <a:pt x="2435" y="214"/>
                  </a:lnTo>
                  <a:lnTo>
                    <a:pt x="2433" y="213"/>
                  </a:lnTo>
                  <a:lnTo>
                    <a:pt x="2429" y="210"/>
                  </a:lnTo>
                  <a:lnTo>
                    <a:pt x="2425" y="207"/>
                  </a:lnTo>
                  <a:lnTo>
                    <a:pt x="2418" y="205"/>
                  </a:lnTo>
                  <a:lnTo>
                    <a:pt x="2409" y="202"/>
                  </a:lnTo>
                  <a:lnTo>
                    <a:pt x="2397" y="198"/>
                  </a:lnTo>
                  <a:lnTo>
                    <a:pt x="2389" y="193"/>
                  </a:lnTo>
                  <a:lnTo>
                    <a:pt x="2386" y="192"/>
                  </a:lnTo>
                  <a:lnTo>
                    <a:pt x="2384" y="191"/>
                  </a:lnTo>
                  <a:lnTo>
                    <a:pt x="2382" y="191"/>
                  </a:lnTo>
                  <a:lnTo>
                    <a:pt x="2380" y="191"/>
                  </a:lnTo>
                  <a:lnTo>
                    <a:pt x="2374" y="192"/>
                  </a:lnTo>
                  <a:lnTo>
                    <a:pt x="2369" y="191"/>
                  </a:lnTo>
                  <a:lnTo>
                    <a:pt x="2366" y="190"/>
                  </a:lnTo>
                  <a:lnTo>
                    <a:pt x="2366" y="189"/>
                  </a:lnTo>
                  <a:lnTo>
                    <a:pt x="2368" y="188"/>
                  </a:lnTo>
                  <a:lnTo>
                    <a:pt x="2371" y="186"/>
                  </a:lnTo>
                  <a:lnTo>
                    <a:pt x="2374" y="186"/>
                  </a:lnTo>
                  <a:lnTo>
                    <a:pt x="2379" y="187"/>
                  </a:lnTo>
                  <a:lnTo>
                    <a:pt x="2384" y="189"/>
                  </a:lnTo>
                  <a:lnTo>
                    <a:pt x="2390" y="192"/>
                  </a:lnTo>
                  <a:lnTo>
                    <a:pt x="2397" y="196"/>
                  </a:lnTo>
                  <a:lnTo>
                    <a:pt x="2404" y="196"/>
                  </a:lnTo>
                  <a:lnTo>
                    <a:pt x="2410" y="197"/>
                  </a:lnTo>
                  <a:lnTo>
                    <a:pt x="2418" y="199"/>
                  </a:lnTo>
                  <a:lnTo>
                    <a:pt x="2425" y="202"/>
                  </a:lnTo>
                  <a:lnTo>
                    <a:pt x="2427" y="203"/>
                  </a:lnTo>
                  <a:lnTo>
                    <a:pt x="2428" y="203"/>
                  </a:lnTo>
                  <a:lnTo>
                    <a:pt x="2431" y="204"/>
                  </a:lnTo>
                  <a:lnTo>
                    <a:pt x="2434" y="204"/>
                  </a:lnTo>
                  <a:lnTo>
                    <a:pt x="2437" y="202"/>
                  </a:lnTo>
                  <a:lnTo>
                    <a:pt x="2442" y="200"/>
                  </a:lnTo>
                  <a:lnTo>
                    <a:pt x="2449" y="199"/>
                  </a:lnTo>
                  <a:lnTo>
                    <a:pt x="2452" y="199"/>
                  </a:lnTo>
                  <a:lnTo>
                    <a:pt x="2454" y="198"/>
                  </a:lnTo>
                  <a:lnTo>
                    <a:pt x="2454" y="197"/>
                  </a:lnTo>
                  <a:lnTo>
                    <a:pt x="2452" y="196"/>
                  </a:lnTo>
                  <a:lnTo>
                    <a:pt x="2440" y="188"/>
                  </a:lnTo>
                  <a:lnTo>
                    <a:pt x="2422" y="177"/>
                  </a:lnTo>
                  <a:lnTo>
                    <a:pt x="2401" y="165"/>
                  </a:lnTo>
                  <a:lnTo>
                    <a:pt x="2384" y="159"/>
                  </a:lnTo>
                  <a:lnTo>
                    <a:pt x="2380" y="158"/>
                  </a:lnTo>
                  <a:lnTo>
                    <a:pt x="2379" y="159"/>
                  </a:lnTo>
                  <a:lnTo>
                    <a:pt x="2378" y="160"/>
                  </a:lnTo>
                  <a:lnTo>
                    <a:pt x="2379" y="162"/>
                  </a:lnTo>
                  <a:lnTo>
                    <a:pt x="2380" y="163"/>
                  </a:lnTo>
                  <a:lnTo>
                    <a:pt x="2380" y="164"/>
                  </a:lnTo>
                  <a:lnTo>
                    <a:pt x="2378" y="164"/>
                  </a:lnTo>
                  <a:lnTo>
                    <a:pt x="2373" y="161"/>
                  </a:lnTo>
                  <a:lnTo>
                    <a:pt x="2361" y="155"/>
                  </a:lnTo>
                  <a:lnTo>
                    <a:pt x="2360" y="155"/>
                  </a:lnTo>
                  <a:lnTo>
                    <a:pt x="2363" y="157"/>
                  </a:lnTo>
                  <a:lnTo>
                    <a:pt x="2371" y="161"/>
                  </a:lnTo>
                  <a:lnTo>
                    <a:pt x="2376" y="164"/>
                  </a:lnTo>
                  <a:lnTo>
                    <a:pt x="2376" y="164"/>
                  </a:lnTo>
                  <a:lnTo>
                    <a:pt x="2368" y="163"/>
                  </a:lnTo>
                  <a:lnTo>
                    <a:pt x="2358" y="159"/>
                  </a:lnTo>
                  <a:lnTo>
                    <a:pt x="2351" y="154"/>
                  </a:lnTo>
                  <a:lnTo>
                    <a:pt x="2346" y="150"/>
                  </a:lnTo>
                  <a:lnTo>
                    <a:pt x="2345" y="149"/>
                  </a:lnTo>
                  <a:lnTo>
                    <a:pt x="2343" y="148"/>
                  </a:lnTo>
                  <a:lnTo>
                    <a:pt x="2342" y="148"/>
                  </a:lnTo>
                  <a:lnTo>
                    <a:pt x="2342" y="149"/>
                  </a:lnTo>
                  <a:lnTo>
                    <a:pt x="2334" y="153"/>
                  </a:lnTo>
                  <a:lnTo>
                    <a:pt x="2329" y="156"/>
                  </a:lnTo>
                  <a:lnTo>
                    <a:pt x="2330" y="164"/>
                  </a:lnTo>
                  <a:lnTo>
                    <a:pt x="2330" y="170"/>
                  </a:lnTo>
                  <a:lnTo>
                    <a:pt x="2324" y="171"/>
                  </a:lnTo>
                  <a:lnTo>
                    <a:pt x="2316" y="170"/>
                  </a:lnTo>
                  <a:lnTo>
                    <a:pt x="2313" y="169"/>
                  </a:lnTo>
                  <a:lnTo>
                    <a:pt x="2310" y="167"/>
                  </a:lnTo>
                  <a:lnTo>
                    <a:pt x="2309" y="167"/>
                  </a:lnTo>
                  <a:lnTo>
                    <a:pt x="2309" y="166"/>
                  </a:lnTo>
                  <a:lnTo>
                    <a:pt x="2309" y="165"/>
                  </a:lnTo>
                  <a:lnTo>
                    <a:pt x="2310" y="165"/>
                  </a:lnTo>
                  <a:lnTo>
                    <a:pt x="2315" y="163"/>
                  </a:lnTo>
                  <a:lnTo>
                    <a:pt x="2318" y="161"/>
                  </a:lnTo>
                  <a:lnTo>
                    <a:pt x="2320" y="159"/>
                  </a:lnTo>
                  <a:lnTo>
                    <a:pt x="2320" y="156"/>
                  </a:lnTo>
                  <a:lnTo>
                    <a:pt x="2321" y="149"/>
                  </a:lnTo>
                  <a:lnTo>
                    <a:pt x="2320" y="143"/>
                  </a:lnTo>
                  <a:lnTo>
                    <a:pt x="2316" y="138"/>
                  </a:lnTo>
                  <a:lnTo>
                    <a:pt x="2309" y="132"/>
                  </a:lnTo>
                  <a:lnTo>
                    <a:pt x="2302" y="126"/>
                  </a:lnTo>
                  <a:lnTo>
                    <a:pt x="2297" y="124"/>
                  </a:lnTo>
                  <a:lnTo>
                    <a:pt x="2290" y="123"/>
                  </a:lnTo>
                  <a:lnTo>
                    <a:pt x="2283" y="122"/>
                  </a:lnTo>
                  <a:lnTo>
                    <a:pt x="2281" y="122"/>
                  </a:lnTo>
                  <a:lnTo>
                    <a:pt x="2279" y="122"/>
                  </a:lnTo>
                  <a:lnTo>
                    <a:pt x="2278" y="122"/>
                  </a:lnTo>
                  <a:lnTo>
                    <a:pt x="2278" y="123"/>
                  </a:lnTo>
                  <a:lnTo>
                    <a:pt x="2279" y="125"/>
                  </a:lnTo>
                  <a:lnTo>
                    <a:pt x="2278" y="126"/>
                  </a:lnTo>
                  <a:lnTo>
                    <a:pt x="2277" y="126"/>
                  </a:lnTo>
                  <a:lnTo>
                    <a:pt x="2275" y="127"/>
                  </a:lnTo>
                  <a:lnTo>
                    <a:pt x="2271" y="128"/>
                  </a:lnTo>
                  <a:lnTo>
                    <a:pt x="2265" y="128"/>
                  </a:lnTo>
                  <a:lnTo>
                    <a:pt x="2251" y="126"/>
                  </a:lnTo>
                  <a:lnTo>
                    <a:pt x="2241" y="125"/>
                  </a:lnTo>
                  <a:lnTo>
                    <a:pt x="2252" y="124"/>
                  </a:lnTo>
                  <a:lnTo>
                    <a:pt x="2263" y="124"/>
                  </a:lnTo>
                  <a:lnTo>
                    <a:pt x="2264" y="123"/>
                  </a:lnTo>
                  <a:lnTo>
                    <a:pt x="2266" y="123"/>
                  </a:lnTo>
                  <a:lnTo>
                    <a:pt x="2266" y="121"/>
                  </a:lnTo>
                  <a:lnTo>
                    <a:pt x="2265" y="120"/>
                  </a:lnTo>
                  <a:lnTo>
                    <a:pt x="2257" y="115"/>
                  </a:lnTo>
                  <a:lnTo>
                    <a:pt x="2247" y="111"/>
                  </a:lnTo>
                  <a:lnTo>
                    <a:pt x="2240" y="109"/>
                  </a:lnTo>
                  <a:lnTo>
                    <a:pt x="2230" y="106"/>
                  </a:lnTo>
                  <a:lnTo>
                    <a:pt x="2218" y="103"/>
                  </a:lnTo>
                  <a:lnTo>
                    <a:pt x="2207" y="101"/>
                  </a:lnTo>
                  <a:lnTo>
                    <a:pt x="2191" y="101"/>
                  </a:lnTo>
                  <a:lnTo>
                    <a:pt x="2176" y="100"/>
                  </a:lnTo>
                  <a:lnTo>
                    <a:pt x="2166" y="99"/>
                  </a:lnTo>
                  <a:lnTo>
                    <a:pt x="2158" y="98"/>
                  </a:lnTo>
                  <a:lnTo>
                    <a:pt x="2154" y="97"/>
                  </a:lnTo>
                  <a:lnTo>
                    <a:pt x="2152" y="96"/>
                  </a:lnTo>
                  <a:lnTo>
                    <a:pt x="2151" y="95"/>
                  </a:lnTo>
                  <a:lnTo>
                    <a:pt x="2152" y="94"/>
                  </a:lnTo>
                  <a:lnTo>
                    <a:pt x="2158" y="93"/>
                  </a:lnTo>
                  <a:lnTo>
                    <a:pt x="2164" y="92"/>
                  </a:lnTo>
                  <a:lnTo>
                    <a:pt x="2170" y="92"/>
                  </a:lnTo>
                  <a:lnTo>
                    <a:pt x="2177" y="93"/>
                  </a:lnTo>
                  <a:lnTo>
                    <a:pt x="2185" y="93"/>
                  </a:lnTo>
                  <a:lnTo>
                    <a:pt x="2195" y="95"/>
                  </a:lnTo>
                  <a:lnTo>
                    <a:pt x="2207" y="97"/>
                  </a:lnTo>
                  <a:lnTo>
                    <a:pt x="2218" y="99"/>
                  </a:lnTo>
                  <a:lnTo>
                    <a:pt x="2228" y="103"/>
                  </a:lnTo>
                  <a:lnTo>
                    <a:pt x="2238" y="106"/>
                  </a:lnTo>
                  <a:lnTo>
                    <a:pt x="2246" y="109"/>
                  </a:lnTo>
                  <a:lnTo>
                    <a:pt x="2251" y="110"/>
                  </a:lnTo>
                  <a:lnTo>
                    <a:pt x="2262" y="112"/>
                  </a:lnTo>
                  <a:lnTo>
                    <a:pt x="2280" y="115"/>
                  </a:lnTo>
                  <a:lnTo>
                    <a:pt x="2292" y="118"/>
                  </a:lnTo>
                  <a:lnTo>
                    <a:pt x="2296" y="118"/>
                  </a:lnTo>
                  <a:lnTo>
                    <a:pt x="2296" y="117"/>
                  </a:lnTo>
                  <a:lnTo>
                    <a:pt x="2288" y="113"/>
                  </a:lnTo>
                  <a:lnTo>
                    <a:pt x="2277" y="108"/>
                  </a:lnTo>
                  <a:lnTo>
                    <a:pt x="2262" y="102"/>
                  </a:lnTo>
                  <a:lnTo>
                    <a:pt x="2250" y="97"/>
                  </a:lnTo>
                  <a:lnTo>
                    <a:pt x="2243" y="95"/>
                  </a:lnTo>
                  <a:lnTo>
                    <a:pt x="2239" y="94"/>
                  </a:lnTo>
                  <a:lnTo>
                    <a:pt x="2233" y="92"/>
                  </a:lnTo>
                  <a:lnTo>
                    <a:pt x="2234" y="92"/>
                  </a:lnTo>
                  <a:lnTo>
                    <a:pt x="2233" y="90"/>
                  </a:lnTo>
                  <a:lnTo>
                    <a:pt x="2228" y="87"/>
                  </a:lnTo>
                  <a:lnTo>
                    <a:pt x="2218" y="83"/>
                  </a:lnTo>
                  <a:lnTo>
                    <a:pt x="2208" y="81"/>
                  </a:lnTo>
                  <a:lnTo>
                    <a:pt x="2193" y="77"/>
                  </a:lnTo>
                  <a:lnTo>
                    <a:pt x="2183" y="74"/>
                  </a:lnTo>
                  <a:lnTo>
                    <a:pt x="2172" y="70"/>
                  </a:lnTo>
                  <a:lnTo>
                    <a:pt x="2162" y="67"/>
                  </a:lnTo>
                  <a:lnTo>
                    <a:pt x="2153" y="65"/>
                  </a:lnTo>
                  <a:lnTo>
                    <a:pt x="2141" y="62"/>
                  </a:lnTo>
                  <a:lnTo>
                    <a:pt x="2125" y="59"/>
                  </a:lnTo>
                  <a:lnTo>
                    <a:pt x="2116" y="57"/>
                  </a:lnTo>
                  <a:lnTo>
                    <a:pt x="2104" y="55"/>
                  </a:lnTo>
                  <a:lnTo>
                    <a:pt x="2095" y="53"/>
                  </a:lnTo>
                  <a:lnTo>
                    <a:pt x="2093" y="52"/>
                  </a:lnTo>
                  <a:lnTo>
                    <a:pt x="2104" y="54"/>
                  </a:lnTo>
                  <a:lnTo>
                    <a:pt x="2124" y="57"/>
                  </a:lnTo>
                  <a:lnTo>
                    <a:pt x="2133" y="58"/>
                  </a:lnTo>
                  <a:lnTo>
                    <a:pt x="2142" y="60"/>
                  </a:lnTo>
                  <a:lnTo>
                    <a:pt x="2150" y="62"/>
                  </a:lnTo>
                  <a:lnTo>
                    <a:pt x="2155" y="64"/>
                  </a:lnTo>
                  <a:lnTo>
                    <a:pt x="2167" y="68"/>
                  </a:lnTo>
                  <a:lnTo>
                    <a:pt x="2183" y="72"/>
                  </a:lnTo>
                  <a:lnTo>
                    <a:pt x="2196" y="76"/>
                  </a:lnTo>
                  <a:lnTo>
                    <a:pt x="2204" y="78"/>
                  </a:lnTo>
                  <a:lnTo>
                    <a:pt x="2209" y="80"/>
                  </a:lnTo>
                  <a:lnTo>
                    <a:pt x="2214" y="81"/>
                  </a:lnTo>
                  <a:lnTo>
                    <a:pt x="2207" y="79"/>
                  </a:lnTo>
                  <a:lnTo>
                    <a:pt x="2193" y="74"/>
                  </a:lnTo>
                  <a:lnTo>
                    <a:pt x="2178" y="69"/>
                  </a:lnTo>
                  <a:lnTo>
                    <a:pt x="2166" y="66"/>
                  </a:lnTo>
                  <a:lnTo>
                    <a:pt x="2156" y="62"/>
                  </a:lnTo>
                  <a:lnTo>
                    <a:pt x="2144" y="58"/>
                  </a:lnTo>
                  <a:lnTo>
                    <a:pt x="2132" y="55"/>
                  </a:lnTo>
                  <a:lnTo>
                    <a:pt x="2122" y="52"/>
                  </a:lnTo>
                  <a:lnTo>
                    <a:pt x="2110" y="49"/>
                  </a:lnTo>
                  <a:lnTo>
                    <a:pt x="2096" y="45"/>
                  </a:lnTo>
                  <a:lnTo>
                    <a:pt x="2081" y="40"/>
                  </a:lnTo>
                  <a:lnTo>
                    <a:pt x="2068" y="37"/>
                  </a:lnTo>
                  <a:lnTo>
                    <a:pt x="2065" y="37"/>
                  </a:lnTo>
                  <a:lnTo>
                    <a:pt x="2064" y="37"/>
                  </a:lnTo>
                  <a:lnTo>
                    <a:pt x="2064" y="37"/>
                  </a:lnTo>
                  <a:lnTo>
                    <a:pt x="2066" y="38"/>
                  </a:lnTo>
                  <a:lnTo>
                    <a:pt x="2072" y="39"/>
                  </a:lnTo>
                  <a:lnTo>
                    <a:pt x="2072" y="40"/>
                  </a:lnTo>
                  <a:lnTo>
                    <a:pt x="2059" y="37"/>
                  </a:lnTo>
                  <a:lnTo>
                    <a:pt x="2052" y="35"/>
                  </a:lnTo>
                  <a:lnTo>
                    <a:pt x="2053" y="35"/>
                  </a:lnTo>
                  <a:lnTo>
                    <a:pt x="2055" y="36"/>
                  </a:lnTo>
                  <a:lnTo>
                    <a:pt x="2056" y="37"/>
                  </a:lnTo>
                  <a:lnTo>
                    <a:pt x="2051" y="36"/>
                  </a:lnTo>
                  <a:lnTo>
                    <a:pt x="2041" y="33"/>
                  </a:lnTo>
                  <a:lnTo>
                    <a:pt x="2039" y="33"/>
                  </a:lnTo>
                  <a:lnTo>
                    <a:pt x="2040" y="34"/>
                  </a:lnTo>
                  <a:lnTo>
                    <a:pt x="2045" y="36"/>
                  </a:lnTo>
                  <a:lnTo>
                    <a:pt x="2052" y="38"/>
                  </a:lnTo>
                  <a:lnTo>
                    <a:pt x="2059" y="39"/>
                  </a:lnTo>
                  <a:lnTo>
                    <a:pt x="2061" y="40"/>
                  </a:lnTo>
                  <a:lnTo>
                    <a:pt x="2063" y="42"/>
                  </a:lnTo>
                  <a:lnTo>
                    <a:pt x="2062" y="42"/>
                  </a:lnTo>
                  <a:lnTo>
                    <a:pt x="2060" y="42"/>
                  </a:lnTo>
                  <a:lnTo>
                    <a:pt x="2052" y="39"/>
                  </a:lnTo>
                  <a:lnTo>
                    <a:pt x="2042" y="37"/>
                  </a:lnTo>
                  <a:lnTo>
                    <a:pt x="2037" y="36"/>
                  </a:lnTo>
                  <a:lnTo>
                    <a:pt x="2038" y="37"/>
                  </a:lnTo>
                  <a:lnTo>
                    <a:pt x="2049" y="40"/>
                  </a:lnTo>
                  <a:lnTo>
                    <a:pt x="2050" y="42"/>
                  </a:lnTo>
                  <a:lnTo>
                    <a:pt x="2043" y="40"/>
                  </a:lnTo>
                  <a:lnTo>
                    <a:pt x="2043" y="40"/>
                  </a:lnTo>
                  <a:lnTo>
                    <a:pt x="2047" y="43"/>
                  </a:lnTo>
                  <a:lnTo>
                    <a:pt x="2053" y="45"/>
                  </a:lnTo>
                  <a:lnTo>
                    <a:pt x="2055" y="46"/>
                  </a:lnTo>
                  <a:lnTo>
                    <a:pt x="2056" y="46"/>
                  </a:lnTo>
                  <a:lnTo>
                    <a:pt x="2056" y="46"/>
                  </a:lnTo>
                  <a:lnTo>
                    <a:pt x="2053" y="46"/>
                  </a:lnTo>
                  <a:lnTo>
                    <a:pt x="2041" y="43"/>
                  </a:lnTo>
                  <a:lnTo>
                    <a:pt x="2029" y="38"/>
                  </a:lnTo>
                  <a:lnTo>
                    <a:pt x="2015" y="34"/>
                  </a:lnTo>
                  <a:lnTo>
                    <a:pt x="2005" y="31"/>
                  </a:lnTo>
                  <a:lnTo>
                    <a:pt x="1990" y="26"/>
                  </a:lnTo>
                  <a:lnTo>
                    <a:pt x="1981" y="24"/>
                  </a:lnTo>
                  <a:lnTo>
                    <a:pt x="1988" y="27"/>
                  </a:lnTo>
                  <a:lnTo>
                    <a:pt x="1990" y="28"/>
                  </a:lnTo>
                  <a:lnTo>
                    <a:pt x="1975" y="26"/>
                  </a:lnTo>
                  <a:lnTo>
                    <a:pt x="1968" y="25"/>
                  </a:lnTo>
                  <a:lnTo>
                    <a:pt x="1967" y="26"/>
                  </a:lnTo>
                  <a:lnTo>
                    <a:pt x="1967" y="27"/>
                  </a:lnTo>
                  <a:lnTo>
                    <a:pt x="1969" y="28"/>
                  </a:lnTo>
                  <a:lnTo>
                    <a:pt x="1975" y="30"/>
                  </a:lnTo>
                  <a:lnTo>
                    <a:pt x="1986" y="31"/>
                  </a:lnTo>
                  <a:lnTo>
                    <a:pt x="1996" y="33"/>
                  </a:lnTo>
                  <a:lnTo>
                    <a:pt x="2008" y="36"/>
                  </a:lnTo>
                  <a:lnTo>
                    <a:pt x="2018" y="39"/>
                  </a:lnTo>
                  <a:lnTo>
                    <a:pt x="2036" y="48"/>
                  </a:lnTo>
                  <a:lnTo>
                    <a:pt x="2042" y="51"/>
                  </a:lnTo>
                  <a:lnTo>
                    <a:pt x="2042" y="51"/>
                  </a:lnTo>
                  <a:lnTo>
                    <a:pt x="2042" y="52"/>
                  </a:lnTo>
                  <a:lnTo>
                    <a:pt x="2039" y="52"/>
                  </a:lnTo>
                  <a:lnTo>
                    <a:pt x="2032" y="49"/>
                  </a:lnTo>
                  <a:lnTo>
                    <a:pt x="2024" y="46"/>
                  </a:lnTo>
                  <a:lnTo>
                    <a:pt x="2018" y="43"/>
                  </a:lnTo>
                  <a:lnTo>
                    <a:pt x="2011" y="39"/>
                  </a:lnTo>
                  <a:lnTo>
                    <a:pt x="2000" y="36"/>
                  </a:lnTo>
                  <a:lnTo>
                    <a:pt x="1983" y="33"/>
                  </a:lnTo>
                  <a:lnTo>
                    <a:pt x="1961" y="29"/>
                  </a:lnTo>
                  <a:lnTo>
                    <a:pt x="1951" y="27"/>
                  </a:lnTo>
                  <a:lnTo>
                    <a:pt x="1946" y="27"/>
                  </a:lnTo>
                  <a:lnTo>
                    <a:pt x="1945" y="27"/>
                  </a:lnTo>
                  <a:lnTo>
                    <a:pt x="1945" y="27"/>
                  </a:lnTo>
                  <a:lnTo>
                    <a:pt x="1946" y="28"/>
                  </a:lnTo>
                  <a:lnTo>
                    <a:pt x="1949" y="29"/>
                  </a:lnTo>
                  <a:lnTo>
                    <a:pt x="1964" y="34"/>
                  </a:lnTo>
                  <a:lnTo>
                    <a:pt x="1974" y="37"/>
                  </a:lnTo>
                  <a:lnTo>
                    <a:pt x="1983" y="40"/>
                  </a:lnTo>
                  <a:lnTo>
                    <a:pt x="1988" y="44"/>
                  </a:lnTo>
                  <a:lnTo>
                    <a:pt x="1997" y="47"/>
                  </a:lnTo>
                  <a:lnTo>
                    <a:pt x="2011" y="51"/>
                  </a:lnTo>
                  <a:lnTo>
                    <a:pt x="2016" y="53"/>
                  </a:lnTo>
                  <a:lnTo>
                    <a:pt x="2019" y="54"/>
                  </a:lnTo>
                  <a:lnTo>
                    <a:pt x="2018" y="54"/>
                  </a:lnTo>
                  <a:lnTo>
                    <a:pt x="2012" y="53"/>
                  </a:lnTo>
                  <a:lnTo>
                    <a:pt x="1996" y="50"/>
                  </a:lnTo>
                  <a:lnTo>
                    <a:pt x="1986" y="47"/>
                  </a:lnTo>
                  <a:lnTo>
                    <a:pt x="1981" y="46"/>
                  </a:lnTo>
                  <a:lnTo>
                    <a:pt x="1979" y="45"/>
                  </a:lnTo>
                  <a:lnTo>
                    <a:pt x="1978" y="45"/>
                  </a:lnTo>
                  <a:lnTo>
                    <a:pt x="1977" y="46"/>
                  </a:lnTo>
                  <a:lnTo>
                    <a:pt x="1976" y="51"/>
                  </a:lnTo>
                  <a:lnTo>
                    <a:pt x="1977" y="54"/>
                  </a:lnTo>
                  <a:lnTo>
                    <a:pt x="1983" y="56"/>
                  </a:lnTo>
                  <a:lnTo>
                    <a:pt x="1990" y="58"/>
                  </a:lnTo>
                  <a:lnTo>
                    <a:pt x="1993" y="59"/>
                  </a:lnTo>
                  <a:lnTo>
                    <a:pt x="1995" y="60"/>
                  </a:lnTo>
                  <a:lnTo>
                    <a:pt x="1994" y="60"/>
                  </a:lnTo>
                  <a:lnTo>
                    <a:pt x="1992" y="60"/>
                  </a:lnTo>
                  <a:lnTo>
                    <a:pt x="1983" y="61"/>
                  </a:lnTo>
                  <a:lnTo>
                    <a:pt x="1977" y="61"/>
                  </a:lnTo>
                  <a:lnTo>
                    <a:pt x="1966" y="55"/>
                  </a:lnTo>
                  <a:lnTo>
                    <a:pt x="1954" y="49"/>
                  </a:lnTo>
                  <a:lnTo>
                    <a:pt x="1946" y="46"/>
                  </a:lnTo>
                  <a:lnTo>
                    <a:pt x="1933" y="42"/>
                  </a:lnTo>
                  <a:lnTo>
                    <a:pt x="1928" y="40"/>
                  </a:lnTo>
                  <a:lnTo>
                    <a:pt x="1924" y="38"/>
                  </a:lnTo>
                  <a:lnTo>
                    <a:pt x="1923" y="37"/>
                  </a:lnTo>
                  <a:lnTo>
                    <a:pt x="1923" y="37"/>
                  </a:lnTo>
                  <a:lnTo>
                    <a:pt x="1924" y="37"/>
                  </a:lnTo>
                  <a:lnTo>
                    <a:pt x="1926" y="36"/>
                  </a:lnTo>
                  <a:lnTo>
                    <a:pt x="1937" y="36"/>
                  </a:lnTo>
                  <a:lnTo>
                    <a:pt x="1940" y="36"/>
                  </a:lnTo>
                  <a:lnTo>
                    <a:pt x="1936" y="35"/>
                  </a:lnTo>
                  <a:lnTo>
                    <a:pt x="1928" y="33"/>
                  </a:lnTo>
                  <a:lnTo>
                    <a:pt x="1923" y="31"/>
                  </a:lnTo>
                  <a:lnTo>
                    <a:pt x="1920" y="29"/>
                  </a:lnTo>
                  <a:lnTo>
                    <a:pt x="1918" y="28"/>
                  </a:lnTo>
                  <a:lnTo>
                    <a:pt x="1913" y="28"/>
                  </a:lnTo>
                  <a:lnTo>
                    <a:pt x="1909" y="30"/>
                  </a:lnTo>
                  <a:lnTo>
                    <a:pt x="1908" y="30"/>
                  </a:lnTo>
                  <a:lnTo>
                    <a:pt x="1904" y="28"/>
                  </a:lnTo>
                  <a:lnTo>
                    <a:pt x="1900" y="27"/>
                  </a:lnTo>
                  <a:lnTo>
                    <a:pt x="1890" y="27"/>
                  </a:lnTo>
                  <a:lnTo>
                    <a:pt x="1884" y="28"/>
                  </a:lnTo>
                  <a:lnTo>
                    <a:pt x="1884" y="30"/>
                  </a:lnTo>
                  <a:lnTo>
                    <a:pt x="1887" y="32"/>
                  </a:lnTo>
                  <a:lnTo>
                    <a:pt x="1888" y="33"/>
                  </a:lnTo>
                  <a:lnTo>
                    <a:pt x="1888" y="35"/>
                  </a:lnTo>
                  <a:lnTo>
                    <a:pt x="1890" y="36"/>
                  </a:lnTo>
                  <a:lnTo>
                    <a:pt x="1896" y="39"/>
                  </a:lnTo>
                  <a:lnTo>
                    <a:pt x="1908" y="46"/>
                  </a:lnTo>
                  <a:lnTo>
                    <a:pt x="1911" y="49"/>
                  </a:lnTo>
                  <a:lnTo>
                    <a:pt x="1911" y="50"/>
                  </a:lnTo>
                  <a:lnTo>
                    <a:pt x="1910" y="51"/>
                  </a:lnTo>
                  <a:lnTo>
                    <a:pt x="1908" y="52"/>
                  </a:lnTo>
                  <a:lnTo>
                    <a:pt x="1904" y="51"/>
                  </a:lnTo>
                  <a:lnTo>
                    <a:pt x="1889" y="45"/>
                  </a:lnTo>
                  <a:lnTo>
                    <a:pt x="1881" y="39"/>
                  </a:lnTo>
                  <a:lnTo>
                    <a:pt x="1882" y="39"/>
                  </a:lnTo>
                  <a:lnTo>
                    <a:pt x="1882" y="38"/>
                  </a:lnTo>
                  <a:lnTo>
                    <a:pt x="1882" y="37"/>
                  </a:lnTo>
                  <a:lnTo>
                    <a:pt x="1881" y="36"/>
                  </a:lnTo>
                  <a:lnTo>
                    <a:pt x="1878" y="34"/>
                  </a:lnTo>
                  <a:lnTo>
                    <a:pt x="1874" y="32"/>
                  </a:lnTo>
                  <a:lnTo>
                    <a:pt x="1863" y="30"/>
                  </a:lnTo>
                  <a:lnTo>
                    <a:pt x="1858" y="30"/>
                  </a:lnTo>
                  <a:lnTo>
                    <a:pt x="1859" y="31"/>
                  </a:lnTo>
                  <a:lnTo>
                    <a:pt x="1861" y="33"/>
                  </a:lnTo>
                  <a:lnTo>
                    <a:pt x="1861" y="34"/>
                  </a:lnTo>
                  <a:lnTo>
                    <a:pt x="1861" y="34"/>
                  </a:lnTo>
                  <a:lnTo>
                    <a:pt x="1860" y="34"/>
                  </a:lnTo>
                  <a:lnTo>
                    <a:pt x="1858" y="34"/>
                  </a:lnTo>
                  <a:lnTo>
                    <a:pt x="1849" y="31"/>
                  </a:lnTo>
                  <a:lnTo>
                    <a:pt x="1843" y="28"/>
                  </a:lnTo>
                  <a:lnTo>
                    <a:pt x="1841" y="27"/>
                  </a:lnTo>
                  <a:lnTo>
                    <a:pt x="1839" y="26"/>
                  </a:lnTo>
                  <a:lnTo>
                    <a:pt x="1836" y="25"/>
                  </a:lnTo>
                  <a:lnTo>
                    <a:pt x="1827" y="26"/>
                  </a:lnTo>
                  <a:lnTo>
                    <a:pt x="1811" y="28"/>
                  </a:lnTo>
                  <a:lnTo>
                    <a:pt x="1802" y="30"/>
                  </a:lnTo>
                  <a:lnTo>
                    <a:pt x="1793" y="30"/>
                  </a:lnTo>
                  <a:lnTo>
                    <a:pt x="1780" y="31"/>
                  </a:lnTo>
                  <a:lnTo>
                    <a:pt x="1769" y="31"/>
                  </a:lnTo>
                  <a:lnTo>
                    <a:pt x="1763" y="32"/>
                  </a:lnTo>
                  <a:lnTo>
                    <a:pt x="1769" y="37"/>
                  </a:lnTo>
                  <a:lnTo>
                    <a:pt x="1785" y="46"/>
                  </a:lnTo>
                  <a:lnTo>
                    <a:pt x="1798" y="54"/>
                  </a:lnTo>
                  <a:lnTo>
                    <a:pt x="1801" y="56"/>
                  </a:lnTo>
                  <a:lnTo>
                    <a:pt x="1793" y="52"/>
                  </a:lnTo>
                  <a:lnTo>
                    <a:pt x="1778" y="46"/>
                  </a:lnTo>
                  <a:lnTo>
                    <a:pt x="1771" y="42"/>
                  </a:lnTo>
                  <a:lnTo>
                    <a:pt x="1764" y="39"/>
                  </a:lnTo>
                  <a:lnTo>
                    <a:pt x="1756" y="37"/>
                  </a:lnTo>
                  <a:lnTo>
                    <a:pt x="1751" y="36"/>
                  </a:lnTo>
                  <a:lnTo>
                    <a:pt x="1743" y="36"/>
                  </a:lnTo>
                  <a:lnTo>
                    <a:pt x="1737" y="37"/>
                  </a:lnTo>
                  <a:lnTo>
                    <a:pt x="1735" y="37"/>
                  </a:lnTo>
                  <a:lnTo>
                    <a:pt x="1735" y="38"/>
                  </a:lnTo>
                  <a:lnTo>
                    <a:pt x="1733" y="39"/>
                  </a:lnTo>
                  <a:lnTo>
                    <a:pt x="1727" y="39"/>
                  </a:lnTo>
                  <a:lnTo>
                    <a:pt x="1725" y="39"/>
                  </a:lnTo>
                  <a:lnTo>
                    <a:pt x="1723" y="39"/>
                  </a:lnTo>
                  <a:lnTo>
                    <a:pt x="1722" y="40"/>
                  </a:lnTo>
                  <a:lnTo>
                    <a:pt x="1723" y="42"/>
                  </a:lnTo>
                  <a:lnTo>
                    <a:pt x="1732" y="47"/>
                  </a:lnTo>
                  <a:lnTo>
                    <a:pt x="1742" y="50"/>
                  </a:lnTo>
                  <a:lnTo>
                    <a:pt x="1743" y="51"/>
                  </a:lnTo>
                  <a:lnTo>
                    <a:pt x="1743" y="52"/>
                  </a:lnTo>
                  <a:lnTo>
                    <a:pt x="1742" y="53"/>
                  </a:lnTo>
                  <a:lnTo>
                    <a:pt x="1741" y="53"/>
                  </a:lnTo>
                  <a:lnTo>
                    <a:pt x="1738" y="55"/>
                  </a:lnTo>
                  <a:lnTo>
                    <a:pt x="1736" y="56"/>
                  </a:lnTo>
                  <a:lnTo>
                    <a:pt x="1738" y="58"/>
                  </a:lnTo>
                  <a:lnTo>
                    <a:pt x="1744" y="61"/>
                  </a:lnTo>
                  <a:lnTo>
                    <a:pt x="1747" y="64"/>
                  </a:lnTo>
                  <a:lnTo>
                    <a:pt x="1748" y="66"/>
                  </a:lnTo>
                  <a:lnTo>
                    <a:pt x="1747" y="67"/>
                  </a:lnTo>
                  <a:lnTo>
                    <a:pt x="1744" y="67"/>
                  </a:lnTo>
                  <a:lnTo>
                    <a:pt x="1724" y="64"/>
                  </a:lnTo>
                  <a:lnTo>
                    <a:pt x="1713" y="62"/>
                  </a:lnTo>
                  <a:lnTo>
                    <a:pt x="1706" y="66"/>
                  </a:lnTo>
                  <a:lnTo>
                    <a:pt x="1689" y="72"/>
                  </a:lnTo>
                  <a:lnTo>
                    <a:pt x="1679" y="78"/>
                  </a:lnTo>
                  <a:lnTo>
                    <a:pt x="1668" y="84"/>
                  </a:lnTo>
                  <a:lnTo>
                    <a:pt x="1659" y="90"/>
                  </a:lnTo>
                  <a:lnTo>
                    <a:pt x="1654" y="92"/>
                  </a:lnTo>
                  <a:lnTo>
                    <a:pt x="1651" y="92"/>
                  </a:lnTo>
                  <a:lnTo>
                    <a:pt x="1650" y="90"/>
                  </a:lnTo>
                  <a:lnTo>
                    <a:pt x="1649" y="89"/>
                  </a:lnTo>
                  <a:lnTo>
                    <a:pt x="1647" y="89"/>
                  </a:lnTo>
                  <a:lnTo>
                    <a:pt x="1645" y="90"/>
                  </a:lnTo>
                  <a:lnTo>
                    <a:pt x="1641" y="92"/>
                  </a:lnTo>
                  <a:lnTo>
                    <a:pt x="1635" y="97"/>
                  </a:lnTo>
                  <a:lnTo>
                    <a:pt x="1632" y="101"/>
                  </a:lnTo>
                  <a:lnTo>
                    <a:pt x="1632" y="104"/>
                  </a:lnTo>
                  <a:lnTo>
                    <a:pt x="1633" y="106"/>
                  </a:lnTo>
                  <a:lnTo>
                    <a:pt x="1633" y="109"/>
                  </a:lnTo>
                  <a:lnTo>
                    <a:pt x="1633" y="111"/>
                  </a:lnTo>
                  <a:lnTo>
                    <a:pt x="1636" y="113"/>
                  </a:lnTo>
                  <a:lnTo>
                    <a:pt x="1642" y="116"/>
                  </a:lnTo>
                  <a:lnTo>
                    <a:pt x="1647" y="117"/>
                  </a:lnTo>
                  <a:lnTo>
                    <a:pt x="1654" y="118"/>
                  </a:lnTo>
                  <a:lnTo>
                    <a:pt x="1659" y="117"/>
                  </a:lnTo>
                  <a:lnTo>
                    <a:pt x="1665" y="116"/>
                  </a:lnTo>
                  <a:lnTo>
                    <a:pt x="1678" y="115"/>
                  </a:lnTo>
                  <a:lnTo>
                    <a:pt x="1690" y="115"/>
                  </a:lnTo>
                  <a:lnTo>
                    <a:pt x="1701" y="116"/>
                  </a:lnTo>
                  <a:lnTo>
                    <a:pt x="1706" y="116"/>
                  </a:lnTo>
                  <a:lnTo>
                    <a:pt x="1706" y="117"/>
                  </a:lnTo>
                  <a:lnTo>
                    <a:pt x="1703" y="119"/>
                  </a:lnTo>
                  <a:lnTo>
                    <a:pt x="1695" y="122"/>
                  </a:lnTo>
                  <a:lnTo>
                    <a:pt x="1688" y="122"/>
                  </a:lnTo>
                  <a:lnTo>
                    <a:pt x="1685" y="123"/>
                  </a:lnTo>
                  <a:lnTo>
                    <a:pt x="1683" y="124"/>
                  </a:lnTo>
                  <a:lnTo>
                    <a:pt x="1682" y="125"/>
                  </a:lnTo>
                  <a:lnTo>
                    <a:pt x="1683" y="127"/>
                  </a:lnTo>
                  <a:lnTo>
                    <a:pt x="1690" y="132"/>
                  </a:lnTo>
                  <a:lnTo>
                    <a:pt x="1696" y="136"/>
                  </a:lnTo>
                  <a:lnTo>
                    <a:pt x="1699" y="137"/>
                  </a:lnTo>
                  <a:lnTo>
                    <a:pt x="1700" y="139"/>
                  </a:lnTo>
                  <a:lnTo>
                    <a:pt x="1700" y="140"/>
                  </a:lnTo>
                  <a:lnTo>
                    <a:pt x="1698" y="142"/>
                  </a:lnTo>
                  <a:lnTo>
                    <a:pt x="1685" y="148"/>
                  </a:lnTo>
                  <a:lnTo>
                    <a:pt x="1673" y="156"/>
                  </a:lnTo>
                  <a:lnTo>
                    <a:pt x="1665" y="159"/>
                  </a:lnTo>
                  <a:lnTo>
                    <a:pt x="1654" y="161"/>
                  </a:lnTo>
                  <a:lnTo>
                    <a:pt x="1640" y="163"/>
                  </a:lnTo>
                  <a:lnTo>
                    <a:pt x="1627" y="163"/>
                  </a:lnTo>
                  <a:lnTo>
                    <a:pt x="1622" y="163"/>
                  </a:lnTo>
                  <a:lnTo>
                    <a:pt x="1618" y="164"/>
                  </a:lnTo>
                  <a:lnTo>
                    <a:pt x="1616" y="165"/>
                  </a:lnTo>
                  <a:lnTo>
                    <a:pt x="1615" y="167"/>
                  </a:lnTo>
                  <a:lnTo>
                    <a:pt x="1614" y="169"/>
                  </a:lnTo>
                  <a:lnTo>
                    <a:pt x="1613" y="170"/>
                  </a:lnTo>
                  <a:lnTo>
                    <a:pt x="1611" y="172"/>
                  </a:lnTo>
                  <a:lnTo>
                    <a:pt x="1607" y="174"/>
                  </a:lnTo>
                  <a:lnTo>
                    <a:pt x="1593" y="178"/>
                  </a:lnTo>
                  <a:lnTo>
                    <a:pt x="1573" y="185"/>
                  </a:lnTo>
                  <a:lnTo>
                    <a:pt x="1563" y="188"/>
                  </a:lnTo>
                  <a:lnTo>
                    <a:pt x="1556" y="193"/>
                  </a:lnTo>
                  <a:lnTo>
                    <a:pt x="1554" y="196"/>
                  </a:lnTo>
                  <a:lnTo>
                    <a:pt x="1552" y="198"/>
                  </a:lnTo>
                  <a:lnTo>
                    <a:pt x="1551" y="200"/>
                  </a:lnTo>
                  <a:lnTo>
                    <a:pt x="1552" y="202"/>
                  </a:lnTo>
                  <a:lnTo>
                    <a:pt x="1555" y="206"/>
                  </a:lnTo>
                  <a:lnTo>
                    <a:pt x="1559" y="210"/>
                  </a:lnTo>
                  <a:lnTo>
                    <a:pt x="1563" y="213"/>
                  </a:lnTo>
                  <a:lnTo>
                    <a:pt x="1570" y="215"/>
                  </a:lnTo>
                  <a:lnTo>
                    <a:pt x="1575" y="219"/>
                  </a:lnTo>
                  <a:lnTo>
                    <a:pt x="1581" y="222"/>
                  </a:lnTo>
                  <a:lnTo>
                    <a:pt x="1585" y="225"/>
                  </a:lnTo>
                  <a:lnTo>
                    <a:pt x="1590" y="230"/>
                  </a:lnTo>
                  <a:lnTo>
                    <a:pt x="1593" y="239"/>
                  </a:lnTo>
                  <a:lnTo>
                    <a:pt x="1594" y="243"/>
                  </a:lnTo>
                  <a:lnTo>
                    <a:pt x="1594" y="245"/>
                  </a:lnTo>
                  <a:lnTo>
                    <a:pt x="1593" y="246"/>
                  </a:lnTo>
                  <a:lnTo>
                    <a:pt x="1591" y="247"/>
                  </a:lnTo>
                  <a:lnTo>
                    <a:pt x="1586" y="248"/>
                  </a:lnTo>
                  <a:lnTo>
                    <a:pt x="1584" y="249"/>
                  </a:lnTo>
                  <a:lnTo>
                    <a:pt x="1583" y="250"/>
                  </a:lnTo>
                  <a:lnTo>
                    <a:pt x="1584" y="251"/>
                  </a:lnTo>
                  <a:lnTo>
                    <a:pt x="1586" y="253"/>
                  </a:lnTo>
                  <a:lnTo>
                    <a:pt x="1590" y="253"/>
                  </a:lnTo>
                  <a:lnTo>
                    <a:pt x="1593" y="254"/>
                  </a:lnTo>
                  <a:lnTo>
                    <a:pt x="1597" y="253"/>
                  </a:lnTo>
                  <a:lnTo>
                    <a:pt x="1602" y="253"/>
                  </a:lnTo>
                  <a:lnTo>
                    <a:pt x="1612" y="249"/>
                  </a:lnTo>
                  <a:lnTo>
                    <a:pt x="1623" y="244"/>
                  </a:lnTo>
                  <a:lnTo>
                    <a:pt x="1634" y="240"/>
                  </a:lnTo>
                  <a:lnTo>
                    <a:pt x="1640" y="240"/>
                  </a:lnTo>
                  <a:lnTo>
                    <a:pt x="1645" y="241"/>
                  </a:lnTo>
                  <a:lnTo>
                    <a:pt x="1654" y="242"/>
                  </a:lnTo>
                  <a:lnTo>
                    <a:pt x="1657" y="243"/>
                  </a:lnTo>
                  <a:lnTo>
                    <a:pt x="1659" y="244"/>
                  </a:lnTo>
                  <a:lnTo>
                    <a:pt x="1659" y="245"/>
                  </a:lnTo>
                  <a:lnTo>
                    <a:pt x="1656" y="247"/>
                  </a:lnTo>
                  <a:lnTo>
                    <a:pt x="1651" y="249"/>
                  </a:lnTo>
                  <a:lnTo>
                    <a:pt x="1646" y="249"/>
                  </a:lnTo>
                  <a:lnTo>
                    <a:pt x="1641" y="248"/>
                  </a:lnTo>
                  <a:lnTo>
                    <a:pt x="1636" y="248"/>
                  </a:lnTo>
                  <a:lnTo>
                    <a:pt x="1630" y="247"/>
                  </a:lnTo>
                  <a:lnTo>
                    <a:pt x="1625" y="247"/>
                  </a:lnTo>
                  <a:lnTo>
                    <a:pt x="1621" y="249"/>
                  </a:lnTo>
                  <a:lnTo>
                    <a:pt x="1618" y="252"/>
                  </a:lnTo>
                  <a:lnTo>
                    <a:pt x="1614" y="256"/>
                  </a:lnTo>
                  <a:lnTo>
                    <a:pt x="1611" y="258"/>
                  </a:lnTo>
                  <a:lnTo>
                    <a:pt x="1608" y="259"/>
                  </a:lnTo>
                  <a:lnTo>
                    <a:pt x="1605" y="259"/>
                  </a:lnTo>
                  <a:lnTo>
                    <a:pt x="1603" y="259"/>
                  </a:lnTo>
                  <a:lnTo>
                    <a:pt x="1601" y="259"/>
                  </a:lnTo>
                  <a:lnTo>
                    <a:pt x="1599" y="261"/>
                  </a:lnTo>
                  <a:lnTo>
                    <a:pt x="1598" y="262"/>
                  </a:lnTo>
                  <a:lnTo>
                    <a:pt x="1596" y="264"/>
                  </a:lnTo>
                  <a:lnTo>
                    <a:pt x="1593" y="265"/>
                  </a:lnTo>
                  <a:lnTo>
                    <a:pt x="1589" y="265"/>
                  </a:lnTo>
                  <a:lnTo>
                    <a:pt x="1583" y="265"/>
                  </a:lnTo>
                  <a:lnTo>
                    <a:pt x="1579" y="265"/>
                  </a:lnTo>
                  <a:lnTo>
                    <a:pt x="1575" y="265"/>
                  </a:lnTo>
                  <a:lnTo>
                    <a:pt x="1574" y="266"/>
                  </a:lnTo>
                  <a:lnTo>
                    <a:pt x="1573" y="267"/>
                  </a:lnTo>
                  <a:lnTo>
                    <a:pt x="1572" y="268"/>
                  </a:lnTo>
                  <a:lnTo>
                    <a:pt x="1572" y="269"/>
                  </a:lnTo>
                  <a:lnTo>
                    <a:pt x="1572" y="272"/>
                  </a:lnTo>
                  <a:lnTo>
                    <a:pt x="1574" y="275"/>
                  </a:lnTo>
                  <a:lnTo>
                    <a:pt x="1576" y="277"/>
                  </a:lnTo>
                  <a:lnTo>
                    <a:pt x="1579" y="278"/>
                  </a:lnTo>
                  <a:lnTo>
                    <a:pt x="1585" y="284"/>
                  </a:lnTo>
                  <a:lnTo>
                    <a:pt x="1593" y="291"/>
                  </a:lnTo>
                  <a:lnTo>
                    <a:pt x="1596" y="295"/>
                  </a:lnTo>
                  <a:lnTo>
                    <a:pt x="1597" y="298"/>
                  </a:lnTo>
                  <a:lnTo>
                    <a:pt x="1598" y="301"/>
                  </a:lnTo>
                  <a:lnTo>
                    <a:pt x="1598" y="302"/>
                  </a:lnTo>
                  <a:lnTo>
                    <a:pt x="1598" y="305"/>
                  </a:lnTo>
                  <a:lnTo>
                    <a:pt x="1599" y="307"/>
                  </a:lnTo>
                  <a:lnTo>
                    <a:pt x="1601" y="309"/>
                  </a:lnTo>
                  <a:lnTo>
                    <a:pt x="1604" y="312"/>
                  </a:lnTo>
                  <a:lnTo>
                    <a:pt x="1610" y="316"/>
                  </a:lnTo>
                  <a:lnTo>
                    <a:pt x="1615" y="319"/>
                  </a:lnTo>
                  <a:lnTo>
                    <a:pt x="1621" y="322"/>
                  </a:lnTo>
                  <a:lnTo>
                    <a:pt x="1628" y="324"/>
                  </a:lnTo>
                  <a:lnTo>
                    <a:pt x="1637" y="327"/>
                  </a:lnTo>
                  <a:lnTo>
                    <a:pt x="1646" y="329"/>
                  </a:lnTo>
                  <a:lnTo>
                    <a:pt x="1657" y="330"/>
                  </a:lnTo>
                  <a:lnTo>
                    <a:pt x="1668" y="330"/>
                  </a:lnTo>
                  <a:lnTo>
                    <a:pt x="1681" y="329"/>
                  </a:lnTo>
                  <a:lnTo>
                    <a:pt x="1691" y="327"/>
                  </a:lnTo>
                  <a:lnTo>
                    <a:pt x="1702" y="323"/>
                  </a:lnTo>
                  <a:lnTo>
                    <a:pt x="1710" y="320"/>
                  </a:lnTo>
                  <a:lnTo>
                    <a:pt x="1719" y="317"/>
                  </a:lnTo>
                  <a:lnTo>
                    <a:pt x="1725" y="315"/>
                  </a:lnTo>
                  <a:lnTo>
                    <a:pt x="1731" y="314"/>
                  </a:lnTo>
                  <a:lnTo>
                    <a:pt x="1736" y="315"/>
                  </a:lnTo>
                  <a:lnTo>
                    <a:pt x="1748" y="319"/>
                  </a:lnTo>
                  <a:lnTo>
                    <a:pt x="1764" y="324"/>
                  </a:lnTo>
                  <a:lnTo>
                    <a:pt x="1772" y="329"/>
                  </a:lnTo>
                  <a:lnTo>
                    <a:pt x="1781" y="332"/>
                  </a:lnTo>
                  <a:lnTo>
                    <a:pt x="1789" y="337"/>
                  </a:lnTo>
                  <a:lnTo>
                    <a:pt x="1796" y="341"/>
                  </a:lnTo>
                  <a:lnTo>
                    <a:pt x="1809" y="351"/>
                  </a:lnTo>
                  <a:lnTo>
                    <a:pt x="1820" y="356"/>
                  </a:lnTo>
                  <a:lnTo>
                    <a:pt x="1825" y="359"/>
                  </a:lnTo>
                  <a:lnTo>
                    <a:pt x="1829" y="362"/>
                  </a:lnTo>
                  <a:lnTo>
                    <a:pt x="1832" y="366"/>
                  </a:lnTo>
                  <a:lnTo>
                    <a:pt x="1833" y="372"/>
                  </a:lnTo>
                  <a:lnTo>
                    <a:pt x="1833" y="383"/>
                  </a:lnTo>
                  <a:lnTo>
                    <a:pt x="1834" y="394"/>
                  </a:lnTo>
                  <a:lnTo>
                    <a:pt x="1837" y="402"/>
                  </a:lnTo>
                  <a:lnTo>
                    <a:pt x="1840" y="408"/>
                  </a:lnTo>
                  <a:lnTo>
                    <a:pt x="1848" y="421"/>
                  </a:lnTo>
                  <a:lnTo>
                    <a:pt x="1855" y="432"/>
                  </a:lnTo>
                  <a:lnTo>
                    <a:pt x="1859" y="438"/>
                  </a:lnTo>
                  <a:lnTo>
                    <a:pt x="1865" y="446"/>
                  </a:lnTo>
                  <a:lnTo>
                    <a:pt x="1868" y="450"/>
                  </a:lnTo>
                  <a:lnTo>
                    <a:pt x="1869" y="454"/>
                  </a:lnTo>
                  <a:lnTo>
                    <a:pt x="1869" y="456"/>
                  </a:lnTo>
                  <a:lnTo>
                    <a:pt x="1869" y="459"/>
                  </a:lnTo>
                  <a:lnTo>
                    <a:pt x="1868" y="461"/>
                  </a:lnTo>
                  <a:lnTo>
                    <a:pt x="1866" y="463"/>
                  </a:lnTo>
                  <a:lnTo>
                    <a:pt x="1864" y="466"/>
                  </a:lnTo>
                  <a:lnTo>
                    <a:pt x="1864" y="468"/>
                  </a:lnTo>
                  <a:lnTo>
                    <a:pt x="1865" y="469"/>
                  </a:lnTo>
                  <a:lnTo>
                    <a:pt x="1868" y="470"/>
                  </a:lnTo>
                  <a:lnTo>
                    <a:pt x="1873" y="471"/>
                  </a:lnTo>
                  <a:lnTo>
                    <a:pt x="1877" y="473"/>
                  </a:lnTo>
                  <a:lnTo>
                    <a:pt x="1882" y="476"/>
                  </a:lnTo>
                  <a:lnTo>
                    <a:pt x="1887" y="482"/>
                  </a:lnTo>
                  <a:lnTo>
                    <a:pt x="1892" y="488"/>
                  </a:lnTo>
                  <a:lnTo>
                    <a:pt x="1897" y="492"/>
                  </a:lnTo>
                  <a:lnTo>
                    <a:pt x="1900" y="494"/>
                  </a:lnTo>
                  <a:lnTo>
                    <a:pt x="1903" y="496"/>
                  </a:lnTo>
                  <a:lnTo>
                    <a:pt x="1904" y="497"/>
                  </a:lnTo>
                  <a:lnTo>
                    <a:pt x="1905" y="498"/>
                  </a:lnTo>
                  <a:lnTo>
                    <a:pt x="1905" y="499"/>
                  </a:lnTo>
                  <a:lnTo>
                    <a:pt x="1903" y="503"/>
                  </a:lnTo>
                  <a:lnTo>
                    <a:pt x="1898" y="508"/>
                  </a:lnTo>
                  <a:lnTo>
                    <a:pt x="1892" y="510"/>
                  </a:lnTo>
                  <a:lnTo>
                    <a:pt x="1891" y="511"/>
                  </a:lnTo>
                  <a:lnTo>
                    <a:pt x="1890" y="513"/>
                  </a:lnTo>
                  <a:lnTo>
                    <a:pt x="1891" y="516"/>
                  </a:lnTo>
                  <a:lnTo>
                    <a:pt x="1895" y="519"/>
                  </a:lnTo>
                  <a:lnTo>
                    <a:pt x="1898" y="523"/>
                  </a:lnTo>
                  <a:lnTo>
                    <a:pt x="1898" y="527"/>
                  </a:lnTo>
                  <a:lnTo>
                    <a:pt x="1898" y="529"/>
                  </a:lnTo>
                  <a:lnTo>
                    <a:pt x="1896" y="530"/>
                  </a:lnTo>
                  <a:lnTo>
                    <a:pt x="1890" y="533"/>
                  </a:lnTo>
                  <a:lnTo>
                    <a:pt x="1885" y="536"/>
                  </a:lnTo>
                  <a:lnTo>
                    <a:pt x="1882" y="541"/>
                  </a:lnTo>
                  <a:lnTo>
                    <a:pt x="1880" y="545"/>
                  </a:lnTo>
                  <a:lnTo>
                    <a:pt x="1880" y="549"/>
                  </a:lnTo>
                  <a:lnTo>
                    <a:pt x="1880" y="551"/>
                  </a:lnTo>
                  <a:lnTo>
                    <a:pt x="1881" y="555"/>
                  </a:lnTo>
                  <a:lnTo>
                    <a:pt x="1883" y="559"/>
                  </a:lnTo>
                  <a:lnTo>
                    <a:pt x="1884" y="560"/>
                  </a:lnTo>
                  <a:lnTo>
                    <a:pt x="1885" y="562"/>
                  </a:lnTo>
                  <a:lnTo>
                    <a:pt x="1887" y="562"/>
                  </a:lnTo>
                  <a:lnTo>
                    <a:pt x="1889" y="563"/>
                  </a:lnTo>
                  <a:lnTo>
                    <a:pt x="1893" y="562"/>
                  </a:lnTo>
                  <a:lnTo>
                    <a:pt x="1898" y="560"/>
                  </a:lnTo>
                  <a:lnTo>
                    <a:pt x="1909" y="555"/>
                  </a:lnTo>
                  <a:lnTo>
                    <a:pt x="1920" y="551"/>
                  </a:lnTo>
                  <a:lnTo>
                    <a:pt x="1931" y="549"/>
                  </a:lnTo>
                  <a:lnTo>
                    <a:pt x="1942" y="545"/>
                  </a:lnTo>
                  <a:lnTo>
                    <a:pt x="1946" y="547"/>
                  </a:lnTo>
                  <a:lnTo>
                    <a:pt x="1950" y="548"/>
                  </a:lnTo>
                  <a:lnTo>
                    <a:pt x="1953" y="552"/>
                  </a:lnTo>
                  <a:lnTo>
                    <a:pt x="1954" y="559"/>
                  </a:lnTo>
                  <a:lnTo>
                    <a:pt x="1956" y="566"/>
                  </a:lnTo>
                  <a:lnTo>
                    <a:pt x="1958" y="574"/>
                  </a:lnTo>
                  <a:lnTo>
                    <a:pt x="1962" y="580"/>
                  </a:lnTo>
                  <a:lnTo>
                    <a:pt x="1965" y="585"/>
                  </a:lnTo>
                  <a:lnTo>
                    <a:pt x="1967" y="591"/>
                  </a:lnTo>
                  <a:lnTo>
                    <a:pt x="1970" y="596"/>
                  </a:lnTo>
                  <a:lnTo>
                    <a:pt x="1971" y="600"/>
                  </a:lnTo>
                  <a:lnTo>
                    <a:pt x="1972" y="605"/>
                  </a:lnTo>
                  <a:lnTo>
                    <a:pt x="1972" y="609"/>
                  </a:lnTo>
                  <a:lnTo>
                    <a:pt x="1971" y="613"/>
                  </a:lnTo>
                  <a:lnTo>
                    <a:pt x="1969" y="615"/>
                  </a:lnTo>
                  <a:lnTo>
                    <a:pt x="1965" y="616"/>
                  </a:lnTo>
                  <a:lnTo>
                    <a:pt x="1961" y="615"/>
                  </a:lnTo>
                  <a:lnTo>
                    <a:pt x="1955" y="613"/>
                  </a:lnTo>
                  <a:lnTo>
                    <a:pt x="1948" y="608"/>
                  </a:lnTo>
                  <a:lnTo>
                    <a:pt x="1941" y="602"/>
                  </a:lnTo>
                  <a:lnTo>
                    <a:pt x="1932" y="596"/>
                  </a:lnTo>
                  <a:lnTo>
                    <a:pt x="1925" y="593"/>
                  </a:lnTo>
                  <a:lnTo>
                    <a:pt x="1919" y="592"/>
                  </a:lnTo>
                  <a:lnTo>
                    <a:pt x="1913" y="593"/>
                  </a:lnTo>
                  <a:lnTo>
                    <a:pt x="1908" y="595"/>
                  </a:lnTo>
                  <a:lnTo>
                    <a:pt x="1905" y="597"/>
                  </a:lnTo>
                  <a:lnTo>
                    <a:pt x="1902" y="600"/>
                  </a:lnTo>
                  <a:lnTo>
                    <a:pt x="1899" y="603"/>
                  </a:lnTo>
                  <a:lnTo>
                    <a:pt x="1899" y="604"/>
                  </a:lnTo>
                  <a:lnTo>
                    <a:pt x="1899" y="605"/>
                  </a:lnTo>
                  <a:lnTo>
                    <a:pt x="1900" y="607"/>
                  </a:lnTo>
                  <a:lnTo>
                    <a:pt x="1902" y="608"/>
                  </a:lnTo>
                  <a:lnTo>
                    <a:pt x="1907" y="610"/>
                  </a:lnTo>
                  <a:lnTo>
                    <a:pt x="1913" y="613"/>
                  </a:lnTo>
                  <a:lnTo>
                    <a:pt x="1920" y="615"/>
                  </a:lnTo>
                  <a:lnTo>
                    <a:pt x="1926" y="617"/>
                  </a:lnTo>
                  <a:lnTo>
                    <a:pt x="1930" y="620"/>
                  </a:lnTo>
                  <a:lnTo>
                    <a:pt x="1932" y="623"/>
                  </a:lnTo>
                  <a:lnTo>
                    <a:pt x="1932" y="624"/>
                  </a:lnTo>
                  <a:lnTo>
                    <a:pt x="1932" y="625"/>
                  </a:lnTo>
                  <a:lnTo>
                    <a:pt x="1930" y="626"/>
                  </a:lnTo>
                  <a:lnTo>
                    <a:pt x="1928" y="627"/>
                  </a:lnTo>
                  <a:lnTo>
                    <a:pt x="1922" y="627"/>
                  </a:lnTo>
                  <a:lnTo>
                    <a:pt x="1915" y="627"/>
                  </a:lnTo>
                  <a:lnTo>
                    <a:pt x="1908" y="627"/>
                  </a:lnTo>
                  <a:lnTo>
                    <a:pt x="1902" y="627"/>
                  </a:lnTo>
                  <a:lnTo>
                    <a:pt x="1900" y="628"/>
                  </a:lnTo>
                  <a:lnTo>
                    <a:pt x="1898" y="629"/>
                  </a:lnTo>
                  <a:lnTo>
                    <a:pt x="1897" y="630"/>
                  </a:lnTo>
                  <a:lnTo>
                    <a:pt x="1897" y="632"/>
                  </a:lnTo>
                  <a:lnTo>
                    <a:pt x="1899" y="638"/>
                  </a:lnTo>
                  <a:lnTo>
                    <a:pt x="1904" y="645"/>
                  </a:lnTo>
                  <a:lnTo>
                    <a:pt x="1909" y="653"/>
                  </a:lnTo>
                  <a:lnTo>
                    <a:pt x="1917" y="662"/>
                  </a:lnTo>
                  <a:lnTo>
                    <a:pt x="1928" y="676"/>
                  </a:lnTo>
                  <a:lnTo>
                    <a:pt x="1934" y="683"/>
                  </a:lnTo>
                  <a:lnTo>
                    <a:pt x="1942" y="673"/>
                  </a:lnTo>
                  <a:lnTo>
                    <a:pt x="1947" y="667"/>
                  </a:lnTo>
                  <a:lnTo>
                    <a:pt x="1951" y="661"/>
                  </a:lnTo>
                  <a:lnTo>
                    <a:pt x="1958" y="650"/>
                  </a:lnTo>
                  <a:lnTo>
                    <a:pt x="1955" y="646"/>
                  </a:lnTo>
                  <a:lnTo>
                    <a:pt x="1950" y="637"/>
                  </a:lnTo>
                  <a:lnTo>
                    <a:pt x="1948" y="631"/>
                  </a:lnTo>
                  <a:lnTo>
                    <a:pt x="1949" y="628"/>
                  </a:lnTo>
                  <a:lnTo>
                    <a:pt x="1950" y="627"/>
                  </a:lnTo>
                  <a:lnTo>
                    <a:pt x="1951" y="626"/>
                  </a:lnTo>
                  <a:lnTo>
                    <a:pt x="1953" y="626"/>
                  </a:lnTo>
                  <a:lnTo>
                    <a:pt x="1957" y="627"/>
                  </a:lnTo>
                  <a:lnTo>
                    <a:pt x="1969" y="631"/>
                  </a:lnTo>
                  <a:lnTo>
                    <a:pt x="1976" y="635"/>
                  </a:lnTo>
                  <a:lnTo>
                    <a:pt x="1979" y="637"/>
                  </a:lnTo>
                  <a:lnTo>
                    <a:pt x="1980" y="639"/>
                  </a:lnTo>
                  <a:lnTo>
                    <a:pt x="1981" y="642"/>
                  </a:lnTo>
                  <a:lnTo>
                    <a:pt x="1981" y="646"/>
                  </a:lnTo>
                  <a:lnTo>
                    <a:pt x="1981" y="650"/>
                  </a:lnTo>
                  <a:lnTo>
                    <a:pt x="1980" y="653"/>
                  </a:lnTo>
                  <a:lnTo>
                    <a:pt x="1978" y="658"/>
                  </a:lnTo>
                  <a:lnTo>
                    <a:pt x="1976" y="661"/>
                  </a:lnTo>
                  <a:lnTo>
                    <a:pt x="1974" y="665"/>
                  </a:lnTo>
                  <a:lnTo>
                    <a:pt x="1972" y="669"/>
                  </a:lnTo>
                  <a:lnTo>
                    <a:pt x="1971" y="673"/>
                  </a:lnTo>
                  <a:lnTo>
                    <a:pt x="1971" y="680"/>
                  </a:lnTo>
                  <a:lnTo>
                    <a:pt x="1971" y="686"/>
                  </a:lnTo>
                  <a:lnTo>
                    <a:pt x="1969" y="692"/>
                  </a:lnTo>
                  <a:lnTo>
                    <a:pt x="1967" y="697"/>
                  </a:lnTo>
                  <a:lnTo>
                    <a:pt x="1964" y="702"/>
                  </a:lnTo>
                  <a:lnTo>
                    <a:pt x="1959" y="706"/>
                  </a:lnTo>
                  <a:lnTo>
                    <a:pt x="1955" y="710"/>
                  </a:lnTo>
                  <a:lnTo>
                    <a:pt x="1950" y="714"/>
                  </a:lnTo>
                  <a:lnTo>
                    <a:pt x="1945" y="717"/>
                  </a:lnTo>
                  <a:lnTo>
                    <a:pt x="1940" y="722"/>
                  </a:lnTo>
                  <a:lnTo>
                    <a:pt x="1935" y="727"/>
                  </a:lnTo>
                  <a:lnTo>
                    <a:pt x="1932" y="732"/>
                  </a:lnTo>
                  <a:lnTo>
                    <a:pt x="1929" y="738"/>
                  </a:lnTo>
                  <a:lnTo>
                    <a:pt x="1925" y="750"/>
                  </a:lnTo>
                  <a:lnTo>
                    <a:pt x="1923" y="759"/>
                  </a:lnTo>
                  <a:lnTo>
                    <a:pt x="1923" y="764"/>
                  </a:lnTo>
                  <a:lnTo>
                    <a:pt x="1924" y="772"/>
                  </a:lnTo>
                  <a:lnTo>
                    <a:pt x="1927" y="780"/>
                  </a:lnTo>
                  <a:lnTo>
                    <a:pt x="1931" y="791"/>
                  </a:lnTo>
                  <a:lnTo>
                    <a:pt x="1940" y="808"/>
                  </a:lnTo>
                  <a:lnTo>
                    <a:pt x="1944" y="821"/>
                  </a:lnTo>
                  <a:lnTo>
                    <a:pt x="1945" y="826"/>
                  </a:lnTo>
                  <a:lnTo>
                    <a:pt x="1948" y="832"/>
                  </a:lnTo>
                  <a:lnTo>
                    <a:pt x="1953" y="838"/>
                  </a:lnTo>
                  <a:lnTo>
                    <a:pt x="1958" y="845"/>
                  </a:lnTo>
                  <a:lnTo>
                    <a:pt x="1971" y="858"/>
                  </a:lnTo>
                  <a:lnTo>
                    <a:pt x="1979" y="867"/>
                  </a:lnTo>
                  <a:lnTo>
                    <a:pt x="1991" y="874"/>
                  </a:lnTo>
                  <a:lnTo>
                    <a:pt x="2008" y="882"/>
                  </a:lnTo>
                  <a:lnTo>
                    <a:pt x="2014" y="885"/>
                  </a:lnTo>
                  <a:lnTo>
                    <a:pt x="2016" y="888"/>
                  </a:lnTo>
                  <a:lnTo>
                    <a:pt x="2016" y="890"/>
                  </a:lnTo>
                  <a:lnTo>
                    <a:pt x="2014" y="891"/>
                  </a:lnTo>
                  <a:lnTo>
                    <a:pt x="2011" y="893"/>
                  </a:lnTo>
                  <a:lnTo>
                    <a:pt x="2005" y="894"/>
                  </a:lnTo>
                  <a:lnTo>
                    <a:pt x="1994" y="898"/>
                  </a:lnTo>
                  <a:lnTo>
                    <a:pt x="1985" y="900"/>
                  </a:lnTo>
                  <a:lnTo>
                    <a:pt x="1978" y="903"/>
                  </a:lnTo>
                  <a:lnTo>
                    <a:pt x="1975" y="906"/>
                  </a:lnTo>
                  <a:lnTo>
                    <a:pt x="1973" y="909"/>
                  </a:lnTo>
                  <a:lnTo>
                    <a:pt x="1973" y="913"/>
                  </a:lnTo>
                  <a:lnTo>
                    <a:pt x="1974" y="918"/>
                  </a:lnTo>
                  <a:lnTo>
                    <a:pt x="1977" y="924"/>
                  </a:lnTo>
                  <a:lnTo>
                    <a:pt x="1995" y="945"/>
                  </a:lnTo>
                  <a:lnTo>
                    <a:pt x="2024" y="977"/>
                  </a:lnTo>
                  <a:lnTo>
                    <a:pt x="2038" y="994"/>
                  </a:lnTo>
                  <a:lnTo>
                    <a:pt x="2051" y="1010"/>
                  </a:lnTo>
                  <a:lnTo>
                    <a:pt x="2055" y="1017"/>
                  </a:lnTo>
                  <a:lnTo>
                    <a:pt x="2058" y="1022"/>
                  </a:lnTo>
                  <a:lnTo>
                    <a:pt x="2060" y="1027"/>
                  </a:lnTo>
                  <a:lnTo>
                    <a:pt x="2060" y="1032"/>
                  </a:lnTo>
                  <a:lnTo>
                    <a:pt x="2058" y="1037"/>
                  </a:lnTo>
                  <a:lnTo>
                    <a:pt x="2056" y="1041"/>
                  </a:lnTo>
                  <a:lnTo>
                    <a:pt x="2053" y="1042"/>
                  </a:lnTo>
                  <a:lnTo>
                    <a:pt x="2050" y="1043"/>
                  </a:lnTo>
                  <a:lnTo>
                    <a:pt x="2047" y="1044"/>
                  </a:lnTo>
                  <a:lnTo>
                    <a:pt x="2045" y="1045"/>
                  </a:lnTo>
                  <a:lnTo>
                    <a:pt x="2045" y="1047"/>
                  </a:lnTo>
                  <a:lnTo>
                    <a:pt x="2046" y="1052"/>
                  </a:lnTo>
                  <a:lnTo>
                    <a:pt x="2047" y="1054"/>
                  </a:lnTo>
                  <a:lnTo>
                    <a:pt x="2050" y="1055"/>
                  </a:lnTo>
                  <a:lnTo>
                    <a:pt x="2052" y="1056"/>
                  </a:lnTo>
                  <a:lnTo>
                    <a:pt x="2054" y="1056"/>
                  </a:lnTo>
                  <a:lnTo>
                    <a:pt x="2059" y="1056"/>
                  </a:lnTo>
                  <a:lnTo>
                    <a:pt x="2065" y="1054"/>
                  </a:lnTo>
                  <a:lnTo>
                    <a:pt x="2072" y="1053"/>
                  </a:lnTo>
                  <a:lnTo>
                    <a:pt x="2078" y="1053"/>
                  </a:lnTo>
                  <a:lnTo>
                    <a:pt x="2080" y="1053"/>
                  </a:lnTo>
                  <a:lnTo>
                    <a:pt x="2082" y="1053"/>
                  </a:lnTo>
                  <a:lnTo>
                    <a:pt x="2084" y="1055"/>
                  </a:lnTo>
                  <a:lnTo>
                    <a:pt x="2086" y="1056"/>
                  </a:lnTo>
                  <a:lnTo>
                    <a:pt x="2088" y="1059"/>
                  </a:lnTo>
                  <a:lnTo>
                    <a:pt x="2090" y="1061"/>
                  </a:lnTo>
                  <a:lnTo>
                    <a:pt x="2094" y="1061"/>
                  </a:lnTo>
                  <a:lnTo>
                    <a:pt x="2096" y="1061"/>
                  </a:lnTo>
                  <a:lnTo>
                    <a:pt x="2099" y="1061"/>
                  </a:lnTo>
                  <a:lnTo>
                    <a:pt x="2101" y="1062"/>
                  </a:lnTo>
                  <a:lnTo>
                    <a:pt x="2104" y="1064"/>
                  </a:lnTo>
                  <a:lnTo>
                    <a:pt x="2106" y="1068"/>
                  </a:lnTo>
                  <a:lnTo>
                    <a:pt x="2111" y="1080"/>
                  </a:lnTo>
                  <a:lnTo>
                    <a:pt x="2117" y="1089"/>
                  </a:lnTo>
                  <a:lnTo>
                    <a:pt x="2122" y="1097"/>
                  </a:lnTo>
                  <a:lnTo>
                    <a:pt x="2124" y="1099"/>
                  </a:lnTo>
                  <a:lnTo>
                    <a:pt x="2129" y="1098"/>
                  </a:lnTo>
                  <a:lnTo>
                    <a:pt x="2133" y="1095"/>
                  </a:lnTo>
                  <a:close/>
                  <a:moveTo>
                    <a:pt x="2505" y="920"/>
                  </a:moveTo>
                  <a:lnTo>
                    <a:pt x="2511" y="922"/>
                  </a:lnTo>
                  <a:lnTo>
                    <a:pt x="2516" y="924"/>
                  </a:lnTo>
                  <a:lnTo>
                    <a:pt x="2521" y="925"/>
                  </a:lnTo>
                  <a:lnTo>
                    <a:pt x="2526" y="926"/>
                  </a:lnTo>
                  <a:lnTo>
                    <a:pt x="2531" y="927"/>
                  </a:lnTo>
                  <a:lnTo>
                    <a:pt x="2534" y="928"/>
                  </a:lnTo>
                  <a:lnTo>
                    <a:pt x="2535" y="930"/>
                  </a:lnTo>
                  <a:lnTo>
                    <a:pt x="2535" y="931"/>
                  </a:lnTo>
                  <a:lnTo>
                    <a:pt x="2535" y="933"/>
                  </a:lnTo>
                  <a:lnTo>
                    <a:pt x="2535" y="935"/>
                  </a:lnTo>
                  <a:lnTo>
                    <a:pt x="2531" y="942"/>
                  </a:lnTo>
                  <a:lnTo>
                    <a:pt x="2527" y="946"/>
                  </a:lnTo>
                  <a:lnTo>
                    <a:pt x="2526" y="948"/>
                  </a:lnTo>
                  <a:lnTo>
                    <a:pt x="2526" y="950"/>
                  </a:lnTo>
                  <a:lnTo>
                    <a:pt x="2527" y="952"/>
                  </a:lnTo>
                  <a:lnTo>
                    <a:pt x="2528" y="955"/>
                  </a:lnTo>
                  <a:lnTo>
                    <a:pt x="2543" y="959"/>
                  </a:lnTo>
                  <a:lnTo>
                    <a:pt x="2557" y="965"/>
                  </a:lnTo>
                  <a:lnTo>
                    <a:pt x="2558" y="967"/>
                  </a:lnTo>
                  <a:lnTo>
                    <a:pt x="2561" y="968"/>
                  </a:lnTo>
                  <a:lnTo>
                    <a:pt x="2564" y="970"/>
                  </a:lnTo>
                  <a:lnTo>
                    <a:pt x="2568" y="971"/>
                  </a:lnTo>
                  <a:lnTo>
                    <a:pt x="2578" y="973"/>
                  </a:lnTo>
                  <a:lnTo>
                    <a:pt x="2588" y="974"/>
                  </a:lnTo>
                  <a:lnTo>
                    <a:pt x="2608" y="976"/>
                  </a:lnTo>
                  <a:lnTo>
                    <a:pt x="2616" y="976"/>
                  </a:lnTo>
                  <a:lnTo>
                    <a:pt x="2624" y="972"/>
                  </a:lnTo>
                  <a:lnTo>
                    <a:pt x="2638" y="961"/>
                  </a:lnTo>
                  <a:lnTo>
                    <a:pt x="2655" y="949"/>
                  </a:lnTo>
                  <a:lnTo>
                    <a:pt x="2666" y="939"/>
                  </a:lnTo>
                  <a:lnTo>
                    <a:pt x="2670" y="932"/>
                  </a:lnTo>
                  <a:lnTo>
                    <a:pt x="2675" y="924"/>
                  </a:lnTo>
                  <a:lnTo>
                    <a:pt x="2676" y="918"/>
                  </a:lnTo>
                  <a:lnTo>
                    <a:pt x="2676" y="913"/>
                  </a:lnTo>
                  <a:lnTo>
                    <a:pt x="2673" y="907"/>
                  </a:lnTo>
                  <a:lnTo>
                    <a:pt x="2668" y="900"/>
                  </a:lnTo>
                  <a:lnTo>
                    <a:pt x="2654" y="884"/>
                  </a:lnTo>
                  <a:lnTo>
                    <a:pt x="2642" y="870"/>
                  </a:lnTo>
                  <a:lnTo>
                    <a:pt x="2635" y="864"/>
                  </a:lnTo>
                  <a:lnTo>
                    <a:pt x="2629" y="861"/>
                  </a:lnTo>
                  <a:lnTo>
                    <a:pt x="2626" y="860"/>
                  </a:lnTo>
                  <a:lnTo>
                    <a:pt x="2624" y="859"/>
                  </a:lnTo>
                  <a:lnTo>
                    <a:pt x="2621" y="859"/>
                  </a:lnTo>
                  <a:lnTo>
                    <a:pt x="2619" y="860"/>
                  </a:lnTo>
                  <a:lnTo>
                    <a:pt x="2608" y="865"/>
                  </a:lnTo>
                  <a:lnTo>
                    <a:pt x="2595" y="869"/>
                  </a:lnTo>
                  <a:lnTo>
                    <a:pt x="2589" y="872"/>
                  </a:lnTo>
                  <a:lnTo>
                    <a:pt x="2583" y="873"/>
                  </a:lnTo>
                  <a:lnTo>
                    <a:pt x="2577" y="874"/>
                  </a:lnTo>
                  <a:lnTo>
                    <a:pt x="2570" y="874"/>
                  </a:lnTo>
                  <a:lnTo>
                    <a:pt x="2565" y="874"/>
                  </a:lnTo>
                  <a:lnTo>
                    <a:pt x="2558" y="872"/>
                  </a:lnTo>
                  <a:lnTo>
                    <a:pt x="2551" y="869"/>
                  </a:lnTo>
                  <a:lnTo>
                    <a:pt x="2545" y="866"/>
                  </a:lnTo>
                  <a:lnTo>
                    <a:pt x="2536" y="861"/>
                  </a:lnTo>
                  <a:lnTo>
                    <a:pt x="2532" y="859"/>
                  </a:lnTo>
                  <a:lnTo>
                    <a:pt x="2532" y="855"/>
                  </a:lnTo>
                  <a:lnTo>
                    <a:pt x="2531" y="845"/>
                  </a:lnTo>
                  <a:lnTo>
                    <a:pt x="2528" y="842"/>
                  </a:lnTo>
                  <a:lnTo>
                    <a:pt x="2525" y="840"/>
                  </a:lnTo>
                  <a:lnTo>
                    <a:pt x="2523" y="840"/>
                  </a:lnTo>
                  <a:lnTo>
                    <a:pt x="2521" y="840"/>
                  </a:lnTo>
                  <a:lnTo>
                    <a:pt x="2519" y="841"/>
                  </a:lnTo>
                  <a:lnTo>
                    <a:pt x="2516" y="843"/>
                  </a:lnTo>
                  <a:lnTo>
                    <a:pt x="2510" y="849"/>
                  </a:lnTo>
                  <a:lnTo>
                    <a:pt x="2504" y="856"/>
                  </a:lnTo>
                  <a:lnTo>
                    <a:pt x="2499" y="862"/>
                  </a:lnTo>
                  <a:lnTo>
                    <a:pt x="2496" y="869"/>
                  </a:lnTo>
                  <a:lnTo>
                    <a:pt x="2494" y="876"/>
                  </a:lnTo>
                  <a:lnTo>
                    <a:pt x="2492" y="881"/>
                  </a:lnTo>
                  <a:lnTo>
                    <a:pt x="2492" y="886"/>
                  </a:lnTo>
                  <a:lnTo>
                    <a:pt x="2493" y="888"/>
                  </a:lnTo>
                  <a:lnTo>
                    <a:pt x="2499" y="893"/>
                  </a:lnTo>
                  <a:lnTo>
                    <a:pt x="2511" y="898"/>
                  </a:lnTo>
                  <a:lnTo>
                    <a:pt x="2520" y="901"/>
                  </a:lnTo>
                  <a:lnTo>
                    <a:pt x="2525" y="902"/>
                  </a:lnTo>
                  <a:lnTo>
                    <a:pt x="2519" y="903"/>
                  </a:lnTo>
                  <a:lnTo>
                    <a:pt x="2506" y="906"/>
                  </a:lnTo>
                  <a:lnTo>
                    <a:pt x="2500" y="908"/>
                  </a:lnTo>
                  <a:lnTo>
                    <a:pt x="2495" y="910"/>
                  </a:lnTo>
                  <a:lnTo>
                    <a:pt x="2493" y="911"/>
                  </a:lnTo>
                  <a:lnTo>
                    <a:pt x="2492" y="912"/>
                  </a:lnTo>
                  <a:lnTo>
                    <a:pt x="2491" y="914"/>
                  </a:lnTo>
                  <a:lnTo>
                    <a:pt x="2491" y="915"/>
                  </a:lnTo>
                  <a:lnTo>
                    <a:pt x="2493" y="918"/>
                  </a:lnTo>
                  <a:lnTo>
                    <a:pt x="2495" y="920"/>
                  </a:lnTo>
                  <a:lnTo>
                    <a:pt x="2498" y="921"/>
                  </a:lnTo>
                  <a:lnTo>
                    <a:pt x="2500" y="921"/>
                  </a:lnTo>
                  <a:lnTo>
                    <a:pt x="2504" y="920"/>
                  </a:lnTo>
                  <a:lnTo>
                    <a:pt x="2505" y="920"/>
                  </a:lnTo>
                  <a:close/>
                  <a:moveTo>
                    <a:pt x="2830" y="1398"/>
                  </a:moveTo>
                  <a:lnTo>
                    <a:pt x="2823" y="1407"/>
                  </a:lnTo>
                  <a:lnTo>
                    <a:pt x="2810" y="1417"/>
                  </a:lnTo>
                  <a:lnTo>
                    <a:pt x="2803" y="1422"/>
                  </a:lnTo>
                  <a:lnTo>
                    <a:pt x="2796" y="1426"/>
                  </a:lnTo>
                  <a:lnTo>
                    <a:pt x="2793" y="1427"/>
                  </a:lnTo>
                  <a:lnTo>
                    <a:pt x="2790" y="1428"/>
                  </a:lnTo>
                  <a:lnTo>
                    <a:pt x="2788" y="1427"/>
                  </a:lnTo>
                  <a:lnTo>
                    <a:pt x="2786" y="1426"/>
                  </a:lnTo>
                  <a:lnTo>
                    <a:pt x="2779" y="1418"/>
                  </a:lnTo>
                  <a:lnTo>
                    <a:pt x="2770" y="1409"/>
                  </a:lnTo>
                  <a:lnTo>
                    <a:pt x="2766" y="1405"/>
                  </a:lnTo>
                  <a:lnTo>
                    <a:pt x="2764" y="1402"/>
                  </a:lnTo>
                  <a:lnTo>
                    <a:pt x="2764" y="1400"/>
                  </a:lnTo>
                  <a:lnTo>
                    <a:pt x="2764" y="1398"/>
                  </a:lnTo>
                  <a:lnTo>
                    <a:pt x="2765" y="1397"/>
                  </a:lnTo>
                  <a:lnTo>
                    <a:pt x="2766" y="1397"/>
                  </a:lnTo>
                  <a:lnTo>
                    <a:pt x="2775" y="1394"/>
                  </a:lnTo>
                  <a:lnTo>
                    <a:pt x="2783" y="1390"/>
                  </a:lnTo>
                  <a:lnTo>
                    <a:pt x="2785" y="1387"/>
                  </a:lnTo>
                  <a:lnTo>
                    <a:pt x="2787" y="1384"/>
                  </a:lnTo>
                  <a:lnTo>
                    <a:pt x="2788" y="1380"/>
                  </a:lnTo>
                  <a:lnTo>
                    <a:pt x="2787" y="1375"/>
                  </a:lnTo>
                  <a:lnTo>
                    <a:pt x="2782" y="1365"/>
                  </a:lnTo>
                  <a:lnTo>
                    <a:pt x="2775" y="1355"/>
                  </a:lnTo>
                  <a:lnTo>
                    <a:pt x="2773" y="1350"/>
                  </a:lnTo>
                  <a:lnTo>
                    <a:pt x="2770" y="1346"/>
                  </a:lnTo>
                  <a:lnTo>
                    <a:pt x="2769" y="1343"/>
                  </a:lnTo>
                  <a:lnTo>
                    <a:pt x="2769" y="1340"/>
                  </a:lnTo>
                  <a:lnTo>
                    <a:pt x="2771" y="1337"/>
                  </a:lnTo>
                  <a:lnTo>
                    <a:pt x="2776" y="1332"/>
                  </a:lnTo>
                  <a:lnTo>
                    <a:pt x="2781" y="1329"/>
                  </a:lnTo>
                  <a:lnTo>
                    <a:pt x="2787" y="1326"/>
                  </a:lnTo>
                  <a:lnTo>
                    <a:pt x="2798" y="1321"/>
                  </a:lnTo>
                  <a:lnTo>
                    <a:pt x="2803" y="1319"/>
                  </a:lnTo>
                  <a:lnTo>
                    <a:pt x="2806" y="1316"/>
                  </a:lnTo>
                  <a:lnTo>
                    <a:pt x="2813" y="1310"/>
                  </a:lnTo>
                  <a:lnTo>
                    <a:pt x="2818" y="1308"/>
                  </a:lnTo>
                  <a:lnTo>
                    <a:pt x="2821" y="1307"/>
                  </a:lnTo>
                  <a:lnTo>
                    <a:pt x="2823" y="1306"/>
                  </a:lnTo>
                  <a:lnTo>
                    <a:pt x="2824" y="1306"/>
                  </a:lnTo>
                  <a:lnTo>
                    <a:pt x="2825" y="1307"/>
                  </a:lnTo>
                  <a:lnTo>
                    <a:pt x="2825" y="1308"/>
                  </a:lnTo>
                  <a:lnTo>
                    <a:pt x="2831" y="1317"/>
                  </a:lnTo>
                  <a:lnTo>
                    <a:pt x="2836" y="1326"/>
                  </a:lnTo>
                  <a:lnTo>
                    <a:pt x="2834" y="1345"/>
                  </a:lnTo>
                  <a:lnTo>
                    <a:pt x="2832" y="1356"/>
                  </a:lnTo>
                  <a:lnTo>
                    <a:pt x="2832" y="1366"/>
                  </a:lnTo>
                  <a:lnTo>
                    <a:pt x="2832" y="1383"/>
                  </a:lnTo>
                  <a:lnTo>
                    <a:pt x="2832" y="1389"/>
                  </a:lnTo>
                  <a:lnTo>
                    <a:pt x="2831" y="1394"/>
                  </a:lnTo>
                  <a:lnTo>
                    <a:pt x="2830" y="1397"/>
                  </a:lnTo>
                  <a:lnTo>
                    <a:pt x="2830" y="1398"/>
                  </a:lnTo>
                  <a:close/>
                  <a:moveTo>
                    <a:pt x="2863" y="1380"/>
                  </a:moveTo>
                  <a:lnTo>
                    <a:pt x="2863" y="1392"/>
                  </a:lnTo>
                  <a:lnTo>
                    <a:pt x="2862" y="1399"/>
                  </a:lnTo>
                  <a:lnTo>
                    <a:pt x="2861" y="1404"/>
                  </a:lnTo>
                  <a:lnTo>
                    <a:pt x="2858" y="1407"/>
                  </a:lnTo>
                  <a:lnTo>
                    <a:pt x="2856" y="1408"/>
                  </a:lnTo>
                  <a:lnTo>
                    <a:pt x="2856" y="1409"/>
                  </a:lnTo>
                  <a:lnTo>
                    <a:pt x="2856" y="1410"/>
                  </a:lnTo>
                  <a:lnTo>
                    <a:pt x="2856" y="1412"/>
                  </a:lnTo>
                  <a:lnTo>
                    <a:pt x="2858" y="1414"/>
                  </a:lnTo>
                  <a:lnTo>
                    <a:pt x="2861" y="1419"/>
                  </a:lnTo>
                  <a:lnTo>
                    <a:pt x="2864" y="1422"/>
                  </a:lnTo>
                  <a:lnTo>
                    <a:pt x="2869" y="1425"/>
                  </a:lnTo>
                  <a:lnTo>
                    <a:pt x="2870" y="1426"/>
                  </a:lnTo>
                  <a:lnTo>
                    <a:pt x="2871" y="1427"/>
                  </a:lnTo>
                  <a:lnTo>
                    <a:pt x="2871" y="1429"/>
                  </a:lnTo>
                  <a:lnTo>
                    <a:pt x="2869" y="1432"/>
                  </a:lnTo>
                  <a:lnTo>
                    <a:pt x="2860" y="1440"/>
                  </a:lnTo>
                  <a:lnTo>
                    <a:pt x="2848" y="1451"/>
                  </a:lnTo>
                  <a:lnTo>
                    <a:pt x="2843" y="1455"/>
                  </a:lnTo>
                  <a:lnTo>
                    <a:pt x="2840" y="1459"/>
                  </a:lnTo>
                  <a:lnTo>
                    <a:pt x="2839" y="1461"/>
                  </a:lnTo>
                  <a:lnTo>
                    <a:pt x="2839" y="1463"/>
                  </a:lnTo>
                  <a:lnTo>
                    <a:pt x="2840" y="1464"/>
                  </a:lnTo>
                  <a:lnTo>
                    <a:pt x="2842" y="1466"/>
                  </a:lnTo>
                  <a:lnTo>
                    <a:pt x="2848" y="1468"/>
                  </a:lnTo>
                  <a:lnTo>
                    <a:pt x="2856" y="1469"/>
                  </a:lnTo>
                  <a:lnTo>
                    <a:pt x="2866" y="1468"/>
                  </a:lnTo>
                  <a:lnTo>
                    <a:pt x="2876" y="1466"/>
                  </a:lnTo>
                  <a:lnTo>
                    <a:pt x="2894" y="1462"/>
                  </a:lnTo>
                  <a:lnTo>
                    <a:pt x="2901" y="1460"/>
                  </a:lnTo>
                  <a:lnTo>
                    <a:pt x="2908" y="1460"/>
                  </a:lnTo>
                  <a:lnTo>
                    <a:pt x="2921" y="1460"/>
                  </a:lnTo>
                  <a:lnTo>
                    <a:pt x="2929" y="1459"/>
                  </a:lnTo>
                  <a:lnTo>
                    <a:pt x="2936" y="1458"/>
                  </a:lnTo>
                  <a:lnTo>
                    <a:pt x="2941" y="1456"/>
                  </a:lnTo>
                  <a:lnTo>
                    <a:pt x="2944" y="1454"/>
                  </a:lnTo>
                  <a:lnTo>
                    <a:pt x="2943" y="1438"/>
                  </a:lnTo>
                  <a:lnTo>
                    <a:pt x="2943" y="1424"/>
                  </a:lnTo>
                  <a:lnTo>
                    <a:pt x="2946" y="1418"/>
                  </a:lnTo>
                  <a:lnTo>
                    <a:pt x="2950" y="1413"/>
                  </a:lnTo>
                  <a:lnTo>
                    <a:pt x="2951" y="1409"/>
                  </a:lnTo>
                  <a:lnTo>
                    <a:pt x="2951" y="1404"/>
                  </a:lnTo>
                  <a:lnTo>
                    <a:pt x="2949" y="1393"/>
                  </a:lnTo>
                  <a:lnTo>
                    <a:pt x="2944" y="1377"/>
                  </a:lnTo>
                  <a:lnTo>
                    <a:pt x="2941" y="1370"/>
                  </a:lnTo>
                  <a:lnTo>
                    <a:pt x="2938" y="1362"/>
                  </a:lnTo>
                  <a:lnTo>
                    <a:pt x="2934" y="1355"/>
                  </a:lnTo>
                  <a:lnTo>
                    <a:pt x="2930" y="1350"/>
                  </a:lnTo>
                  <a:lnTo>
                    <a:pt x="2923" y="1345"/>
                  </a:lnTo>
                  <a:lnTo>
                    <a:pt x="2915" y="1334"/>
                  </a:lnTo>
                  <a:lnTo>
                    <a:pt x="2906" y="1322"/>
                  </a:lnTo>
                  <a:lnTo>
                    <a:pt x="2895" y="1307"/>
                  </a:lnTo>
                  <a:lnTo>
                    <a:pt x="2886" y="1294"/>
                  </a:lnTo>
                  <a:lnTo>
                    <a:pt x="2878" y="1282"/>
                  </a:lnTo>
                  <a:lnTo>
                    <a:pt x="2874" y="1274"/>
                  </a:lnTo>
                  <a:lnTo>
                    <a:pt x="2873" y="1271"/>
                  </a:lnTo>
                  <a:lnTo>
                    <a:pt x="2879" y="1266"/>
                  </a:lnTo>
                  <a:lnTo>
                    <a:pt x="2889" y="1259"/>
                  </a:lnTo>
                  <a:lnTo>
                    <a:pt x="2892" y="1255"/>
                  </a:lnTo>
                  <a:lnTo>
                    <a:pt x="2895" y="1250"/>
                  </a:lnTo>
                  <a:lnTo>
                    <a:pt x="2895" y="1247"/>
                  </a:lnTo>
                  <a:lnTo>
                    <a:pt x="2895" y="1244"/>
                  </a:lnTo>
                  <a:lnTo>
                    <a:pt x="2894" y="1242"/>
                  </a:lnTo>
                  <a:lnTo>
                    <a:pt x="2892" y="1239"/>
                  </a:lnTo>
                  <a:lnTo>
                    <a:pt x="2887" y="1235"/>
                  </a:lnTo>
                  <a:lnTo>
                    <a:pt x="2880" y="1232"/>
                  </a:lnTo>
                  <a:lnTo>
                    <a:pt x="2875" y="1229"/>
                  </a:lnTo>
                  <a:lnTo>
                    <a:pt x="2870" y="1225"/>
                  </a:lnTo>
                  <a:lnTo>
                    <a:pt x="2865" y="1223"/>
                  </a:lnTo>
                  <a:lnTo>
                    <a:pt x="2862" y="1221"/>
                  </a:lnTo>
                  <a:lnTo>
                    <a:pt x="2860" y="1219"/>
                  </a:lnTo>
                  <a:lnTo>
                    <a:pt x="2858" y="1217"/>
                  </a:lnTo>
                  <a:lnTo>
                    <a:pt x="2864" y="1205"/>
                  </a:lnTo>
                  <a:lnTo>
                    <a:pt x="2868" y="1197"/>
                  </a:lnTo>
                  <a:lnTo>
                    <a:pt x="2861" y="1193"/>
                  </a:lnTo>
                  <a:lnTo>
                    <a:pt x="2852" y="1188"/>
                  </a:lnTo>
                  <a:lnTo>
                    <a:pt x="2845" y="1191"/>
                  </a:lnTo>
                  <a:lnTo>
                    <a:pt x="2834" y="1196"/>
                  </a:lnTo>
                  <a:lnTo>
                    <a:pt x="2831" y="1199"/>
                  </a:lnTo>
                  <a:lnTo>
                    <a:pt x="2827" y="1201"/>
                  </a:lnTo>
                  <a:lnTo>
                    <a:pt x="2824" y="1202"/>
                  </a:lnTo>
                  <a:lnTo>
                    <a:pt x="2820" y="1201"/>
                  </a:lnTo>
                  <a:lnTo>
                    <a:pt x="2813" y="1200"/>
                  </a:lnTo>
                  <a:lnTo>
                    <a:pt x="2808" y="1201"/>
                  </a:lnTo>
                  <a:lnTo>
                    <a:pt x="2803" y="1203"/>
                  </a:lnTo>
                  <a:lnTo>
                    <a:pt x="2801" y="1205"/>
                  </a:lnTo>
                  <a:lnTo>
                    <a:pt x="2804" y="1208"/>
                  </a:lnTo>
                  <a:lnTo>
                    <a:pt x="2810" y="1214"/>
                  </a:lnTo>
                  <a:lnTo>
                    <a:pt x="2813" y="1218"/>
                  </a:lnTo>
                  <a:lnTo>
                    <a:pt x="2817" y="1222"/>
                  </a:lnTo>
                  <a:lnTo>
                    <a:pt x="2819" y="1225"/>
                  </a:lnTo>
                  <a:lnTo>
                    <a:pt x="2819" y="1228"/>
                  </a:lnTo>
                  <a:lnTo>
                    <a:pt x="2810" y="1238"/>
                  </a:lnTo>
                  <a:lnTo>
                    <a:pt x="2803" y="1246"/>
                  </a:lnTo>
                  <a:lnTo>
                    <a:pt x="2810" y="1251"/>
                  </a:lnTo>
                  <a:lnTo>
                    <a:pt x="2818" y="1255"/>
                  </a:lnTo>
                  <a:lnTo>
                    <a:pt x="2817" y="1260"/>
                  </a:lnTo>
                  <a:lnTo>
                    <a:pt x="2815" y="1265"/>
                  </a:lnTo>
                  <a:lnTo>
                    <a:pt x="2819" y="1264"/>
                  </a:lnTo>
                  <a:lnTo>
                    <a:pt x="2825" y="1262"/>
                  </a:lnTo>
                  <a:lnTo>
                    <a:pt x="2828" y="1262"/>
                  </a:lnTo>
                  <a:lnTo>
                    <a:pt x="2830" y="1263"/>
                  </a:lnTo>
                  <a:lnTo>
                    <a:pt x="2831" y="1264"/>
                  </a:lnTo>
                  <a:lnTo>
                    <a:pt x="2831" y="1267"/>
                  </a:lnTo>
                  <a:lnTo>
                    <a:pt x="2829" y="1271"/>
                  </a:lnTo>
                  <a:lnTo>
                    <a:pt x="2827" y="1273"/>
                  </a:lnTo>
                  <a:lnTo>
                    <a:pt x="2825" y="1273"/>
                  </a:lnTo>
                  <a:lnTo>
                    <a:pt x="2824" y="1274"/>
                  </a:lnTo>
                  <a:lnTo>
                    <a:pt x="2822" y="1274"/>
                  </a:lnTo>
                  <a:lnTo>
                    <a:pt x="2821" y="1274"/>
                  </a:lnTo>
                  <a:lnTo>
                    <a:pt x="2821" y="1276"/>
                  </a:lnTo>
                  <a:lnTo>
                    <a:pt x="2821" y="1278"/>
                  </a:lnTo>
                  <a:lnTo>
                    <a:pt x="2825" y="1287"/>
                  </a:lnTo>
                  <a:lnTo>
                    <a:pt x="2827" y="1293"/>
                  </a:lnTo>
                  <a:lnTo>
                    <a:pt x="2835" y="1297"/>
                  </a:lnTo>
                  <a:lnTo>
                    <a:pt x="2846" y="1303"/>
                  </a:lnTo>
                  <a:lnTo>
                    <a:pt x="2847" y="1305"/>
                  </a:lnTo>
                  <a:lnTo>
                    <a:pt x="2848" y="1305"/>
                  </a:lnTo>
                  <a:lnTo>
                    <a:pt x="2849" y="1306"/>
                  </a:lnTo>
                  <a:lnTo>
                    <a:pt x="2851" y="1305"/>
                  </a:lnTo>
                  <a:lnTo>
                    <a:pt x="2853" y="1306"/>
                  </a:lnTo>
                  <a:lnTo>
                    <a:pt x="2854" y="1306"/>
                  </a:lnTo>
                  <a:lnTo>
                    <a:pt x="2855" y="1309"/>
                  </a:lnTo>
                  <a:lnTo>
                    <a:pt x="2855" y="1313"/>
                  </a:lnTo>
                  <a:lnTo>
                    <a:pt x="2853" y="1322"/>
                  </a:lnTo>
                  <a:lnTo>
                    <a:pt x="2852" y="1329"/>
                  </a:lnTo>
                  <a:lnTo>
                    <a:pt x="2852" y="1332"/>
                  </a:lnTo>
                  <a:lnTo>
                    <a:pt x="2852" y="1334"/>
                  </a:lnTo>
                  <a:lnTo>
                    <a:pt x="2852" y="1337"/>
                  </a:lnTo>
                  <a:lnTo>
                    <a:pt x="2854" y="1338"/>
                  </a:lnTo>
                  <a:lnTo>
                    <a:pt x="2860" y="1338"/>
                  </a:lnTo>
                  <a:lnTo>
                    <a:pt x="2868" y="1338"/>
                  </a:lnTo>
                  <a:lnTo>
                    <a:pt x="2872" y="1338"/>
                  </a:lnTo>
                  <a:lnTo>
                    <a:pt x="2875" y="1338"/>
                  </a:lnTo>
                  <a:lnTo>
                    <a:pt x="2878" y="1340"/>
                  </a:lnTo>
                  <a:lnTo>
                    <a:pt x="2879" y="1342"/>
                  </a:lnTo>
                  <a:lnTo>
                    <a:pt x="2879" y="1345"/>
                  </a:lnTo>
                  <a:lnTo>
                    <a:pt x="2878" y="1349"/>
                  </a:lnTo>
                  <a:lnTo>
                    <a:pt x="2875" y="1354"/>
                  </a:lnTo>
                  <a:lnTo>
                    <a:pt x="2873" y="1359"/>
                  </a:lnTo>
                  <a:lnTo>
                    <a:pt x="2868" y="1366"/>
                  </a:lnTo>
                  <a:lnTo>
                    <a:pt x="2865" y="1368"/>
                  </a:lnTo>
                  <a:lnTo>
                    <a:pt x="2864" y="1374"/>
                  </a:lnTo>
                  <a:lnTo>
                    <a:pt x="2863" y="1380"/>
                  </a:lnTo>
                  <a:close/>
                </a:path>
              </a:pathLst>
            </a:custGeom>
            <a:gradFill flip="none" rotWithShape="1">
              <a:gsLst>
                <a:gs pos="100000">
                  <a:schemeClr val="accent1">
                    <a:lumMod val="50000"/>
                  </a:schemeClr>
                </a:gs>
                <a:gs pos="36000">
                  <a:srgbClr val="26628D"/>
                </a:gs>
              </a:gsLst>
              <a:path path="circle">
                <a:fillToRect l="50000" t="50000" r="50000" b="50000"/>
              </a:path>
              <a:tileRect/>
            </a:gradFill>
            <a:ln w="9525">
              <a:noFill/>
              <a:miter lim="800000"/>
              <a:headEnd/>
              <a:tailEnd/>
            </a:ln>
            <a:effectLst>
              <a:outerShdw blurRad="38100" dist="25400" dir="5400000" algn="t" rotWithShape="0">
                <a:prstClr val="black">
                  <a:alpha val="26000"/>
                </a:prstClr>
              </a:outerShdw>
            </a:effectLst>
          </p:spPr>
          <p:txBody>
            <a:bodyPr anchor="ctr"/>
            <a:lstStyle/>
            <a:p>
              <a:pPr algn="ctr"/>
              <a:endParaRPr lang="en-US" u="sng">
                <a:solidFill>
                  <a:srgbClr val="FFFFFF"/>
                </a:solidFill>
                <a:latin typeface="Calibri" charset="0"/>
                <a:ea typeface="ＭＳ Ｐゴシック" charset="-128"/>
              </a:endParaRPr>
            </a:p>
          </p:txBody>
        </p:sp>
        <p:sp>
          <p:nvSpPr>
            <p:cNvPr id="8" name="Ellipse 45"/>
            <p:cNvSpPr>
              <a:spLocks noChangeArrowheads="1"/>
            </p:cNvSpPr>
            <p:nvPr>
              <p:custDataLst>
                <p:tags r:id="rId7"/>
              </p:custDataLst>
            </p:nvPr>
          </p:nvSpPr>
          <p:spPr bwMode="auto">
            <a:xfrm rot="21374326" flipH="1">
              <a:off x="3152603" y="1967445"/>
              <a:ext cx="2633360" cy="2048147"/>
            </a:xfrm>
            <a:prstGeom prst="ellipse">
              <a:avLst/>
            </a:prstGeom>
            <a:gradFill rotWithShape="1">
              <a:gsLst>
                <a:gs pos="0">
                  <a:srgbClr val="FFFCF9">
                    <a:alpha val="58000"/>
                  </a:srgbClr>
                </a:gs>
                <a:gs pos="73000">
                  <a:srgbClr val="FFFFFF">
                    <a:alpha val="0"/>
                  </a:srgbClr>
                </a:gs>
              </a:gsLst>
              <a:lin ang="5400000"/>
            </a:gradFill>
            <a:ln w="9525">
              <a:noFill/>
              <a:round/>
              <a:headEnd/>
              <a:tailEnd/>
            </a:ln>
            <a:effectLst>
              <a:softEdge rad="50800"/>
            </a:effectLst>
          </p:spPr>
          <p:txBody>
            <a:bodyPr anchor="ctr"/>
            <a:lstStyle>
              <a:lvl1pPr>
                <a:defRPr>
                  <a:solidFill>
                    <a:schemeClr val="tx1"/>
                  </a:solidFill>
                  <a:latin typeface="Calibri" charset="0"/>
                  <a:ea typeface="ＭＳ Ｐゴシック" charset="-128"/>
                </a:defRPr>
              </a:lvl1pPr>
              <a:lvl2pPr marL="37931725" indent="-37474525">
                <a:defRPr>
                  <a:solidFill>
                    <a:schemeClr val="tx1"/>
                  </a:solidFill>
                  <a:latin typeface="Calibri" charset="0"/>
                  <a:ea typeface="ＭＳ Ｐゴシック" charset="-128"/>
                </a:defRPr>
              </a:lvl2pPr>
              <a:lvl3pPr>
                <a:defRPr>
                  <a:solidFill>
                    <a:schemeClr val="tx1"/>
                  </a:solidFill>
                  <a:latin typeface="Calibri" charset="0"/>
                  <a:ea typeface="ＭＳ Ｐゴシック" charset="-128"/>
                </a:defRPr>
              </a:lvl3pPr>
              <a:lvl4pPr>
                <a:defRPr>
                  <a:solidFill>
                    <a:schemeClr val="tx1"/>
                  </a:solidFill>
                  <a:latin typeface="Calibri" charset="0"/>
                  <a:ea typeface="ＭＳ Ｐゴシック" charset="-128"/>
                </a:defRPr>
              </a:lvl4pPr>
              <a:lvl5pPr>
                <a:defRPr>
                  <a:solidFill>
                    <a:schemeClr val="tx1"/>
                  </a:solidFill>
                  <a:latin typeface="Calibri" charset="0"/>
                  <a:ea typeface="ＭＳ Ｐゴシック" charset="-128"/>
                </a:defRPr>
              </a:lvl5pPr>
              <a:lvl6pPr marL="457200" fontAlgn="base">
                <a:spcBef>
                  <a:spcPct val="0"/>
                </a:spcBef>
                <a:spcAft>
                  <a:spcPct val="0"/>
                </a:spcAft>
                <a:defRPr>
                  <a:solidFill>
                    <a:schemeClr val="tx1"/>
                  </a:solidFill>
                  <a:latin typeface="Calibri" charset="0"/>
                  <a:ea typeface="ＭＳ Ｐゴシック" charset="-128"/>
                </a:defRPr>
              </a:lvl6pPr>
              <a:lvl7pPr marL="914400" fontAlgn="base">
                <a:spcBef>
                  <a:spcPct val="0"/>
                </a:spcBef>
                <a:spcAft>
                  <a:spcPct val="0"/>
                </a:spcAft>
                <a:defRPr>
                  <a:solidFill>
                    <a:schemeClr val="tx1"/>
                  </a:solidFill>
                  <a:latin typeface="Calibri" charset="0"/>
                  <a:ea typeface="ＭＳ Ｐゴシック" charset="-128"/>
                </a:defRPr>
              </a:lvl7pPr>
              <a:lvl8pPr marL="1371600" fontAlgn="base">
                <a:spcBef>
                  <a:spcPct val="0"/>
                </a:spcBef>
                <a:spcAft>
                  <a:spcPct val="0"/>
                </a:spcAft>
                <a:defRPr>
                  <a:solidFill>
                    <a:schemeClr val="tx1"/>
                  </a:solidFill>
                  <a:latin typeface="Calibri" charset="0"/>
                  <a:ea typeface="ＭＳ Ｐゴシック" charset="-128"/>
                </a:defRPr>
              </a:lvl8pPr>
              <a:lvl9pPr marL="1828800" fontAlgn="base">
                <a:spcBef>
                  <a:spcPct val="0"/>
                </a:spcBef>
                <a:spcAft>
                  <a:spcPct val="0"/>
                </a:spcAft>
                <a:defRPr>
                  <a:solidFill>
                    <a:schemeClr val="tx1"/>
                  </a:solidFill>
                  <a:latin typeface="Calibri" charset="0"/>
                  <a:ea typeface="ＭＳ Ｐゴシック" charset="-128"/>
                </a:defRPr>
              </a:lvl9pPr>
            </a:lstStyle>
            <a:p>
              <a:pPr algn="ctr">
                <a:defRPr/>
              </a:pPr>
              <a:endParaRPr lang="en-US" u="sng" smtClean="0">
                <a:solidFill>
                  <a:srgbClr val="FFFFFF"/>
                </a:solidFill>
              </a:endParaRPr>
            </a:p>
          </p:txBody>
        </p:sp>
      </p:grpSp>
    </p:spTree>
    <p:extLst>
      <p:ext uri="{BB962C8B-B14F-4D97-AF65-F5344CB8AC3E}">
        <p14:creationId xmlns:p14="http://schemas.microsoft.com/office/powerpoint/2010/main" val="2938513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up 3"/>
          <p:cNvGrpSpPr/>
          <p:nvPr/>
        </p:nvGrpSpPr>
        <p:grpSpPr>
          <a:xfrm>
            <a:off x="256530" y="1085152"/>
            <a:ext cx="2476500" cy="2163844"/>
            <a:chOff x="1629246" y="2009187"/>
            <a:chExt cx="2476500" cy="2163844"/>
          </a:xfrm>
        </p:grpSpPr>
        <p:grpSp>
          <p:nvGrpSpPr>
            <p:cNvPr id="5" name="Gruppe 135"/>
            <p:cNvGrpSpPr/>
            <p:nvPr/>
          </p:nvGrpSpPr>
          <p:grpSpPr>
            <a:xfrm>
              <a:off x="1629246" y="3268509"/>
              <a:ext cx="2476500" cy="752175"/>
              <a:chOff x="-11420475" y="8545513"/>
              <a:chExt cx="4432300" cy="1346200"/>
            </a:xfrm>
            <a:effectLst>
              <a:outerShdw blurRad="50800" dist="38100" dir="2700000" algn="tl" rotWithShape="0">
                <a:prstClr val="black">
                  <a:alpha val="40000"/>
                </a:prstClr>
              </a:outerShdw>
            </a:effectLst>
          </p:grpSpPr>
          <p:sp>
            <p:nvSpPr>
              <p:cNvPr id="13" name="Freeform 48"/>
              <p:cNvSpPr>
                <a:spLocks/>
              </p:cNvSpPr>
              <p:nvPr/>
            </p:nvSpPr>
            <p:spPr bwMode="auto">
              <a:xfrm>
                <a:off x="-11420475" y="8545513"/>
                <a:ext cx="4432300" cy="1066800"/>
              </a:xfrm>
              <a:custGeom>
                <a:avLst/>
                <a:gdLst/>
                <a:ahLst/>
                <a:cxnLst>
                  <a:cxn ang="0">
                    <a:pos x="0" y="672"/>
                  </a:cxn>
                  <a:cxn ang="0">
                    <a:pos x="882" y="0"/>
                  </a:cxn>
                  <a:cxn ang="0">
                    <a:pos x="2792" y="0"/>
                  </a:cxn>
                  <a:cxn ang="0">
                    <a:pos x="1910" y="672"/>
                  </a:cxn>
                  <a:cxn ang="0">
                    <a:pos x="0" y="672"/>
                  </a:cxn>
                </a:cxnLst>
                <a:rect l="0" t="0" r="r" b="b"/>
                <a:pathLst>
                  <a:path w="2792" h="672">
                    <a:moveTo>
                      <a:pt x="0" y="672"/>
                    </a:moveTo>
                    <a:lnTo>
                      <a:pt x="882" y="0"/>
                    </a:lnTo>
                    <a:lnTo>
                      <a:pt x="2792" y="0"/>
                    </a:lnTo>
                    <a:lnTo>
                      <a:pt x="1910" y="672"/>
                    </a:lnTo>
                    <a:lnTo>
                      <a:pt x="0" y="672"/>
                    </a:lnTo>
                    <a:close/>
                  </a:path>
                </a:pathLst>
              </a:custGeom>
              <a:solidFill>
                <a:srgbClr val="E3E4E5"/>
              </a:solidFill>
              <a:ln w="9525">
                <a:noFill/>
                <a:round/>
                <a:headEnd/>
                <a:tailEnd/>
              </a:ln>
            </p:spPr>
            <p:txBody>
              <a:bodyPr/>
              <a:lstStyle/>
              <a:p>
                <a:pPr fontAlgn="auto">
                  <a:spcBef>
                    <a:spcPts val="0"/>
                  </a:spcBef>
                  <a:spcAft>
                    <a:spcPts val="0"/>
                  </a:spcAft>
                  <a:defRPr/>
                </a:pPr>
                <a:endParaRPr lang="da-DK" kern="0">
                  <a:solidFill>
                    <a:sysClr val="windowText" lastClr="000000"/>
                  </a:solidFill>
                  <a:latin typeface="Calibri"/>
                  <a:ea typeface="ＭＳ Ｐゴシック" pitchFamily="-109" charset="-128"/>
                  <a:cs typeface="ＭＳ Ｐゴシック" pitchFamily="-109" charset="-128"/>
                </a:endParaRPr>
              </a:p>
            </p:txBody>
          </p:sp>
          <p:sp>
            <p:nvSpPr>
              <p:cNvPr id="14" name="Rectangle 49"/>
              <p:cNvSpPr>
                <a:spLocks noChangeArrowheads="1"/>
              </p:cNvSpPr>
              <p:nvPr/>
            </p:nvSpPr>
            <p:spPr bwMode="auto">
              <a:xfrm>
                <a:off x="-11417300" y="9612313"/>
                <a:ext cx="3028950" cy="276225"/>
              </a:xfrm>
              <a:prstGeom prst="rect">
                <a:avLst/>
              </a:prstGeom>
              <a:solidFill>
                <a:srgbClr val="BEC0C2"/>
              </a:solidFill>
              <a:ln w="9525">
                <a:noFill/>
                <a:miter lim="800000"/>
                <a:headEnd/>
                <a:tailEnd/>
              </a:ln>
            </p:spPr>
            <p:txBody>
              <a:bodyPr/>
              <a:lstStyle/>
              <a:p>
                <a:pPr fontAlgn="auto">
                  <a:spcBef>
                    <a:spcPts val="0"/>
                  </a:spcBef>
                  <a:spcAft>
                    <a:spcPts val="0"/>
                  </a:spcAft>
                  <a:defRPr/>
                </a:pPr>
                <a:endParaRPr lang="da-DK" kern="0">
                  <a:solidFill>
                    <a:sysClr val="windowText" lastClr="000000"/>
                  </a:solidFill>
                  <a:latin typeface="Calibri"/>
                  <a:ea typeface="ＭＳ Ｐゴシック" pitchFamily="-109" charset="-128"/>
                  <a:cs typeface="ＭＳ Ｐゴシック" pitchFamily="-109" charset="-128"/>
                </a:endParaRPr>
              </a:p>
            </p:txBody>
          </p:sp>
          <p:sp>
            <p:nvSpPr>
              <p:cNvPr id="15" name="Freeform 50"/>
              <p:cNvSpPr>
                <a:spLocks/>
              </p:cNvSpPr>
              <p:nvPr/>
            </p:nvSpPr>
            <p:spPr bwMode="auto">
              <a:xfrm>
                <a:off x="-8391525" y="8545513"/>
                <a:ext cx="1403350" cy="1346200"/>
              </a:xfrm>
              <a:custGeom>
                <a:avLst/>
                <a:gdLst/>
                <a:ahLst/>
                <a:cxnLst>
                  <a:cxn ang="0">
                    <a:pos x="884" y="178"/>
                  </a:cxn>
                  <a:cxn ang="0">
                    <a:pos x="2" y="848"/>
                  </a:cxn>
                  <a:cxn ang="0">
                    <a:pos x="0" y="672"/>
                  </a:cxn>
                  <a:cxn ang="0">
                    <a:pos x="884" y="0"/>
                  </a:cxn>
                  <a:cxn ang="0">
                    <a:pos x="884" y="178"/>
                  </a:cxn>
                </a:cxnLst>
                <a:rect l="0" t="0" r="r" b="b"/>
                <a:pathLst>
                  <a:path w="884" h="848">
                    <a:moveTo>
                      <a:pt x="884" y="178"/>
                    </a:moveTo>
                    <a:lnTo>
                      <a:pt x="2" y="848"/>
                    </a:lnTo>
                    <a:lnTo>
                      <a:pt x="0" y="672"/>
                    </a:lnTo>
                    <a:lnTo>
                      <a:pt x="884" y="0"/>
                    </a:lnTo>
                    <a:lnTo>
                      <a:pt x="884" y="178"/>
                    </a:lnTo>
                    <a:close/>
                  </a:path>
                </a:pathLst>
              </a:custGeom>
              <a:solidFill>
                <a:srgbClr val="A3A5A8"/>
              </a:solidFill>
              <a:ln w="9525">
                <a:noFill/>
                <a:round/>
                <a:headEnd/>
                <a:tailEnd/>
              </a:ln>
            </p:spPr>
            <p:txBody>
              <a:bodyPr/>
              <a:lstStyle/>
              <a:p>
                <a:pPr fontAlgn="auto">
                  <a:spcBef>
                    <a:spcPts val="0"/>
                  </a:spcBef>
                  <a:spcAft>
                    <a:spcPts val="0"/>
                  </a:spcAft>
                  <a:defRPr/>
                </a:pPr>
                <a:endParaRPr lang="da-DK" kern="0">
                  <a:solidFill>
                    <a:sysClr val="windowText" lastClr="000000"/>
                  </a:solidFill>
                  <a:latin typeface="Calibri"/>
                  <a:ea typeface="ＭＳ Ｐゴシック" pitchFamily="-109" charset="-128"/>
                  <a:cs typeface="ＭＳ Ｐゴシック" pitchFamily="-109" charset="-128"/>
                </a:endParaRPr>
              </a:p>
            </p:txBody>
          </p:sp>
        </p:grpSp>
        <p:pic>
          <p:nvPicPr>
            <p:cNvPr id="7" name="Resim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36191" y="2009187"/>
              <a:ext cx="2153210" cy="165595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nvGrpSpPr>
            <p:cNvPr id="8" name="Grup 7"/>
            <p:cNvGrpSpPr/>
            <p:nvPr/>
          </p:nvGrpSpPr>
          <p:grpSpPr>
            <a:xfrm>
              <a:off x="2600601" y="3833748"/>
              <a:ext cx="1403350" cy="339283"/>
              <a:chOff x="816587" y="2565421"/>
              <a:chExt cx="1403350" cy="339283"/>
            </a:xfrm>
          </p:grpSpPr>
          <p:sp>
            <p:nvSpPr>
              <p:cNvPr id="9" name="Rektangel 750"/>
              <p:cNvSpPr>
                <a:spLocks noChangeArrowheads="1"/>
              </p:cNvSpPr>
              <p:nvPr/>
            </p:nvSpPr>
            <p:spPr bwMode="auto">
              <a:xfrm>
                <a:off x="816587" y="2565421"/>
                <a:ext cx="1403350" cy="323935"/>
              </a:xfrm>
              <a:prstGeom prst="rect">
                <a:avLst/>
              </a:prstGeom>
              <a:solidFill>
                <a:sysClr val="window" lastClr="FFFFFF"/>
              </a:solidFill>
              <a:ln w="3175">
                <a:solidFill>
                  <a:srgbClr val="D9D9D9"/>
                </a:solidFill>
                <a:miter lim="800000"/>
                <a:headEnd/>
                <a:tailEnd/>
              </a:ln>
              <a:effectLst>
                <a:outerShdw blurRad="63500" dist="38100" dir="2700000" algn="tl" rotWithShape="0">
                  <a:srgbClr val="000000">
                    <a:alpha val="39999"/>
                  </a:srgbClr>
                </a:outerShdw>
              </a:effectLst>
            </p:spPr>
            <p:txBody>
              <a:bodyPr anchor="ctr"/>
              <a:lstStyle/>
              <a:p>
                <a:pPr algn="ctr"/>
                <a:endParaRPr lang="nb-NO">
                  <a:solidFill>
                    <a:srgbClr val="FFFFFF"/>
                  </a:solidFill>
                  <a:latin typeface="Calibri" pitchFamily="34" charset="0"/>
                </a:endParaRPr>
              </a:p>
            </p:txBody>
          </p:sp>
          <p:sp>
            <p:nvSpPr>
              <p:cNvPr id="10" name="Rektangel 755"/>
              <p:cNvSpPr/>
              <p:nvPr/>
            </p:nvSpPr>
            <p:spPr bwMode="auto">
              <a:xfrm>
                <a:off x="905487" y="2566150"/>
                <a:ext cx="1222148" cy="338554"/>
              </a:xfrm>
              <a:prstGeom prst="rect">
                <a:avLst/>
              </a:prstGeom>
            </p:spPr>
            <p:txBody>
              <a:bodyPr wrap="square">
                <a:spAutoFit/>
              </a:bodyPr>
              <a:lstStyle/>
              <a:p>
                <a:pPr algn="ctr"/>
                <a:r>
                  <a:rPr lang="tr-TR" sz="1600" b="1" noProof="1" smtClean="0">
                    <a:solidFill>
                      <a:srgbClr val="1E1C11"/>
                    </a:solidFill>
                    <a:latin typeface="Calibri" pitchFamily="34" charset="0"/>
                    <a:cs typeface="Arial" pitchFamily="34" charset="0"/>
                  </a:rPr>
                  <a:t>e - FATURA</a:t>
                </a:r>
                <a:endParaRPr lang="da-DK" sz="1600" dirty="0">
                  <a:solidFill>
                    <a:srgbClr val="000000"/>
                  </a:solidFill>
                </a:endParaRPr>
              </a:p>
            </p:txBody>
          </p:sp>
        </p:grpSp>
      </p:grpSp>
      <p:grpSp>
        <p:nvGrpSpPr>
          <p:cNvPr id="16" name="Grup 15"/>
          <p:cNvGrpSpPr/>
          <p:nvPr/>
        </p:nvGrpSpPr>
        <p:grpSpPr>
          <a:xfrm>
            <a:off x="5765876" y="3616227"/>
            <a:ext cx="3129102" cy="2405061"/>
            <a:chOff x="3035300" y="2789237"/>
            <a:chExt cx="3129102" cy="2405061"/>
          </a:xfrm>
        </p:grpSpPr>
        <p:grpSp>
          <p:nvGrpSpPr>
            <p:cNvPr id="17" name="Gruppe 152"/>
            <p:cNvGrpSpPr>
              <a:grpSpLocks/>
            </p:cNvGrpSpPr>
            <p:nvPr/>
          </p:nvGrpSpPr>
          <p:grpSpPr bwMode="auto">
            <a:xfrm>
              <a:off x="3035300" y="4368800"/>
              <a:ext cx="517525" cy="184150"/>
              <a:chOff x="-11414125" y="5922962"/>
              <a:chExt cx="1225550" cy="438150"/>
            </a:xfrm>
          </p:grpSpPr>
          <p:sp>
            <p:nvSpPr>
              <p:cNvPr id="26" name="Freeform 175"/>
              <p:cNvSpPr>
                <a:spLocks/>
              </p:cNvSpPr>
              <p:nvPr/>
            </p:nvSpPr>
            <p:spPr bwMode="auto">
              <a:xfrm>
                <a:off x="-11098339" y="5922962"/>
                <a:ext cx="909764" cy="438150"/>
              </a:xfrm>
              <a:custGeom>
                <a:avLst/>
                <a:gdLst>
                  <a:gd name="T0" fmla="*/ 572 w 572"/>
                  <a:gd name="T1" fmla="*/ 108 h 276"/>
                  <a:gd name="T2" fmla="*/ 512 w 572"/>
                  <a:gd name="T3" fmla="*/ 0 h 276"/>
                  <a:gd name="T4" fmla="*/ 434 w 572"/>
                  <a:gd name="T5" fmla="*/ 54 h 276"/>
                  <a:gd name="T6" fmla="*/ 168 w 572"/>
                  <a:gd name="T7" fmla="*/ 54 h 276"/>
                  <a:gd name="T8" fmla="*/ 0 w 572"/>
                  <a:gd name="T9" fmla="*/ 180 h 276"/>
                  <a:gd name="T10" fmla="*/ 272 w 572"/>
                  <a:gd name="T11" fmla="*/ 180 h 276"/>
                  <a:gd name="T12" fmla="*/ 146 w 572"/>
                  <a:gd name="T13" fmla="*/ 276 h 276"/>
                  <a:gd name="T14" fmla="*/ 572 w 572"/>
                  <a:gd name="T15" fmla="*/ 108 h 276"/>
                  <a:gd name="T16" fmla="*/ 0 60000 65536"/>
                  <a:gd name="T17" fmla="*/ 0 60000 65536"/>
                  <a:gd name="T18" fmla="*/ 0 60000 65536"/>
                  <a:gd name="T19" fmla="*/ 0 60000 65536"/>
                  <a:gd name="T20" fmla="*/ 0 60000 65536"/>
                  <a:gd name="T21" fmla="*/ 0 60000 65536"/>
                  <a:gd name="T22" fmla="*/ 0 60000 65536"/>
                  <a:gd name="T23" fmla="*/ 0 60000 65536"/>
                  <a:gd name="T24" fmla="*/ 0 w 572"/>
                  <a:gd name="T25" fmla="*/ 0 h 276"/>
                  <a:gd name="T26" fmla="*/ 572 w 572"/>
                  <a:gd name="T27" fmla="*/ 276 h 27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72" h="276">
                    <a:moveTo>
                      <a:pt x="572" y="108"/>
                    </a:moveTo>
                    <a:lnTo>
                      <a:pt x="512" y="0"/>
                    </a:lnTo>
                    <a:lnTo>
                      <a:pt x="434" y="54"/>
                    </a:lnTo>
                    <a:lnTo>
                      <a:pt x="168" y="54"/>
                    </a:lnTo>
                    <a:lnTo>
                      <a:pt x="0" y="180"/>
                    </a:lnTo>
                    <a:lnTo>
                      <a:pt x="272" y="180"/>
                    </a:lnTo>
                    <a:lnTo>
                      <a:pt x="146" y="276"/>
                    </a:lnTo>
                    <a:lnTo>
                      <a:pt x="572" y="108"/>
                    </a:lnTo>
                    <a:close/>
                  </a:path>
                </a:pathLst>
              </a:custGeom>
              <a:solidFill>
                <a:schemeClr val="tx2">
                  <a:lumMod val="75000"/>
                </a:schemeClr>
              </a:solidFill>
              <a:ln>
                <a:noFill/>
              </a:ln>
              <a:extLst>
                <a:ext uri="{91240B29-F687-4F45-9708-019B960494DF}">
                  <a14:hiddenLine xmlns:a14="http://schemas.microsoft.com/office/drawing/2010/main" w="19050">
                    <a:solidFill>
                      <a:srgbClr val="000000"/>
                    </a:solidFill>
                    <a:round/>
                    <a:headEnd/>
                    <a:tailEnd/>
                  </a14:hiddenLine>
                </a:ext>
              </a:extLst>
            </p:spPr>
            <p:txBody>
              <a:bodyPr/>
              <a:lstStyle/>
              <a:p>
                <a:endParaRPr lang="nb-NO">
                  <a:solidFill>
                    <a:srgbClr val="0D0D0D"/>
                  </a:solidFill>
                  <a:latin typeface="Calibri" pitchFamily="34" charset="0"/>
                </a:endParaRPr>
              </a:p>
            </p:txBody>
          </p:sp>
          <p:sp>
            <p:nvSpPr>
              <p:cNvPr id="27" name="Freeform 176"/>
              <p:cNvSpPr>
                <a:spLocks/>
              </p:cNvSpPr>
              <p:nvPr/>
            </p:nvSpPr>
            <p:spPr bwMode="auto">
              <a:xfrm>
                <a:off x="-11256232" y="6009839"/>
                <a:ext cx="390973" cy="196412"/>
              </a:xfrm>
              <a:custGeom>
                <a:avLst/>
                <a:gdLst>
                  <a:gd name="T0" fmla="*/ 170 w 248"/>
                  <a:gd name="T1" fmla="*/ 0 h 126"/>
                  <a:gd name="T2" fmla="*/ 0 w 248"/>
                  <a:gd name="T3" fmla="*/ 126 h 126"/>
                  <a:gd name="T4" fmla="*/ 80 w 248"/>
                  <a:gd name="T5" fmla="*/ 126 h 126"/>
                  <a:gd name="T6" fmla="*/ 248 w 248"/>
                  <a:gd name="T7" fmla="*/ 0 h 126"/>
                  <a:gd name="T8" fmla="*/ 170 w 248"/>
                  <a:gd name="T9" fmla="*/ 0 h 126"/>
                  <a:gd name="T10" fmla="*/ 0 60000 65536"/>
                  <a:gd name="T11" fmla="*/ 0 60000 65536"/>
                  <a:gd name="T12" fmla="*/ 0 60000 65536"/>
                  <a:gd name="T13" fmla="*/ 0 60000 65536"/>
                  <a:gd name="T14" fmla="*/ 0 60000 65536"/>
                  <a:gd name="T15" fmla="*/ 0 w 248"/>
                  <a:gd name="T16" fmla="*/ 0 h 126"/>
                  <a:gd name="T17" fmla="*/ 248 w 248"/>
                  <a:gd name="T18" fmla="*/ 126 h 126"/>
                </a:gdLst>
                <a:ahLst/>
                <a:cxnLst>
                  <a:cxn ang="T10">
                    <a:pos x="T0" y="T1"/>
                  </a:cxn>
                  <a:cxn ang="T11">
                    <a:pos x="T2" y="T3"/>
                  </a:cxn>
                  <a:cxn ang="T12">
                    <a:pos x="T4" y="T5"/>
                  </a:cxn>
                  <a:cxn ang="T13">
                    <a:pos x="T6" y="T7"/>
                  </a:cxn>
                  <a:cxn ang="T14">
                    <a:pos x="T8" y="T9"/>
                  </a:cxn>
                </a:cxnLst>
                <a:rect l="T15" t="T16" r="T17" b="T18"/>
                <a:pathLst>
                  <a:path w="248" h="126">
                    <a:moveTo>
                      <a:pt x="170" y="0"/>
                    </a:moveTo>
                    <a:lnTo>
                      <a:pt x="0" y="126"/>
                    </a:lnTo>
                    <a:lnTo>
                      <a:pt x="80" y="126"/>
                    </a:lnTo>
                    <a:lnTo>
                      <a:pt x="248" y="0"/>
                    </a:lnTo>
                    <a:lnTo>
                      <a:pt x="170" y="0"/>
                    </a:lnTo>
                    <a:close/>
                  </a:path>
                </a:pathLst>
              </a:custGeom>
              <a:solidFill>
                <a:schemeClr val="tx2">
                  <a:lumMod val="75000"/>
                </a:schemeClr>
              </a:solidFill>
              <a:ln>
                <a:noFill/>
              </a:ln>
              <a:extLst>
                <a:ext uri="{91240B29-F687-4F45-9708-019B960494DF}">
                  <a14:hiddenLine xmlns:a14="http://schemas.microsoft.com/office/drawing/2010/main" w="19050">
                    <a:solidFill>
                      <a:srgbClr val="000000"/>
                    </a:solidFill>
                    <a:round/>
                    <a:headEnd/>
                    <a:tailEnd/>
                  </a14:hiddenLine>
                </a:ext>
              </a:extLst>
            </p:spPr>
            <p:txBody>
              <a:bodyPr/>
              <a:lstStyle/>
              <a:p>
                <a:endParaRPr lang="nb-NO">
                  <a:solidFill>
                    <a:srgbClr val="0D0D0D"/>
                  </a:solidFill>
                  <a:latin typeface="Calibri" pitchFamily="34" charset="0"/>
                </a:endParaRPr>
              </a:p>
            </p:txBody>
          </p:sp>
          <p:sp>
            <p:nvSpPr>
              <p:cNvPr id="28" name="Freeform 177"/>
              <p:cNvSpPr>
                <a:spLocks/>
              </p:cNvSpPr>
              <p:nvPr/>
            </p:nvSpPr>
            <p:spPr bwMode="auto">
              <a:xfrm>
                <a:off x="-11414125" y="6002455"/>
                <a:ext cx="394734" cy="203966"/>
              </a:xfrm>
              <a:custGeom>
                <a:avLst/>
                <a:gdLst>
                  <a:gd name="T0" fmla="*/ 170 w 248"/>
                  <a:gd name="T1" fmla="*/ 0 h 128"/>
                  <a:gd name="T2" fmla="*/ 0 w 248"/>
                  <a:gd name="T3" fmla="*/ 128 h 128"/>
                  <a:gd name="T4" fmla="*/ 78 w 248"/>
                  <a:gd name="T5" fmla="*/ 128 h 128"/>
                  <a:gd name="T6" fmla="*/ 248 w 248"/>
                  <a:gd name="T7" fmla="*/ 0 h 128"/>
                  <a:gd name="T8" fmla="*/ 170 w 248"/>
                  <a:gd name="T9" fmla="*/ 0 h 128"/>
                  <a:gd name="T10" fmla="*/ 0 60000 65536"/>
                  <a:gd name="T11" fmla="*/ 0 60000 65536"/>
                  <a:gd name="T12" fmla="*/ 0 60000 65536"/>
                  <a:gd name="T13" fmla="*/ 0 60000 65536"/>
                  <a:gd name="T14" fmla="*/ 0 60000 65536"/>
                  <a:gd name="T15" fmla="*/ 0 w 248"/>
                  <a:gd name="T16" fmla="*/ 0 h 128"/>
                  <a:gd name="T17" fmla="*/ 248 w 248"/>
                  <a:gd name="T18" fmla="*/ 128 h 128"/>
                </a:gdLst>
                <a:ahLst/>
                <a:cxnLst>
                  <a:cxn ang="T10">
                    <a:pos x="T0" y="T1"/>
                  </a:cxn>
                  <a:cxn ang="T11">
                    <a:pos x="T2" y="T3"/>
                  </a:cxn>
                  <a:cxn ang="T12">
                    <a:pos x="T4" y="T5"/>
                  </a:cxn>
                  <a:cxn ang="T13">
                    <a:pos x="T6" y="T7"/>
                  </a:cxn>
                  <a:cxn ang="T14">
                    <a:pos x="T8" y="T9"/>
                  </a:cxn>
                </a:cxnLst>
                <a:rect l="T15" t="T16" r="T17" b="T18"/>
                <a:pathLst>
                  <a:path w="248" h="128">
                    <a:moveTo>
                      <a:pt x="170" y="0"/>
                    </a:moveTo>
                    <a:lnTo>
                      <a:pt x="0" y="128"/>
                    </a:lnTo>
                    <a:lnTo>
                      <a:pt x="78" y="128"/>
                    </a:lnTo>
                    <a:lnTo>
                      <a:pt x="248" y="0"/>
                    </a:lnTo>
                    <a:lnTo>
                      <a:pt x="170" y="0"/>
                    </a:lnTo>
                    <a:close/>
                  </a:path>
                </a:pathLst>
              </a:custGeom>
              <a:solidFill>
                <a:schemeClr val="tx2">
                  <a:lumMod val="75000"/>
                </a:schemeClr>
              </a:solidFill>
              <a:ln>
                <a:noFill/>
              </a:ln>
              <a:extLst>
                <a:ext uri="{91240B29-F687-4F45-9708-019B960494DF}">
                  <a14:hiddenLine xmlns:a14="http://schemas.microsoft.com/office/drawing/2010/main" w="19050">
                    <a:solidFill>
                      <a:srgbClr val="000000"/>
                    </a:solidFill>
                    <a:round/>
                    <a:headEnd/>
                    <a:tailEnd/>
                  </a14:hiddenLine>
                </a:ext>
              </a:extLst>
            </p:spPr>
            <p:txBody>
              <a:bodyPr/>
              <a:lstStyle/>
              <a:p>
                <a:endParaRPr lang="nb-NO">
                  <a:solidFill>
                    <a:srgbClr val="0D0D0D"/>
                  </a:solidFill>
                  <a:latin typeface="Calibri" pitchFamily="34" charset="0"/>
                </a:endParaRPr>
              </a:p>
            </p:txBody>
          </p:sp>
        </p:grpSp>
        <p:grpSp>
          <p:nvGrpSpPr>
            <p:cNvPr id="18" name="Gruppe 135"/>
            <p:cNvGrpSpPr/>
            <p:nvPr/>
          </p:nvGrpSpPr>
          <p:grpSpPr>
            <a:xfrm>
              <a:off x="3439283" y="4099140"/>
              <a:ext cx="2476500" cy="752175"/>
              <a:chOff x="-11420475" y="8545513"/>
              <a:chExt cx="4432300" cy="1346200"/>
            </a:xfrm>
            <a:effectLst>
              <a:outerShdw blurRad="50800" dist="38100" dir="2700000" algn="tl" rotWithShape="0">
                <a:prstClr val="black">
                  <a:alpha val="40000"/>
                </a:prstClr>
              </a:outerShdw>
            </a:effectLst>
          </p:grpSpPr>
          <p:sp>
            <p:nvSpPr>
              <p:cNvPr id="23" name="Freeform 48"/>
              <p:cNvSpPr>
                <a:spLocks/>
              </p:cNvSpPr>
              <p:nvPr/>
            </p:nvSpPr>
            <p:spPr bwMode="auto">
              <a:xfrm>
                <a:off x="-11420475" y="8545513"/>
                <a:ext cx="4432300" cy="1066800"/>
              </a:xfrm>
              <a:custGeom>
                <a:avLst/>
                <a:gdLst/>
                <a:ahLst/>
                <a:cxnLst>
                  <a:cxn ang="0">
                    <a:pos x="0" y="672"/>
                  </a:cxn>
                  <a:cxn ang="0">
                    <a:pos x="882" y="0"/>
                  </a:cxn>
                  <a:cxn ang="0">
                    <a:pos x="2792" y="0"/>
                  </a:cxn>
                  <a:cxn ang="0">
                    <a:pos x="1910" y="672"/>
                  </a:cxn>
                  <a:cxn ang="0">
                    <a:pos x="0" y="672"/>
                  </a:cxn>
                </a:cxnLst>
                <a:rect l="0" t="0" r="r" b="b"/>
                <a:pathLst>
                  <a:path w="2792" h="672">
                    <a:moveTo>
                      <a:pt x="0" y="672"/>
                    </a:moveTo>
                    <a:lnTo>
                      <a:pt x="882" y="0"/>
                    </a:lnTo>
                    <a:lnTo>
                      <a:pt x="2792" y="0"/>
                    </a:lnTo>
                    <a:lnTo>
                      <a:pt x="1910" y="672"/>
                    </a:lnTo>
                    <a:lnTo>
                      <a:pt x="0" y="672"/>
                    </a:lnTo>
                    <a:close/>
                  </a:path>
                </a:pathLst>
              </a:custGeom>
              <a:solidFill>
                <a:srgbClr val="E3E4E5"/>
              </a:solidFill>
              <a:ln w="9525">
                <a:noFill/>
                <a:round/>
                <a:headEnd/>
                <a:tailEnd/>
              </a:ln>
            </p:spPr>
            <p:txBody>
              <a:bodyPr/>
              <a:lstStyle/>
              <a:p>
                <a:pPr fontAlgn="auto">
                  <a:spcBef>
                    <a:spcPts val="0"/>
                  </a:spcBef>
                  <a:spcAft>
                    <a:spcPts val="0"/>
                  </a:spcAft>
                  <a:defRPr/>
                </a:pPr>
                <a:endParaRPr lang="da-DK" kern="0">
                  <a:solidFill>
                    <a:sysClr val="windowText" lastClr="000000"/>
                  </a:solidFill>
                  <a:latin typeface="Calibri"/>
                  <a:ea typeface="ＭＳ Ｐゴシック" pitchFamily="-109" charset="-128"/>
                  <a:cs typeface="ＭＳ Ｐゴシック" pitchFamily="-109" charset="-128"/>
                </a:endParaRPr>
              </a:p>
            </p:txBody>
          </p:sp>
          <p:sp>
            <p:nvSpPr>
              <p:cNvPr id="24" name="Rectangle 49"/>
              <p:cNvSpPr>
                <a:spLocks noChangeArrowheads="1"/>
              </p:cNvSpPr>
              <p:nvPr/>
            </p:nvSpPr>
            <p:spPr bwMode="auto">
              <a:xfrm>
                <a:off x="-11417300" y="9612313"/>
                <a:ext cx="3028950" cy="276225"/>
              </a:xfrm>
              <a:prstGeom prst="rect">
                <a:avLst/>
              </a:prstGeom>
              <a:solidFill>
                <a:srgbClr val="BEC0C2"/>
              </a:solidFill>
              <a:ln w="9525">
                <a:noFill/>
                <a:miter lim="800000"/>
                <a:headEnd/>
                <a:tailEnd/>
              </a:ln>
            </p:spPr>
            <p:txBody>
              <a:bodyPr/>
              <a:lstStyle/>
              <a:p>
                <a:pPr fontAlgn="auto">
                  <a:spcBef>
                    <a:spcPts val="0"/>
                  </a:spcBef>
                  <a:spcAft>
                    <a:spcPts val="0"/>
                  </a:spcAft>
                  <a:defRPr/>
                </a:pPr>
                <a:endParaRPr lang="da-DK" kern="0">
                  <a:solidFill>
                    <a:sysClr val="windowText" lastClr="000000"/>
                  </a:solidFill>
                  <a:latin typeface="Calibri"/>
                  <a:ea typeface="ＭＳ Ｐゴシック" pitchFamily="-109" charset="-128"/>
                  <a:cs typeface="ＭＳ Ｐゴシック" pitchFamily="-109" charset="-128"/>
                </a:endParaRPr>
              </a:p>
            </p:txBody>
          </p:sp>
          <p:sp>
            <p:nvSpPr>
              <p:cNvPr id="25" name="Freeform 50"/>
              <p:cNvSpPr>
                <a:spLocks/>
              </p:cNvSpPr>
              <p:nvPr/>
            </p:nvSpPr>
            <p:spPr bwMode="auto">
              <a:xfrm>
                <a:off x="-8391525" y="8545513"/>
                <a:ext cx="1403350" cy="1346200"/>
              </a:xfrm>
              <a:custGeom>
                <a:avLst/>
                <a:gdLst/>
                <a:ahLst/>
                <a:cxnLst>
                  <a:cxn ang="0">
                    <a:pos x="884" y="178"/>
                  </a:cxn>
                  <a:cxn ang="0">
                    <a:pos x="2" y="848"/>
                  </a:cxn>
                  <a:cxn ang="0">
                    <a:pos x="0" y="672"/>
                  </a:cxn>
                  <a:cxn ang="0">
                    <a:pos x="884" y="0"/>
                  </a:cxn>
                  <a:cxn ang="0">
                    <a:pos x="884" y="178"/>
                  </a:cxn>
                </a:cxnLst>
                <a:rect l="0" t="0" r="r" b="b"/>
                <a:pathLst>
                  <a:path w="884" h="848">
                    <a:moveTo>
                      <a:pt x="884" y="178"/>
                    </a:moveTo>
                    <a:lnTo>
                      <a:pt x="2" y="848"/>
                    </a:lnTo>
                    <a:lnTo>
                      <a:pt x="0" y="672"/>
                    </a:lnTo>
                    <a:lnTo>
                      <a:pt x="884" y="0"/>
                    </a:lnTo>
                    <a:lnTo>
                      <a:pt x="884" y="178"/>
                    </a:lnTo>
                    <a:close/>
                  </a:path>
                </a:pathLst>
              </a:custGeom>
              <a:solidFill>
                <a:srgbClr val="A3A5A8"/>
              </a:solidFill>
              <a:ln w="9525">
                <a:noFill/>
                <a:round/>
                <a:headEnd/>
                <a:tailEnd/>
              </a:ln>
            </p:spPr>
            <p:txBody>
              <a:bodyPr/>
              <a:lstStyle/>
              <a:p>
                <a:pPr fontAlgn="auto">
                  <a:spcBef>
                    <a:spcPts val="0"/>
                  </a:spcBef>
                  <a:spcAft>
                    <a:spcPts val="0"/>
                  </a:spcAft>
                  <a:defRPr/>
                </a:pPr>
                <a:endParaRPr lang="da-DK" kern="0">
                  <a:solidFill>
                    <a:sysClr val="windowText" lastClr="000000"/>
                  </a:solidFill>
                  <a:latin typeface="Calibri"/>
                  <a:ea typeface="ＭＳ Ｐゴシック" pitchFamily="-109" charset="-128"/>
                  <a:cs typeface="ＭＳ Ｐゴシック" pitchFamily="-109" charset="-128"/>
                </a:endParaRPr>
              </a:p>
            </p:txBody>
          </p:sp>
        </p:grpSp>
        <p:grpSp>
          <p:nvGrpSpPr>
            <p:cNvPr id="19" name="Grup 18"/>
            <p:cNvGrpSpPr/>
            <p:nvPr/>
          </p:nvGrpSpPr>
          <p:grpSpPr>
            <a:xfrm>
              <a:off x="3981033" y="4855744"/>
              <a:ext cx="2183369" cy="338554"/>
              <a:chOff x="1088159" y="2679561"/>
              <a:chExt cx="2913924" cy="338554"/>
            </a:xfrm>
          </p:grpSpPr>
          <p:sp>
            <p:nvSpPr>
              <p:cNvPr id="21" name="Rektangel 750"/>
              <p:cNvSpPr>
                <a:spLocks noChangeArrowheads="1"/>
              </p:cNvSpPr>
              <p:nvPr/>
            </p:nvSpPr>
            <p:spPr bwMode="auto">
              <a:xfrm>
                <a:off x="1158314" y="2679561"/>
                <a:ext cx="2773616" cy="323935"/>
              </a:xfrm>
              <a:prstGeom prst="rect">
                <a:avLst/>
              </a:prstGeom>
              <a:solidFill>
                <a:sysClr val="window" lastClr="FFFFFF"/>
              </a:solidFill>
              <a:ln w="3175">
                <a:solidFill>
                  <a:srgbClr val="D9D9D9"/>
                </a:solidFill>
                <a:miter lim="800000"/>
                <a:headEnd/>
                <a:tailEnd/>
              </a:ln>
              <a:effectLst>
                <a:outerShdw blurRad="63500" dist="38100" dir="2700000" algn="tl" rotWithShape="0">
                  <a:srgbClr val="000000">
                    <a:alpha val="39999"/>
                  </a:srgbClr>
                </a:outerShdw>
              </a:effectLst>
            </p:spPr>
            <p:txBody>
              <a:bodyPr anchor="ctr"/>
              <a:lstStyle/>
              <a:p>
                <a:pPr algn="ctr"/>
                <a:endParaRPr lang="nb-NO">
                  <a:solidFill>
                    <a:srgbClr val="FFFFFF"/>
                  </a:solidFill>
                  <a:latin typeface="Calibri" pitchFamily="34" charset="0"/>
                </a:endParaRPr>
              </a:p>
            </p:txBody>
          </p:sp>
          <p:sp>
            <p:nvSpPr>
              <p:cNvPr id="22" name="Rektangel 755"/>
              <p:cNvSpPr/>
              <p:nvPr/>
            </p:nvSpPr>
            <p:spPr bwMode="auto">
              <a:xfrm>
                <a:off x="1088159" y="2679561"/>
                <a:ext cx="2913924" cy="338554"/>
              </a:xfrm>
              <a:prstGeom prst="rect">
                <a:avLst/>
              </a:prstGeom>
            </p:spPr>
            <p:txBody>
              <a:bodyPr wrap="square">
                <a:spAutoFit/>
              </a:bodyPr>
              <a:lstStyle/>
              <a:p>
                <a:pPr algn="ctr"/>
                <a:r>
                  <a:rPr lang="tr-TR" sz="1600" b="1" noProof="1" smtClean="0">
                    <a:solidFill>
                      <a:srgbClr val="1E1C11"/>
                    </a:solidFill>
                    <a:latin typeface="Calibri" pitchFamily="34" charset="0"/>
                    <a:cs typeface="Arial" pitchFamily="34" charset="0"/>
                  </a:rPr>
                  <a:t>TÜRKİYE’DE e - FATURA</a:t>
                </a:r>
                <a:endParaRPr lang="da-DK" sz="1600" dirty="0">
                  <a:solidFill>
                    <a:srgbClr val="000000"/>
                  </a:solidFill>
                </a:endParaRPr>
              </a:p>
            </p:txBody>
          </p:sp>
        </p:grpSp>
        <p:pic>
          <p:nvPicPr>
            <p:cNvPr id="20" name="Resim 1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705425" y="2789237"/>
              <a:ext cx="1944216" cy="1698627"/>
            </a:xfrm>
            <a:prstGeom prst="roundRect">
              <a:avLst>
                <a:gd name="adj" fmla="val 0"/>
              </a:avLst>
            </a:prstGeom>
            <a:solidFill>
              <a:srgbClr val="FFFFFF">
                <a:shade val="85000"/>
              </a:srgbClr>
            </a:solidFill>
            <a:ln>
              <a:noFill/>
            </a:ln>
            <a:effectLst>
              <a:reflection blurRad="12700" stA="38000" endPos="28000" dist="5000" dir="5400000" sy="-100000" algn="bl" rotWithShape="0"/>
            </a:effectLst>
          </p:spPr>
        </p:pic>
      </p:grpSp>
      <p:grpSp>
        <p:nvGrpSpPr>
          <p:cNvPr id="29" name="Grup 28"/>
          <p:cNvGrpSpPr/>
          <p:nvPr/>
        </p:nvGrpSpPr>
        <p:grpSpPr>
          <a:xfrm>
            <a:off x="2751900" y="1913129"/>
            <a:ext cx="3640200" cy="2225805"/>
            <a:chOff x="3155345" y="2186713"/>
            <a:chExt cx="3640200" cy="2225805"/>
          </a:xfrm>
        </p:grpSpPr>
        <p:grpSp>
          <p:nvGrpSpPr>
            <p:cNvPr id="30" name="Grup 29"/>
            <p:cNvGrpSpPr/>
            <p:nvPr/>
          </p:nvGrpSpPr>
          <p:grpSpPr>
            <a:xfrm>
              <a:off x="3420668" y="2186713"/>
              <a:ext cx="3374877" cy="2225805"/>
              <a:chOff x="320216" y="3058975"/>
              <a:chExt cx="3374877" cy="2225805"/>
            </a:xfrm>
          </p:grpSpPr>
          <p:grpSp>
            <p:nvGrpSpPr>
              <p:cNvPr id="32" name="Gruppe 135"/>
              <p:cNvGrpSpPr/>
              <p:nvPr/>
            </p:nvGrpSpPr>
            <p:grpSpPr>
              <a:xfrm>
                <a:off x="320216" y="4373896"/>
                <a:ext cx="2476500" cy="752175"/>
                <a:chOff x="-11420475" y="8545513"/>
                <a:chExt cx="4432300" cy="1346200"/>
              </a:xfrm>
              <a:effectLst>
                <a:outerShdw blurRad="50800" dist="38100" dir="2700000" algn="tl" rotWithShape="0">
                  <a:prstClr val="black">
                    <a:alpha val="40000"/>
                  </a:prstClr>
                </a:outerShdw>
              </a:effectLst>
            </p:grpSpPr>
            <p:sp>
              <p:nvSpPr>
                <p:cNvPr id="37" name="Freeform 48"/>
                <p:cNvSpPr>
                  <a:spLocks/>
                </p:cNvSpPr>
                <p:nvPr/>
              </p:nvSpPr>
              <p:spPr bwMode="auto">
                <a:xfrm>
                  <a:off x="-11420475" y="8545513"/>
                  <a:ext cx="4432300" cy="1066800"/>
                </a:xfrm>
                <a:custGeom>
                  <a:avLst/>
                  <a:gdLst/>
                  <a:ahLst/>
                  <a:cxnLst>
                    <a:cxn ang="0">
                      <a:pos x="0" y="672"/>
                    </a:cxn>
                    <a:cxn ang="0">
                      <a:pos x="882" y="0"/>
                    </a:cxn>
                    <a:cxn ang="0">
                      <a:pos x="2792" y="0"/>
                    </a:cxn>
                    <a:cxn ang="0">
                      <a:pos x="1910" y="672"/>
                    </a:cxn>
                    <a:cxn ang="0">
                      <a:pos x="0" y="672"/>
                    </a:cxn>
                  </a:cxnLst>
                  <a:rect l="0" t="0" r="r" b="b"/>
                  <a:pathLst>
                    <a:path w="2792" h="672">
                      <a:moveTo>
                        <a:pt x="0" y="672"/>
                      </a:moveTo>
                      <a:lnTo>
                        <a:pt x="882" y="0"/>
                      </a:lnTo>
                      <a:lnTo>
                        <a:pt x="2792" y="0"/>
                      </a:lnTo>
                      <a:lnTo>
                        <a:pt x="1910" y="672"/>
                      </a:lnTo>
                      <a:lnTo>
                        <a:pt x="0" y="672"/>
                      </a:lnTo>
                      <a:close/>
                    </a:path>
                  </a:pathLst>
                </a:custGeom>
                <a:solidFill>
                  <a:srgbClr val="E3E4E5"/>
                </a:solidFill>
                <a:ln w="9525">
                  <a:noFill/>
                  <a:round/>
                  <a:headEnd/>
                  <a:tailEnd/>
                </a:ln>
              </p:spPr>
              <p:txBody>
                <a:bodyPr/>
                <a:lstStyle/>
                <a:p>
                  <a:pPr fontAlgn="auto">
                    <a:spcBef>
                      <a:spcPts val="0"/>
                    </a:spcBef>
                    <a:spcAft>
                      <a:spcPts val="0"/>
                    </a:spcAft>
                    <a:defRPr/>
                  </a:pPr>
                  <a:endParaRPr lang="da-DK" kern="0">
                    <a:solidFill>
                      <a:sysClr val="windowText" lastClr="000000"/>
                    </a:solidFill>
                    <a:latin typeface="Calibri"/>
                    <a:ea typeface="ＭＳ Ｐゴシック" pitchFamily="-109" charset="-128"/>
                    <a:cs typeface="ＭＳ Ｐゴシック" pitchFamily="-109" charset="-128"/>
                  </a:endParaRPr>
                </a:p>
              </p:txBody>
            </p:sp>
            <p:sp>
              <p:nvSpPr>
                <p:cNvPr id="38" name="Rectangle 49"/>
                <p:cNvSpPr>
                  <a:spLocks noChangeArrowheads="1"/>
                </p:cNvSpPr>
                <p:nvPr/>
              </p:nvSpPr>
              <p:spPr bwMode="auto">
                <a:xfrm>
                  <a:off x="-11417300" y="9612313"/>
                  <a:ext cx="3028950" cy="276225"/>
                </a:xfrm>
                <a:prstGeom prst="rect">
                  <a:avLst/>
                </a:prstGeom>
                <a:solidFill>
                  <a:srgbClr val="BEC0C2"/>
                </a:solidFill>
                <a:ln w="9525">
                  <a:noFill/>
                  <a:miter lim="800000"/>
                  <a:headEnd/>
                  <a:tailEnd/>
                </a:ln>
              </p:spPr>
              <p:txBody>
                <a:bodyPr/>
                <a:lstStyle/>
                <a:p>
                  <a:pPr fontAlgn="auto">
                    <a:spcBef>
                      <a:spcPts val="0"/>
                    </a:spcBef>
                    <a:spcAft>
                      <a:spcPts val="0"/>
                    </a:spcAft>
                    <a:defRPr/>
                  </a:pPr>
                  <a:endParaRPr lang="da-DK" kern="0">
                    <a:solidFill>
                      <a:sysClr val="windowText" lastClr="000000"/>
                    </a:solidFill>
                    <a:latin typeface="Calibri"/>
                    <a:ea typeface="ＭＳ Ｐゴシック" pitchFamily="-109" charset="-128"/>
                    <a:cs typeface="ＭＳ Ｐゴシック" pitchFamily="-109" charset="-128"/>
                  </a:endParaRPr>
                </a:p>
              </p:txBody>
            </p:sp>
            <p:sp>
              <p:nvSpPr>
                <p:cNvPr id="39" name="Freeform 50"/>
                <p:cNvSpPr>
                  <a:spLocks/>
                </p:cNvSpPr>
                <p:nvPr/>
              </p:nvSpPr>
              <p:spPr bwMode="auto">
                <a:xfrm>
                  <a:off x="-8391525" y="8545513"/>
                  <a:ext cx="1403350" cy="1346200"/>
                </a:xfrm>
                <a:custGeom>
                  <a:avLst/>
                  <a:gdLst/>
                  <a:ahLst/>
                  <a:cxnLst>
                    <a:cxn ang="0">
                      <a:pos x="884" y="178"/>
                    </a:cxn>
                    <a:cxn ang="0">
                      <a:pos x="2" y="848"/>
                    </a:cxn>
                    <a:cxn ang="0">
                      <a:pos x="0" y="672"/>
                    </a:cxn>
                    <a:cxn ang="0">
                      <a:pos x="884" y="0"/>
                    </a:cxn>
                    <a:cxn ang="0">
                      <a:pos x="884" y="178"/>
                    </a:cxn>
                  </a:cxnLst>
                  <a:rect l="0" t="0" r="r" b="b"/>
                  <a:pathLst>
                    <a:path w="884" h="848">
                      <a:moveTo>
                        <a:pt x="884" y="178"/>
                      </a:moveTo>
                      <a:lnTo>
                        <a:pt x="2" y="848"/>
                      </a:lnTo>
                      <a:lnTo>
                        <a:pt x="0" y="672"/>
                      </a:lnTo>
                      <a:lnTo>
                        <a:pt x="884" y="0"/>
                      </a:lnTo>
                      <a:lnTo>
                        <a:pt x="884" y="178"/>
                      </a:lnTo>
                      <a:close/>
                    </a:path>
                  </a:pathLst>
                </a:custGeom>
                <a:solidFill>
                  <a:srgbClr val="A3A5A8"/>
                </a:solidFill>
                <a:ln w="9525">
                  <a:noFill/>
                  <a:round/>
                  <a:headEnd/>
                  <a:tailEnd/>
                </a:ln>
              </p:spPr>
              <p:txBody>
                <a:bodyPr/>
                <a:lstStyle/>
                <a:p>
                  <a:pPr fontAlgn="auto">
                    <a:spcBef>
                      <a:spcPts val="0"/>
                    </a:spcBef>
                    <a:spcAft>
                      <a:spcPts val="0"/>
                    </a:spcAft>
                    <a:defRPr/>
                  </a:pPr>
                  <a:endParaRPr lang="da-DK" kern="0">
                    <a:solidFill>
                      <a:sysClr val="windowText" lastClr="000000"/>
                    </a:solidFill>
                    <a:latin typeface="Calibri"/>
                    <a:ea typeface="ＭＳ Ｐゴシック" pitchFamily="-109" charset="-128"/>
                    <a:cs typeface="ＭＳ Ｐゴシック" pitchFamily="-109" charset="-128"/>
                  </a:endParaRPr>
                </a:p>
              </p:txBody>
            </p:sp>
          </p:grpSp>
          <p:grpSp>
            <p:nvGrpSpPr>
              <p:cNvPr id="33" name="Grup 32"/>
              <p:cNvGrpSpPr/>
              <p:nvPr/>
            </p:nvGrpSpPr>
            <p:grpSpPr>
              <a:xfrm>
                <a:off x="815164" y="4941395"/>
                <a:ext cx="2879929" cy="343385"/>
                <a:chOff x="728919" y="4838250"/>
                <a:chExt cx="2879929" cy="343385"/>
              </a:xfrm>
            </p:grpSpPr>
            <p:sp>
              <p:nvSpPr>
                <p:cNvPr id="35" name="Rektangel 750"/>
                <p:cNvSpPr>
                  <a:spLocks noChangeArrowheads="1"/>
                </p:cNvSpPr>
                <p:nvPr/>
              </p:nvSpPr>
              <p:spPr bwMode="auto">
                <a:xfrm>
                  <a:off x="800637" y="4857700"/>
                  <a:ext cx="2650217" cy="323935"/>
                </a:xfrm>
                <a:prstGeom prst="rect">
                  <a:avLst/>
                </a:prstGeom>
                <a:solidFill>
                  <a:sysClr val="window" lastClr="FFFFFF"/>
                </a:solidFill>
                <a:ln w="3175">
                  <a:solidFill>
                    <a:srgbClr val="D9D9D9"/>
                  </a:solidFill>
                  <a:miter lim="800000"/>
                  <a:headEnd/>
                  <a:tailEnd/>
                </a:ln>
                <a:effectLst>
                  <a:outerShdw blurRad="63500" dist="38100" dir="2700000" algn="tl" rotWithShape="0">
                    <a:srgbClr val="000000">
                      <a:alpha val="39999"/>
                    </a:srgbClr>
                  </a:outerShdw>
                </a:effectLst>
              </p:spPr>
              <p:txBody>
                <a:bodyPr anchor="ctr"/>
                <a:lstStyle/>
                <a:p>
                  <a:pPr algn="ctr"/>
                  <a:endParaRPr lang="nb-NO">
                    <a:solidFill>
                      <a:srgbClr val="FFFFFF"/>
                    </a:solidFill>
                    <a:latin typeface="Calibri" pitchFamily="34" charset="0"/>
                  </a:endParaRPr>
                </a:p>
              </p:txBody>
            </p:sp>
            <p:sp>
              <p:nvSpPr>
                <p:cNvPr id="36" name="Rektangel 755"/>
                <p:cNvSpPr/>
                <p:nvPr/>
              </p:nvSpPr>
              <p:spPr bwMode="auto">
                <a:xfrm>
                  <a:off x="728919" y="4838250"/>
                  <a:ext cx="2879929" cy="338554"/>
                </a:xfrm>
                <a:prstGeom prst="rect">
                  <a:avLst/>
                </a:prstGeom>
              </p:spPr>
              <p:txBody>
                <a:bodyPr wrap="square">
                  <a:spAutoFit/>
                </a:bodyPr>
                <a:lstStyle/>
                <a:p>
                  <a:pPr algn="ctr"/>
                  <a:r>
                    <a:rPr lang="tr-TR" sz="1600" b="1" noProof="1" smtClean="0">
                      <a:solidFill>
                        <a:srgbClr val="1E1C11"/>
                      </a:solidFill>
                      <a:latin typeface="Calibri" pitchFamily="34" charset="0"/>
                      <a:cs typeface="Arial" pitchFamily="34" charset="0"/>
                    </a:rPr>
                    <a:t>DÜNYADA e - FATURA</a:t>
                  </a:r>
                  <a:endParaRPr lang="da-DK" sz="1600" dirty="0">
                    <a:solidFill>
                      <a:srgbClr val="000000"/>
                    </a:solidFill>
                  </a:endParaRPr>
                </a:p>
              </p:txBody>
            </p:sp>
          </p:grpSp>
          <p:pic>
            <p:nvPicPr>
              <p:cNvPr id="34" name="Resim 3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40026" y="3058975"/>
                <a:ext cx="1883039" cy="172866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sp>
          <p:nvSpPr>
            <p:cNvPr id="31" name="Freeform 175"/>
            <p:cNvSpPr>
              <a:spLocks/>
            </p:cNvSpPr>
            <p:nvPr/>
          </p:nvSpPr>
          <p:spPr bwMode="auto">
            <a:xfrm>
              <a:off x="3155345" y="3705504"/>
              <a:ext cx="384175" cy="184150"/>
            </a:xfrm>
            <a:custGeom>
              <a:avLst/>
              <a:gdLst>
                <a:gd name="T0" fmla="*/ 572 w 572"/>
                <a:gd name="T1" fmla="*/ 108 h 276"/>
                <a:gd name="T2" fmla="*/ 512 w 572"/>
                <a:gd name="T3" fmla="*/ 0 h 276"/>
                <a:gd name="T4" fmla="*/ 434 w 572"/>
                <a:gd name="T5" fmla="*/ 54 h 276"/>
                <a:gd name="T6" fmla="*/ 168 w 572"/>
                <a:gd name="T7" fmla="*/ 54 h 276"/>
                <a:gd name="T8" fmla="*/ 0 w 572"/>
                <a:gd name="T9" fmla="*/ 180 h 276"/>
                <a:gd name="T10" fmla="*/ 272 w 572"/>
                <a:gd name="T11" fmla="*/ 180 h 276"/>
                <a:gd name="T12" fmla="*/ 146 w 572"/>
                <a:gd name="T13" fmla="*/ 276 h 276"/>
                <a:gd name="T14" fmla="*/ 572 w 572"/>
                <a:gd name="T15" fmla="*/ 108 h 276"/>
                <a:gd name="T16" fmla="*/ 0 60000 65536"/>
                <a:gd name="T17" fmla="*/ 0 60000 65536"/>
                <a:gd name="T18" fmla="*/ 0 60000 65536"/>
                <a:gd name="T19" fmla="*/ 0 60000 65536"/>
                <a:gd name="T20" fmla="*/ 0 60000 65536"/>
                <a:gd name="T21" fmla="*/ 0 60000 65536"/>
                <a:gd name="T22" fmla="*/ 0 60000 65536"/>
                <a:gd name="T23" fmla="*/ 0 60000 65536"/>
                <a:gd name="T24" fmla="*/ 0 w 572"/>
                <a:gd name="T25" fmla="*/ 0 h 276"/>
                <a:gd name="T26" fmla="*/ 572 w 572"/>
                <a:gd name="T27" fmla="*/ 276 h 27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72" h="276">
                  <a:moveTo>
                    <a:pt x="572" y="108"/>
                  </a:moveTo>
                  <a:lnTo>
                    <a:pt x="512" y="0"/>
                  </a:lnTo>
                  <a:lnTo>
                    <a:pt x="434" y="54"/>
                  </a:lnTo>
                  <a:lnTo>
                    <a:pt x="168" y="54"/>
                  </a:lnTo>
                  <a:lnTo>
                    <a:pt x="0" y="180"/>
                  </a:lnTo>
                  <a:lnTo>
                    <a:pt x="272" y="180"/>
                  </a:lnTo>
                  <a:lnTo>
                    <a:pt x="146" y="276"/>
                  </a:lnTo>
                  <a:lnTo>
                    <a:pt x="572" y="108"/>
                  </a:lnTo>
                  <a:close/>
                </a:path>
              </a:pathLst>
            </a:custGeom>
            <a:solidFill>
              <a:schemeClr val="tx2">
                <a:lumMod val="75000"/>
              </a:schemeClr>
            </a:solidFill>
            <a:ln>
              <a:noFill/>
            </a:ln>
            <a:extLst>
              <a:ext uri="{91240B29-F687-4F45-9708-019B960494DF}">
                <a14:hiddenLine xmlns:a14="http://schemas.microsoft.com/office/drawing/2010/main" w="19050">
                  <a:solidFill>
                    <a:srgbClr val="000000"/>
                  </a:solidFill>
                  <a:round/>
                  <a:headEnd/>
                  <a:tailEnd/>
                </a14:hiddenLine>
              </a:ext>
            </a:extLst>
          </p:spPr>
          <p:txBody>
            <a:bodyPr/>
            <a:lstStyle/>
            <a:p>
              <a:endParaRPr lang="nb-NO">
                <a:solidFill>
                  <a:srgbClr val="0D0D0D"/>
                </a:solidFill>
                <a:latin typeface="Calibri" pitchFamily="34" charset="0"/>
              </a:endParaRPr>
            </a:p>
          </p:txBody>
        </p:sp>
      </p:grpSp>
      <p:sp>
        <p:nvSpPr>
          <p:cNvPr id="40" name="TextBox 14"/>
          <p:cNvSpPr txBox="1"/>
          <p:nvPr/>
        </p:nvSpPr>
        <p:spPr>
          <a:xfrm>
            <a:off x="3185846" y="472109"/>
            <a:ext cx="2772308" cy="584775"/>
          </a:xfrm>
          <a:prstGeom prst="rect">
            <a:avLst/>
          </a:prstGeom>
          <a:noFill/>
        </p:spPr>
        <p:txBody>
          <a:bodyPr wrap="square" rtlCol="0">
            <a:spAutoFit/>
          </a:bodyPr>
          <a:lstStyle/>
          <a:p>
            <a:pPr lvl="0" algn="ctr">
              <a:spcBef>
                <a:spcPct val="0"/>
              </a:spcBef>
              <a:defRPr/>
            </a:pPr>
            <a:r>
              <a:rPr lang="tr-TR" sz="3200" b="1" dirty="0" smtClean="0"/>
              <a:t>SUNU PLANI</a:t>
            </a:r>
            <a:endParaRPr lang="tr-TR" sz="3200" b="1" dirty="0"/>
          </a:p>
        </p:txBody>
      </p:sp>
    </p:spTree>
    <p:extLst>
      <p:ext uri="{BB962C8B-B14F-4D97-AF65-F5344CB8AC3E}">
        <p14:creationId xmlns:p14="http://schemas.microsoft.com/office/powerpoint/2010/main" val="2155916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500"/>
                                        <p:tgtEl>
                                          <p:spTgt spid="4"/>
                                        </p:tgtEl>
                                      </p:cBhvr>
                                    </p:animEffect>
                                  </p:childTnLst>
                                </p:cTn>
                              </p:par>
                            </p:childTnLst>
                          </p:cTn>
                        </p:par>
                        <p:par>
                          <p:cTn id="8" fill="hold">
                            <p:stCondLst>
                              <p:cond delay="1500"/>
                            </p:stCondLst>
                            <p:childTnLst>
                              <p:par>
                                <p:cTn id="9" presetID="10" presetClass="entr" presetSubtype="0" fill="hold" nodeType="afterEffect">
                                  <p:stCondLst>
                                    <p:cond delay="0"/>
                                  </p:stCondLst>
                                  <p:childTnLst>
                                    <p:set>
                                      <p:cBhvr>
                                        <p:cTn id="10" dur="1" fill="hold">
                                          <p:stCondLst>
                                            <p:cond delay="0"/>
                                          </p:stCondLst>
                                        </p:cTn>
                                        <p:tgtEl>
                                          <p:spTgt spid="29"/>
                                        </p:tgtEl>
                                        <p:attrNameLst>
                                          <p:attrName>style.visibility</p:attrName>
                                        </p:attrNameLst>
                                      </p:cBhvr>
                                      <p:to>
                                        <p:strVal val="visible"/>
                                      </p:to>
                                    </p:set>
                                    <p:animEffect transition="in" filter="fade">
                                      <p:cBhvr>
                                        <p:cTn id="11" dur="1500"/>
                                        <p:tgtEl>
                                          <p:spTgt spid="29"/>
                                        </p:tgtEl>
                                      </p:cBhvr>
                                    </p:animEffect>
                                  </p:childTnLst>
                                </p:cTn>
                              </p:par>
                            </p:childTnLst>
                          </p:cTn>
                        </p:par>
                        <p:par>
                          <p:cTn id="12" fill="hold">
                            <p:stCondLst>
                              <p:cond delay="3000"/>
                            </p:stCondLst>
                            <p:childTnLst>
                              <p:par>
                                <p:cTn id="13" presetID="10" presetClass="entr" presetSubtype="0" fill="hold"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1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352"/>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675394" y="44624"/>
            <a:ext cx="7793213" cy="4873573"/>
          </a:xfrm>
          <a:prstGeom prst="rect">
            <a:avLst/>
          </a:prstGeom>
          <a:noFill/>
          <a:ln>
            <a:noFill/>
          </a:ln>
          <a:effectLst/>
          <a:extLst>
            <a:ext uri="{909E8E84-426E-40DD-AFC4-6F175D3DCCD1}">
              <a14:hiddenFill xmlns:a14="http://schemas.microsoft.com/office/drawing/2010/main">
                <a:gradFill rotWithShape="1">
                  <a:gsLst>
                    <a:gs pos="0">
                      <a:schemeClr val="folHlink"/>
                    </a:gs>
                    <a:gs pos="100000">
                      <a:schemeClr val="folHlink">
                        <a:gamma/>
                        <a:tint val="0"/>
                        <a:invGamma/>
                      </a:schemeClr>
                    </a:gs>
                  </a:gsLst>
                  <a:lin ang="5400000" scaled="1"/>
                </a:gra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5" name="Group 651"/>
          <p:cNvGrpSpPr>
            <a:grpSpLocks/>
          </p:cNvGrpSpPr>
          <p:nvPr/>
        </p:nvGrpSpPr>
        <p:grpSpPr bwMode="auto">
          <a:xfrm>
            <a:off x="4530132" y="1897740"/>
            <a:ext cx="365125" cy="415925"/>
            <a:chOff x="1504" y="2228"/>
            <a:chExt cx="230" cy="262"/>
          </a:xfrm>
        </p:grpSpPr>
        <p:sp>
          <p:nvSpPr>
            <p:cNvPr id="6" name="Oval 652"/>
            <p:cNvSpPr>
              <a:spLocks noChangeArrowheads="1"/>
            </p:cNvSpPr>
            <p:nvPr/>
          </p:nvSpPr>
          <p:spPr bwMode="auto">
            <a:xfrm>
              <a:off x="1507" y="2406"/>
              <a:ext cx="84" cy="84"/>
            </a:xfrm>
            <a:prstGeom prst="ellipse">
              <a:avLst/>
            </a:prstGeom>
            <a:solidFill>
              <a:srgbClr val="006600"/>
            </a:solidFill>
            <a:ln w="9525">
              <a:solidFill>
                <a:srgbClr val="80808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tr-TR"/>
            </a:p>
          </p:txBody>
        </p:sp>
        <p:grpSp>
          <p:nvGrpSpPr>
            <p:cNvPr id="7" name="Group 653"/>
            <p:cNvGrpSpPr>
              <a:grpSpLocks/>
            </p:cNvGrpSpPr>
            <p:nvPr/>
          </p:nvGrpSpPr>
          <p:grpSpPr bwMode="auto">
            <a:xfrm>
              <a:off x="1504" y="2228"/>
              <a:ext cx="230" cy="223"/>
              <a:chOff x="4717" y="538"/>
              <a:chExt cx="806" cy="775"/>
            </a:xfrm>
          </p:grpSpPr>
          <p:sp>
            <p:nvSpPr>
              <p:cNvPr id="8" name="Freeform 654"/>
              <p:cNvSpPr>
                <a:spLocks/>
              </p:cNvSpPr>
              <p:nvPr/>
            </p:nvSpPr>
            <p:spPr bwMode="auto">
              <a:xfrm>
                <a:off x="4854" y="1023"/>
                <a:ext cx="669" cy="290"/>
              </a:xfrm>
              <a:custGeom>
                <a:avLst/>
                <a:gdLst>
                  <a:gd name="T0" fmla="*/ 492 w 669"/>
                  <a:gd name="T1" fmla="*/ 0 h 290"/>
                  <a:gd name="T2" fmla="*/ 195 w 669"/>
                  <a:gd name="T3" fmla="*/ 78 h 290"/>
                  <a:gd name="T4" fmla="*/ 245 w 669"/>
                  <a:gd name="T5" fmla="*/ 148 h 290"/>
                  <a:gd name="T6" fmla="*/ 5 w 669"/>
                  <a:gd name="T7" fmla="*/ 261 h 290"/>
                  <a:gd name="T8" fmla="*/ 48 w 669"/>
                  <a:gd name="T9" fmla="*/ 272 h 290"/>
                  <a:gd name="T10" fmla="*/ 294 w 669"/>
                  <a:gd name="T11" fmla="*/ 154 h 290"/>
                  <a:gd name="T12" fmla="*/ 327 w 669"/>
                  <a:gd name="T13" fmla="*/ 155 h 290"/>
                  <a:gd name="T14" fmla="*/ 624 w 669"/>
                  <a:gd name="T15" fmla="*/ 78 h 290"/>
                  <a:gd name="T16" fmla="*/ 492 w 669"/>
                  <a:gd name="T17"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9" h="290">
                    <a:moveTo>
                      <a:pt x="492" y="0"/>
                    </a:moveTo>
                    <a:cubicBezTo>
                      <a:pt x="373" y="0"/>
                      <a:pt x="240" y="35"/>
                      <a:pt x="195" y="78"/>
                    </a:cubicBezTo>
                    <a:cubicBezTo>
                      <a:pt x="162" y="109"/>
                      <a:pt x="184" y="136"/>
                      <a:pt x="245" y="148"/>
                    </a:cubicBezTo>
                    <a:cubicBezTo>
                      <a:pt x="5" y="261"/>
                      <a:pt x="5" y="261"/>
                      <a:pt x="5" y="261"/>
                    </a:cubicBezTo>
                    <a:cubicBezTo>
                      <a:pt x="9" y="284"/>
                      <a:pt x="0" y="290"/>
                      <a:pt x="48" y="272"/>
                    </a:cubicBezTo>
                    <a:cubicBezTo>
                      <a:pt x="294" y="154"/>
                      <a:pt x="294" y="154"/>
                      <a:pt x="294" y="154"/>
                    </a:cubicBezTo>
                    <a:cubicBezTo>
                      <a:pt x="304" y="155"/>
                      <a:pt x="315" y="155"/>
                      <a:pt x="327" y="155"/>
                    </a:cubicBezTo>
                    <a:cubicBezTo>
                      <a:pt x="445" y="155"/>
                      <a:pt x="578" y="120"/>
                      <a:pt x="624" y="78"/>
                    </a:cubicBezTo>
                    <a:cubicBezTo>
                      <a:pt x="669" y="35"/>
                      <a:pt x="610" y="0"/>
                      <a:pt x="492" y="0"/>
                    </a:cubicBezTo>
                    <a:close/>
                  </a:path>
                </a:pathLst>
              </a:custGeom>
              <a:solidFill>
                <a:schemeClr val="tx1">
                  <a:alpha val="50000"/>
                </a:schemeClr>
              </a:solidFill>
              <a:ln>
                <a:noFill/>
              </a:ln>
              <a:effectLst/>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tr-TR"/>
              </a:p>
            </p:txBody>
          </p:sp>
          <p:pic>
            <p:nvPicPr>
              <p:cNvPr id="9" name="Picture 655" descr="hellblau"/>
              <p:cNvPicPr>
                <a:picLocks noChangeAspect="1" noChangeArrowheads="1"/>
              </p:cNvPicPr>
              <p:nvPr/>
            </p:nvPicPr>
            <p:blipFill>
              <a:blip r:embed="rId4" cstate="print">
                <a:grayscl/>
                <a:extLst>
                  <a:ext uri="{28A0092B-C50C-407E-A947-70E740481C1C}">
                    <a14:useLocalDpi xmlns:a14="http://schemas.microsoft.com/office/drawing/2010/main" val="0"/>
                  </a:ext>
                </a:extLst>
              </a:blip>
              <a:srcRect b="16612"/>
              <a:stretch>
                <a:fillRect/>
              </a:stretch>
            </p:blipFill>
            <p:spPr bwMode="auto">
              <a:xfrm>
                <a:off x="4717" y="538"/>
                <a:ext cx="576" cy="768"/>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3" name="Grup 2"/>
          <p:cNvGrpSpPr/>
          <p:nvPr/>
        </p:nvGrpSpPr>
        <p:grpSpPr>
          <a:xfrm>
            <a:off x="3123601" y="1373848"/>
            <a:ext cx="1440160" cy="1141209"/>
            <a:chOff x="5004048" y="535640"/>
            <a:chExt cx="1440160" cy="1141209"/>
          </a:xfrm>
        </p:grpSpPr>
        <p:pic>
          <p:nvPicPr>
            <p:cNvPr id="1026" name="Picture 2"/>
            <p:cNvPicPr>
              <a:picLocks noChangeAspect="1" noChangeArrowheads="1"/>
            </p:cNvPicPr>
            <p:nvPr/>
          </p:nvPicPr>
          <p:blipFill>
            <a:blip r:embed="rId5" cstate="print">
              <a:extLst>
                <a:ext uri="{28A0092B-C50C-407E-A947-70E740481C1C}">
                  <a14:useLocalDpi xmlns:a14="http://schemas.microsoft.com/office/drawing/2010/main" val="0"/>
                </a:ext>
              </a:extLst>
            </a:blip>
            <a:stretch>
              <a:fillRect/>
            </a:stretch>
          </p:blipFill>
          <p:spPr bwMode="auto">
            <a:xfrm>
              <a:off x="5058245" y="858142"/>
              <a:ext cx="1331765" cy="81870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Metin kutusu 1"/>
            <p:cNvSpPr txBox="1"/>
            <p:nvPr/>
          </p:nvSpPr>
          <p:spPr>
            <a:xfrm>
              <a:off x="5004048" y="535640"/>
              <a:ext cx="1440160" cy="369332"/>
            </a:xfrm>
            <a:prstGeom prst="rect">
              <a:avLst/>
            </a:prstGeom>
            <a:noFill/>
          </p:spPr>
          <p:txBody>
            <a:bodyPr wrap="square" rtlCol="0">
              <a:spAutoFit/>
            </a:bodyPr>
            <a:lstStyle/>
            <a:p>
              <a:pPr algn="ctr"/>
              <a:r>
                <a:rPr lang="tr-TR" b="1" dirty="0" smtClean="0"/>
                <a:t>AB</a:t>
              </a:r>
              <a:endParaRPr lang="tr-TR" b="1" dirty="0"/>
            </a:p>
          </p:txBody>
        </p:sp>
      </p:grpSp>
      <p:sp>
        <p:nvSpPr>
          <p:cNvPr id="4" name="Metin kutusu 3"/>
          <p:cNvSpPr txBox="1"/>
          <p:nvPr/>
        </p:nvSpPr>
        <p:spPr>
          <a:xfrm>
            <a:off x="2483768" y="4437112"/>
            <a:ext cx="7172695" cy="1920526"/>
          </a:xfrm>
          <a:prstGeom prst="rect">
            <a:avLst/>
          </a:prstGeom>
          <a:noFill/>
        </p:spPr>
        <p:txBody>
          <a:bodyPr wrap="square" rtlCol="0">
            <a:spAutoFit/>
          </a:bodyPr>
          <a:lstStyle/>
          <a:p>
            <a:pPr marL="171450" indent="-171450" algn="just">
              <a:spcAft>
                <a:spcPct val="40000"/>
              </a:spcAft>
              <a:buFont typeface="Wingdings" pitchFamily="2" charset="2"/>
              <a:buChar char="§"/>
            </a:pPr>
            <a:r>
              <a:rPr lang="tr-TR" dirty="0"/>
              <a:t>G</a:t>
            </a:r>
            <a:r>
              <a:rPr lang="tr-TR" dirty="0" smtClean="0"/>
              <a:t>örece </a:t>
            </a:r>
            <a:r>
              <a:rPr lang="tr-TR" dirty="0"/>
              <a:t>eski </a:t>
            </a:r>
            <a:r>
              <a:rPr lang="tr-TR" dirty="0" smtClean="0"/>
              <a:t>teknoloji</a:t>
            </a:r>
          </a:p>
          <a:p>
            <a:pPr marL="171450" indent="-171450" algn="just">
              <a:spcAft>
                <a:spcPct val="40000"/>
              </a:spcAft>
              <a:buFont typeface="Wingdings" pitchFamily="2" charset="2"/>
              <a:buChar char="§"/>
            </a:pPr>
            <a:r>
              <a:rPr lang="tr-TR" dirty="0" smtClean="0"/>
              <a:t>Birlikte işlerlik sağlanamamıştır.</a:t>
            </a:r>
            <a:endParaRPr lang="tr-TR" dirty="0"/>
          </a:p>
          <a:p>
            <a:pPr marL="171450" indent="-171450" algn="just">
              <a:spcAft>
                <a:spcPct val="40000"/>
              </a:spcAft>
              <a:buFont typeface="Wingdings" pitchFamily="2" charset="2"/>
              <a:buChar char="§"/>
            </a:pPr>
            <a:r>
              <a:rPr lang="tr-TR" dirty="0" smtClean="0"/>
              <a:t>Elektronik </a:t>
            </a:r>
            <a:r>
              <a:rPr lang="tr-TR" dirty="0"/>
              <a:t>faturanın </a:t>
            </a:r>
            <a:r>
              <a:rPr lang="tr-TR" dirty="0" smtClean="0"/>
              <a:t> kontrolünde </a:t>
            </a:r>
            <a:r>
              <a:rPr lang="tr-TR" dirty="0"/>
              <a:t>birbiri ile uyumsuz </a:t>
            </a:r>
            <a:r>
              <a:rPr lang="tr-TR" dirty="0" smtClean="0"/>
              <a:t>ve</a:t>
            </a:r>
          </a:p>
          <a:p>
            <a:pPr algn="just">
              <a:spcAft>
                <a:spcPct val="40000"/>
              </a:spcAft>
            </a:pPr>
            <a:r>
              <a:rPr lang="tr-TR" dirty="0" smtClean="0"/>
              <a:t> </a:t>
            </a:r>
            <a:r>
              <a:rPr lang="tr-TR" dirty="0"/>
              <a:t>farklı </a:t>
            </a:r>
            <a:r>
              <a:rPr lang="tr-TR" dirty="0" smtClean="0"/>
              <a:t>yöntemler</a:t>
            </a:r>
          </a:p>
          <a:p>
            <a:pPr marL="171450" indent="-171450" algn="just">
              <a:spcAft>
                <a:spcPct val="40000"/>
              </a:spcAft>
              <a:buFont typeface="Wingdings" pitchFamily="2" charset="2"/>
              <a:buChar char="§"/>
            </a:pPr>
            <a:r>
              <a:rPr lang="tr-TR" dirty="0" smtClean="0"/>
              <a:t>Lider </a:t>
            </a:r>
            <a:r>
              <a:rPr lang="tr-TR" dirty="0"/>
              <a:t>ülkelerde </a:t>
            </a:r>
            <a:r>
              <a:rPr lang="tr-TR" dirty="0" smtClean="0"/>
              <a:t>kamuda  e-fatura kullanımı zorunlu</a:t>
            </a:r>
            <a:endParaRPr lang="de-DE" dirty="0"/>
          </a:p>
        </p:txBody>
      </p:sp>
      <p:grpSp>
        <p:nvGrpSpPr>
          <p:cNvPr id="14" name="Group 651"/>
          <p:cNvGrpSpPr>
            <a:grpSpLocks/>
          </p:cNvGrpSpPr>
          <p:nvPr/>
        </p:nvGrpSpPr>
        <p:grpSpPr bwMode="auto">
          <a:xfrm>
            <a:off x="6309957" y="1403924"/>
            <a:ext cx="365125" cy="415925"/>
            <a:chOff x="1504" y="2228"/>
            <a:chExt cx="230" cy="262"/>
          </a:xfrm>
        </p:grpSpPr>
        <p:sp>
          <p:nvSpPr>
            <p:cNvPr id="15" name="Oval 652"/>
            <p:cNvSpPr>
              <a:spLocks noChangeArrowheads="1"/>
            </p:cNvSpPr>
            <p:nvPr/>
          </p:nvSpPr>
          <p:spPr bwMode="auto">
            <a:xfrm>
              <a:off x="1507" y="2406"/>
              <a:ext cx="84" cy="84"/>
            </a:xfrm>
            <a:prstGeom prst="ellipse">
              <a:avLst/>
            </a:prstGeom>
            <a:solidFill>
              <a:srgbClr val="006600"/>
            </a:solidFill>
            <a:ln w="9525">
              <a:solidFill>
                <a:srgbClr val="80808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tr-TR"/>
            </a:p>
          </p:txBody>
        </p:sp>
        <p:grpSp>
          <p:nvGrpSpPr>
            <p:cNvPr id="16" name="Group 653"/>
            <p:cNvGrpSpPr>
              <a:grpSpLocks/>
            </p:cNvGrpSpPr>
            <p:nvPr/>
          </p:nvGrpSpPr>
          <p:grpSpPr bwMode="auto">
            <a:xfrm>
              <a:off x="1504" y="2228"/>
              <a:ext cx="230" cy="223"/>
              <a:chOff x="4717" y="538"/>
              <a:chExt cx="806" cy="775"/>
            </a:xfrm>
          </p:grpSpPr>
          <p:sp>
            <p:nvSpPr>
              <p:cNvPr id="17" name="Freeform 654"/>
              <p:cNvSpPr>
                <a:spLocks/>
              </p:cNvSpPr>
              <p:nvPr/>
            </p:nvSpPr>
            <p:spPr bwMode="auto">
              <a:xfrm>
                <a:off x="4854" y="1023"/>
                <a:ext cx="669" cy="290"/>
              </a:xfrm>
              <a:custGeom>
                <a:avLst/>
                <a:gdLst>
                  <a:gd name="T0" fmla="*/ 492 w 669"/>
                  <a:gd name="T1" fmla="*/ 0 h 290"/>
                  <a:gd name="T2" fmla="*/ 195 w 669"/>
                  <a:gd name="T3" fmla="*/ 78 h 290"/>
                  <a:gd name="T4" fmla="*/ 245 w 669"/>
                  <a:gd name="T5" fmla="*/ 148 h 290"/>
                  <a:gd name="T6" fmla="*/ 5 w 669"/>
                  <a:gd name="T7" fmla="*/ 261 h 290"/>
                  <a:gd name="T8" fmla="*/ 48 w 669"/>
                  <a:gd name="T9" fmla="*/ 272 h 290"/>
                  <a:gd name="T10" fmla="*/ 294 w 669"/>
                  <a:gd name="T11" fmla="*/ 154 h 290"/>
                  <a:gd name="T12" fmla="*/ 327 w 669"/>
                  <a:gd name="T13" fmla="*/ 155 h 290"/>
                  <a:gd name="T14" fmla="*/ 624 w 669"/>
                  <a:gd name="T15" fmla="*/ 78 h 290"/>
                  <a:gd name="T16" fmla="*/ 492 w 669"/>
                  <a:gd name="T17"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9" h="290">
                    <a:moveTo>
                      <a:pt x="492" y="0"/>
                    </a:moveTo>
                    <a:cubicBezTo>
                      <a:pt x="373" y="0"/>
                      <a:pt x="240" y="35"/>
                      <a:pt x="195" y="78"/>
                    </a:cubicBezTo>
                    <a:cubicBezTo>
                      <a:pt x="162" y="109"/>
                      <a:pt x="184" y="136"/>
                      <a:pt x="245" y="148"/>
                    </a:cubicBezTo>
                    <a:cubicBezTo>
                      <a:pt x="5" y="261"/>
                      <a:pt x="5" y="261"/>
                      <a:pt x="5" y="261"/>
                    </a:cubicBezTo>
                    <a:cubicBezTo>
                      <a:pt x="9" y="284"/>
                      <a:pt x="0" y="290"/>
                      <a:pt x="48" y="272"/>
                    </a:cubicBezTo>
                    <a:cubicBezTo>
                      <a:pt x="294" y="154"/>
                      <a:pt x="294" y="154"/>
                      <a:pt x="294" y="154"/>
                    </a:cubicBezTo>
                    <a:cubicBezTo>
                      <a:pt x="304" y="155"/>
                      <a:pt x="315" y="155"/>
                      <a:pt x="327" y="155"/>
                    </a:cubicBezTo>
                    <a:cubicBezTo>
                      <a:pt x="445" y="155"/>
                      <a:pt x="578" y="120"/>
                      <a:pt x="624" y="78"/>
                    </a:cubicBezTo>
                    <a:cubicBezTo>
                      <a:pt x="669" y="35"/>
                      <a:pt x="610" y="0"/>
                      <a:pt x="492" y="0"/>
                    </a:cubicBezTo>
                    <a:close/>
                  </a:path>
                </a:pathLst>
              </a:custGeom>
              <a:solidFill>
                <a:schemeClr val="tx1">
                  <a:alpha val="50000"/>
                </a:schemeClr>
              </a:solidFill>
              <a:ln>
                <a:noFill/>
              </a:ln>
              <a:effectLst/>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tr-TR"/>
              </a:p>
            </p:txBody>
          </p:sp>
          <p:pic>
            <p:nvPicPr>
              <p:cNvPr id="18" name="Picture 655" descr="hellblau"/>
              <p:cNvPicPr>
                <a:picLocks noChangeAspect="1" noChangeArrowheads="1"/>
              </p:cNvPicPr>
              <p:nvPr/>
            </p:nvPicPr>
            <p:blipFill>
              <a:blip r:embed="rId4" cstate="print">
                <a:grayscl/>
                <a:extLst>
                  <a:ext uri="{28A0092B-C50C-407E-A947-70E740481C1C}">
                    <a14:useLocalDpi xmlns:a14="http://schemas.microsoft.com/office/drawing/2010/main" val="0"/>
                  </a:ext>
                </a:extLst>
              </a:blip>
              <a:srcRect b="16612"/>
              <a:stretch>
                <a:fillRect/>
              </a:stretch>
            </p:blipFill>
            <p:spPr bwMode="auto">
              <a:xfrm>
                <a:off x="4717" y="538"/>
                <a:ext cx="576" cy="768"/>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27" name="Grup 26"/>
          <p:cNvGrpSpPr/>
          <p:nvPr/>
        </p:nvGrpSpPr>
        <p:grpSpPr>
          <a:xfrm>
            <a:off x="7129581" y="1001380"/>
            <a:ext cx="1440160" cy="1230974"/>
            <a:chOff x="7530132" y="2573776"/>
            <a:chExt cx="1440160" cy="1230974"/>
          </a:xfrm>
        </p:grpSpPr>
        <p:sp>
          <p:nvSpPr>
            <p:cNvPr id="28" name="Metin kutusu 27"/>
            <p:cNvSpPr txBox="1"/>
            <p:nvPr/>
          </p:nvSpPr>
          <p:spPr>
            <a:xfrm>
              <a:off x="7530132" y="2573776"/>
              <a:ext cx="1440160" cy="369332"/>
            </a:xfrm>
            <a:prstGeom prst="rect">
              <a:avLst/>
            </a:prstGeom>
            <a:noFill/>
          </p:spPr>
          <p:txBody>
            <a:bodyPr wrap="square" rtlCol="0">
              <a:spAutoFit/>
            </a:bodyPr>
            <a:lstStyle/>
            <a:p>
              <a:pPr algn="ctr"/>
              <a:r>
                <a:rPr lang="tr-TR" b="1" dirty="0" smtClean="0"/>
                <a:t>ASYA</a:t>
              </a:r>
              <a:endParaRPr lang="tr-TR" b="1" dirty="0"/>
            </a:p>
          </p:txBody>
        </p:sp>
        <p:pic>
          <p:nvPicPr>
            <p:cNvPr id="29" name="Picture 4"/>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7602154" y="2946244"/>
              <a:ext cx="1368138" cy="85850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3" name="Metin kutusu 12"/>
          <p:cNvSpPr txBox="1"/>
          <p:nvPr/>
        </p:nvSpPr>
        <p:spPr>
          <a:xfrm>
            <a:off x="1907704" y="4520212"/>
            <a:ext cx="7023487" cy="1754326"/>
          </a:xfrm>
          <a:prstGeom prst="rect">
            <a:avLst/>
          </a:prstGeom>
          <a:noFill/>
        </p:spPr>
        <p:txBody>
          <a:bodyPr wrap="square" rtlCol="0">
            <a:spAutoFit/>
          </a:bodyPr>
          <a:lstStyle/>
          <a:p>
            <a:pPr marL="285750" indent="-285750" algn="just">
              <a:buFont typeface="Wingdings" pitchFamily="2" charset="2"/>
              <a:buChar char="§"/>
            </a:pPr>
            <a:r>
              <a:rPr lang="tr-TR" dirty="0"/>
              <a:t>Çoğu </a:t>
            </a:r>
            <a:r>
              <a:rPr lang="tr-TR" dirty="0" smtClean="0"/>
              <a:t>Asya ülkesi-Fatura </a:t>
            </a:r>
            <a:r>
              <a:rPr lang="tr-TR" dirty="0"/>
              <a:t>değişimi konusunda yasal </a:t>
            </a:r>
            <a:r>
              <a:rPr lang="tr-TR" dirty="0" smtClean="0"/>
              <a:t>hazırlık aşamasında</a:t>
            </a:r>
          </a:p>
          <a:p>
            <a:pPr algn="just"/>
            <a:endParaRPr lang="tr-TR" dirty="0"/>
          </a:p>
          <a:p>
            <a:pPr marL="285750" indent="-285750" algn="just">
              <a:buFont typeface="Wingdings" pitchFamily="2" charset="2"/>
              <a:buChar char="§"/>
            </a:pPr>
            <a:r>
              <a:rPr lang="tr-TR" dirty="0" smtClean="0"/>
              <a:t>İnternet bankacılığı üzerinden  fatura ödeme ve görüntüleme sistemleri</a:t>
            </a:r>
            <a:endParaRPr lang="tr-TR" dirty="0"/>
          </a:p>
          <a:p>
            <a:pPr marL="285750" indent="-285750" algn="just">
              <a:buFont typeface="Wingdings" pitchFamily="2" charset="2"/>
              <a:buChar char="§"/>
            </a:pPr>
            <a:endParaRPr lang="tr-TR" dirty="0"/>
          </a:p>
          <a:p>
            <a:pPr marL="285750" indent="-285750" algn="just">
              <a:buFont typeface="Wingdings" pitchFamily="2" charset="2"/>
              <a:buChar char="§"/>
            </a:pPr>
            <a:r>
              <a:rPr lang="tr-TR" dirty="0"/>
              <a:t>Bazı büyük kurumlar </a:t>
            </a:r>
            <a:r>
              <a:rPr lang="tr-TR" dirty="0" smtClean="0"/>
              <a:t>kağıt </a:t>
            </a:r>
            <a:r>
              <a:rPr lang="tr-TR" dirty="0"/>
              <a:t>faturaya paralel </a:t>
            </a:r>
            <a:r>
              <a:rPr lang="tr-TR" dirty="0" smtClean="0"/>
              <a:t>elektronik </a:t>
            </a:r>
            <a:r>
              <a:rPr lang="tr-TR" dirty="0"/>
              <a:t>fatura </a:t>
            </a:r>
            <a:r>
              <a:rPr lang="tr-TR" dirty="0" smtClean="0"/>
              <a:t>değişimi</a:t>
            </a:r>
            <a:endParaRPr lang="tr-TR" dirty="0"/>
          </a:p>
        </p:txBody>
      </p:sp>
      <p:grpSp>
        <p:nvGrpSpPr>
          <p:cNvPr id="34" name="Group 651"/>
          <p:cNvGrpSpPr>
            <a:grpSpLocks/>
          </p:cNvGrpSpPr>
          <p:nvPr/>
        </p:nvGrpSpPr>
        <p:grpSpPr bwMode="auto">
          <a:xfrm>
            <a:off x="3150389" y="3122357"/>
            <a:ext cx="365125" cy="415925"/>
            <a:chOff x="1504" y="2228"/>
            <a:chExt cx="230" cy="262"/>
          </a:xfrm>
        </p:grpSpPr>
        <p:sp>
          <p:nvSpPr>
            <p:cNvPr id="35" name="Oval 652"/>
            <p:cNvSpPr>
              <a:spLocks noChangeArrowheads="1"/>
            </p:cNvSpPr>
            <p:nvPr/>
          </p:nvSpPr>
          <p:spPr bwMode="auto">
            <a:xfrm>
              <a:off x="1507" y="2406"/>
              <a:ext cx="84" cy="84"/>
            </a:xfrm>
            <a:prstGeom prst="ellipse">
              <a:avLst/>
            </a:prstGeom>
            <a:solidFill>
              <a:srgbClr val="006600"/>
            </a:solidFill>
            <a:ln w="9525">
              <a:solidFill>
                <a:srgbClr val="80808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tr-TR"/>
            </a:p>
          </p:txBody>
        </p:sp>
        <p:grpSp>
          <p:nvGrpSpPr>
            <p:cNvPr id="36" name="Group 653"/>
            <p:cNvGrpSpPr>
              <a:grpSpLocks/>
            </p:cNvGrpSpPr>
            <p:nvPr/>
          </p:nvGrpSpPr>
          <p:grpSpPr bwMode="auto">
            <a:xfrm>
              <a:off x="1504" y="2228"/>
              <a:ext cx="230" cy="223"/>
              <a:chOff x="4717" y="538"/>
              <a:chExt cx="806" cy="775"/>
            </a:xfrm>
          </p:grpSpPr>
          <p:sp>
            <p:nvSpPr>
              <p:cNvPr id="37" name="Freeform 654"/>
              <p:cNvSpPr>
                <a:spLocks/>
              </p:cNvSpPr>
              <p:nvPr/>
            </p:nvSpPr>
            <p:spPr bwMode="auto">
              <a:xfrm>
                <a:off x="4854" y="1023"/>
                <a:ext cx="669" cy="290"/>
              </a:xfrm>
              <a:custGeom>
                <a:avLst/>
                <a:gdLst>
                  <a:gd name="T0" fmla="*/ 492 w 669"/>
                  <a:gd name="T1" fmla="*/ 0 h 290"/>
                  <a:gd name="T2" fmla="*/ 195 w 669"/>
                  <a:gd name="T3" fmla="*/ 78 h 290"/>
                  <a:gd name="T4" fmla="*/ 245 w 669"/>
                  <a:gd name="T5" fmla="*/ 148 h 290"/>
                  <a:gd name="T6" fmla="*/ 5 w 669"/>
                  <a:gd name="T7" fmla="*/ 261 h 290"/>
                  <a:gd name="T8" fmla="*/ 48 w 669"/>
                  <a:gd name="T9" fmla="*/ 272 h 290"/>
                  <a:gd name="T10" fmla="*/ 294 w 669"/>
                  <a:gd name="T11" fmla="*/ 154 h 290"/>
                  <a:gd name="T12" fmla="*/ 327 w 669"/>
                  <a:gd name="T13" fmla="*/ 155 h 290"/>
                  <a:gd name="T14" fmla="*/ 624 w 669"/>
                  <a:gd name="T15" fmla="*/ 78 h 290"/>
                  <a:gd name="T16" fmla="*/ 492 w 669"/>
                  <a:gd name="T17"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9" h="290">
                    <a:moveTo>
                      <a:pt x="492" y="0"/>
                    </a:moveTo>
                    <a:cubicBezTo>
                      <a:pt x="373" y="0"/>
                      <a:pt x="240" y="35"/>
                      <a:pt x="195" y="78"/>
                    </a:cubicBezTo>
                    <a:cubicBezTo>
                      <a:pt x="162" y="109"/>
                      <a:pt x="184" y="136"/>
                      <a:pt x="245" y="148"/>
                    </a:cubicBezTo>
                    <a:cubicBezTo>
                      <a:pt x="5" y="261"/>
                      <a:pt x="5" y="261"/>
                      <a:pt x="5" y="261"/>
                    </a:cubicBezTo>
                    <a:cubicBezTo>
                      <a:pt x="9" y="284"/>
                      <a:pt x="0" y="290"/>
                      <a:pt x="48" y="272"/>
                    </a:cubicBezTo>
                    <a:cubicBezTo>
                      <a:pt x="294" y="154"/>
                      <a:pt x="294" y="154"/>
                      <a:pt x="294" y="154"/>
                    </a:cubicBezTo>
                    <a:cubicBezTo>
                      <a:pt x="304" y="155"/>
                      <a:pt x="315" y="155"/>
                      <a:pt x="327" y="155"/>
                    </a:cubicBezTo>
                    <a:cubicBezTo>
                      <a:pt x="445" y="155"/>
                      <a:pt x="578" y="120"/>
                      <a:pt x="624" y="78"/>
                    </a:cubicBezTo>
                    <a:cubicBezTo>
                      <a:pt x="669" y="35"/>
                      <a:pt x="610" y="0"/>
                      <a:pt x="492" y="0"/>
                    </a:cubicBezTo>
                    <a:close/>
                  </a:path>
                </a:pathLst>
              </a:custGeom>
              <a:solidFill>
                <a:schemeClr val="tx1">
                  <a:alpha val="50000"/>
                </a:schemeClr>
              </a:solidFill>
              <a:ln>
                <a:noFill/>
              </a:ln>
              <a:effectLst/>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tr-TR"/>
              </a:p>
            </p:txBody>
          </p:sp>
          <p:pic>
            <p:nvPicPr>
              <p:cNvPr id="38" name="Picture 655" descr="hellblau"/>
              <p:cNvPicPr>
                <a:picLocks noChangeAspect="1" noChangeArrowheads="1"/>
              </p:cNvPicPr>
              <p:nvPr/>
            </p:nvPicPr>
            <p:blipFill>
              <a:blip r:embed="rId4" cstate="print">
                <a:grayscl/>
                <a:extLst>
                  <a:ext uri="{28A0092B-C50C-407E-A947-70E740481C1C}">
                    <a14:useLocalDpi xmlns:a14="http://schemas.microsoft.com/office/drawing/2010/main" val="0"/>
                  </a:ext>
                </a:extLst>
              </a:blip>
              <a:srcRect b="16612"/>
              <a:stretch>
                <a:fillRect/>
              </a:stretch>
            </p:blipFill>
            <p:spPr bwMode="auto">
              <a:xfrm>
                <a:off x="4717" y="538"/>
                <a:ext cx="576" cy="768"/>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22" name="Grup 21"/>
          <p:cNvGrpSpPr/>
          <p:nvPr/>
        </p:nvGrpSpPr>
        <p:grpSpPr>
          <a:xfrm>
            <a:off x="1259632" y="3094221"/>
            <a:ext cx="1584176" cy="1287352"/>
            <a:chOff x="5124237" y="125425"/>
            <a:chExt cx="1584176" cy="1287352"/>
          </a:xfrm>
        </p:grpSpPr>
        <p:pic>
          <p:nvPicPr>
            <p:cNvPr id="1031" name="Picture 7"/>
            <p:cNvPicPr>
              <a:picLocks noChangeAspect="1" noChangeArrowheads="1"/>
            </p:cNvPicPr>
            <p:nvPr/>
          </p:nvPicPr>
          <p:blipFill>
            <a:blip r:embed="rId7" cstate="print">
              <a:extLst>
                <a:ext uri="{28A0092B-C50C-407E-A947-70E740481C1C}">
                  <a14:useLocalDpi xmlns:a14="http://schemas.microsoft.com/office/drawing/2010/main" val="0"/>
                </a:ext>
              </a:extLst>
            </a:blip>
            <a:stretch>
              <a:fillRect/>
            </a:stretch>
          </p:blipFill>
          <p:spPr bwMode="auto">
            <a:xfrm>
              <a:off x="5239288" y="532213"/>
              <a:ext cx="1354074" cy="88056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5" name="Metin kutusu 44"/>
            <p:cNvSpPr txBox="1"/>
            <p:nvPr/>
          </p:nvSpPr>
          <p:spPr>
            <a:xfrm>
              <a:off x="5124237" y="125425"/>
              <a:ext cx="1584176" cy="338554"/>
            </a:xfrm>
            <a:prstGeom prst="rect">
              <a:avLst/>
            </a:prstGeom>
            <a:noFill/>
          </p:spPr>
          <p:txBody>
            <a:bodyPr wrap="square" rtlCol="0">
              <a:spAutoFit/>
            </a:bodyPr>
            <a:lstStyle/>
            <a:p>
              <a:pPr algn="ctr"/>
              <a:r>
                <a:rPr lang="tr-TR" sz="1600" b="1" dirty="0" smtClean="0"/>
                <a:t>LATİN AMERİKA</a:t>
              </a:r>
              <a:endParaRPr lang="tr-TR" sz="1600" b="1" dirty="0"/>
            </a:p>
          </p:txBody>
        </p:sp>
      </p:grpSp>
      <p:sp>
        <p:nvSpPr>
          <p:cNvPr id="24" name="Metin kutusu 23"/>
          <p:cNvSpPr txBox="1"/>
          <p:nvPr/>
        </p:nvSpPr>
        <p:spPr>
          <a:xfrm>
            <a:off x="2267744" y="4123197"/>
            <a:ext cx="6008634" cy="2599173"/>
          </a:xfrm>
          <a:prstGeom prst="rect">
            <a:avLst/>
          </a:prstGeom>
          <a:noFill/>
        </p:spPr>
        <p:txBody>
          <a:bodyPr wrap="square" rtlCol="0">
            <a:spAutoFit/>
          </a:bodyPr>
          <a:lstStyle/>
          <a:p>
            <a:pPr marL="171450" indent="-171450" algn="just">
              <a:lnSpc>
                <a:spcPct val="95000"/>
              </a:lnSpc>
              <a:spcAft>
                <a:spcPct val="40000"/>
              </a:spcAft>
              <a:buFont typeface="Wingdings" pitchFamily="2" charset="2"/>
              <a:buChar char="§"/>
            </a:pPr>
            <a:endParaRPr lang="tr-TR" noProof="1"/>
          </a:p>
          <a:p>
            <a:pPr marL="190500" indent="-190500" algn="just">
              <a:lnSpc>
                <a:spcPct val="95000"/>
              </a:lnSpc>
              <a:spcAft>
                <a:spcPct val="40000"/>
              </a:spcAft>
              <a:buFont typeface="Wingdings" pitchFamily="2" charset="2"/>
              <a:buChar char="§"/>
            </a:pPr>
            <a:r>
              <a:rPr lang="tr-TR" dirty="0"/>
              <a:t>E-fatura kullanımı </a:t>
            </a:r>
            <a:r>
              <a:rPr lang="tr-TR" dirty="0" smtClean="0"/>
              <a:t>zorunluluğu</a:t>
            </a:r>
          </a:p>
          <a:p>
            <a:pPr marL="190500" indent="-190500" algn="just">
              <a:lnSpc>
                <a:spcPct val="95000"/>
              </a:lnSpc>
              <a:spcAft>
                <a:spcPct val="40000"/>
              </a:spcAft>
              <a:buFont typeface="Wingdings" pitchFamily="2" charset="2"/>
              <a:buChar char="§"/>
            </a:pPr>
            <a:r>
              <a:rPr lang="tr-TR" dirty="0" smtClean="0"/>
              <a:t>E-fatura </a:t>
            </a:r>
            <a:r>
              <a:rPr lang="tr-TR" dirty="0"/>
              <a:t>kullanımına katı zorunluluklar </a:t>
            </a:r>
          </a:p>
          <a:p>
            <a:pPr marL="190500" indent="-190500" algn="just">
              <a:lnSpc>
                <a:spcPct val="95000"/>
              </a:lnSpc>
              <a:spcAft>
                <a:spcPct val="40000"/>
              </a:spcAft>
              <a:buFont typeface="Wingdings" pitchFamily="2" charset="2"/>
              <a:buChar char="§"/>
            </a:pPr>
            <a:r>
              <a:rPr lang="tr-TR" dirty="0"/>
              <a:t>Vergi otoriteleri tarafından gerçek zamanlı kontrol </a:t>
            </a:r>
            <a:r>
              <a:rPr lang="tr-TR" dirty="0" smtClean="0"/>
              <a:t>süreçleri</a:t>
            </a:r>
            <a:endParaRPr lang="tr-TR" dirty="0"/>
          </a:p>
          <a:p>
            <a:pPr marL="190500" indent="-190500" algn="just">
              <a:lnSpc>
                <a:spcPct val="95000"/>
              </a:lnSpc>
              <a:spcAft>
                <a:spcPct val="40000"/>
              </a:spcAft>
              <a:buFont typeface="Wingdings" pitchFamily="2" charset="2"/>
              <a:buChar char="§"/>
            </a:pPr>
            <a:r>
              <a:rPr lang="tr-TR" dirty="0" smtClean="0"/>
              <a:t>Yaygın </a:t>
            </a:r>
            <a:r>
              <a:rPr lang="tr-TR" dirty="0"/>
              <a:t>s</a:t>
            </a:r>
            <a:r>
              <a:rPr lang="tr-TR" dirty="0" smtClean="0"/>
              <a:t>ervis </a:t>
            </a:r>
            <a:r>
              <a:rPr lang="tr-TR" dirty="0" err="1" smtClean="0"/>
              <a:t>sağlayıcıağı</a:t>
            </a:r>
            <a:r>
              <a:rPr lang="tr-TR" dirty="0" smtClean="0"/>
              <a:t> </a:t>
            </a:r>
          </a:p>
          <a:p>
            <a:pPr marL="190500" indent="-190500" algn="just">
              <a:lnSpc>
                <a:spcPct val="95000"/>
              </a:lnSpc>
              <a:spcAft>
                <a:spcPct val="40000"/>
              </a:spcAft>
              <a:buFont typeface="Wingdings" pitchFamily="2" charset="2"/>
              <a:buChar char="§"/>
            </a:pPr>
            <a:endParaRPr lang="tr-TR" dirty="0"/>
          </a:p>
          <a:p>
            <a:pPr marL="285750" indent="-285750" algn="just">
              <a:lnSpc>
                <a:spcPct val="95000"/>
              </a:lnSpc>
              <a:spcAft>
                <a:spcPct val="40000"/>
              </a:spcAft>
              <a:buFont typeface="Wingdings" pitchFamily="2" charset="2"/>
              <a:buChar char="§"/>
            </a:pPr>
            <a:endParaRPr lang="de-DE" dirty="0"/>
          </a:p>
        </p:txBody>
      </p:sp>
      <p:sp>
        <p:nvSpPr>
          <p:cNvPr id="32" name="8 Metin kutusu"/>
          <p:cNvSpPr txBox="1"/>
          <p:nvPr/>
        </p:nvSpPr>
        <p:spPr>
          <a:xfrm>
            <a:off x="7129581" y="4306307"/>
            <a:ext cx="1979749" cy="261610"/>
          </a:xfrm>
          <a:prstGeom prst="rect">
            <a:avLst/>
          </a:prstGeom>
          <a:noFill/>
        </p:spPr>
        <p:txBody>
          <a:bodyPr wrap="square" rtlCol="0">
            <a:spAutoFit/>
          </a:bodyPr>
          <a:lstStyle/>
          <a:p>
            <a:r>
              <a:rPr lang="tr-TR" sz="1100" b="1" i="1" dirty="0" smtClean="0"/>
              <a:t>Kaynak: </a:t>
            </a:r>
            <a:r>
              <a:rPr lang="tr-TR" sz="1100" b="1" i="1" dirty="0" err="1" smtClean="0"/>
              <a:t>B.Koch</a:t>
            </a:r>
            <a:r>
              <a:rPr lang="tr-TR" sz="1100" b="1" i="1" dirty="0" smtClean="0"/>
              <a:t> ,</a:t>
            </a:r>
            <a:r>
              <a:rPr lang="tr-TR" sz="1100" b="1" i="1" dirty="0" err="1" smtClean="0"/>
              <a:t>Billentis</a:t>
            </a:r>
            <a:r>
              <a:rPr lang="tr-TR" sz="1100" b="1" i="1" dirty="0" smtClean="0"/>
              <a:t> 2013</a:t>
            </a:r>
            <a:endParaRPr lang="tr-TR" sz="1100" b="1" i="1" dirty="0"/>
          </a:p>
        </p:txBody>
      </p:sp>
    </p:spTree>
    <p:extLst>
      <p:ext uri="{BB962C8B-B14F-4D97-AF65-F5344CB8AC3E}">
        <p14:creationId xmlns:p14="http://schemas.microsoft.com/office/powerpoint/2010/main" val="5211629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1000"/>
                                        <p:tgtEl>
                                          <p:spTgt spid="12"/>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34"/>
                                        </p:tgtEl>
                                        <p:attrNameLst>
                                          <p:attrName>style.visibility</p:attrName>
                                        </p:attrNameLst>
                                      </p:cBhvr>
                                      <p:to>
                                        <p:strVal val="visible"/>
                                      </p:to>
                                    </p:set>
                                    <p:animEffect transition="in" filter="fade">
                                      <p:cBhvr>
                                        <p:cTn id="11" dur="500"/>
                                        <p:tgtEl>
                                          <p:spTgt spid="34"/>
                                        </p:tgtEl>
                                      </p:cBhvr>
                                    </p:animEffect>
                                  </p:childTnLst>
                                </p:cTn>
                              </p:par>
                            </p:childTnLst>
                          </p:cTn>
                        </p:par>
                        <p:par>
                          <p:cTn id="12" fill="hold">
                            <p:stCondLst>
                              <p:cond delay="1500"/>
                            </p:stCondLst>
                            <p:childTnLst>
                              <p:par>
                                <p:cTn id="13" presetID="10" presetClass="entr" presetSubtype="0" fill="hold"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par>
                          <p:cTn id="16" fill="hold">
                            <p:stCondLst>
                              <p:cond delay="2000"/>
                            </p:stCondLst>
                            <p:childTnLst>
                              <p:par>
                                <p:cTn id="17" presetID="10" presetClass="entr" presetSubtype="0" fill="hold" nodeType="afterEffect">
                                  <p:stCondLst>
                                    <p:cond delay="0"/>
                                  </p:stCondLst>
                                  <p:childTnLst>
                                    <p:set>
                                      <p:cBhvr>
                                        <p:cTn id="18" dur="1" fill="hold">
                                          <p:stCondLst>
                                            <p:cond delay="0"/>
                                          </p:stCondLst>
                                        </p:cTn>
                                        <p:tgtEl>
                                          <p:spTgt spid="14"/>
                                        </p:tgtEl>
                                        <p:attrNameLst>
                                          <p:attrName>style.visibility</p:attrName>
                                        </p:attrNameLst>
                                      </p:cBhvr>
                                      <p:to>
                                        <p:strVal val="visible"/>
                                      </p:to>
                                    </p:set>
                                    <p:animEffect transition="in" filter="fade">
                                      <p:cBhvr>
                                        <p:cTn id="19" dur="500"/>
                                        <p:tgtEl>
                                          <p:spTgt spid="14"/>
                                        </p:tgtEl>
                                      </p:cBhvr>
                                    </p:animEffect>
                                  </p:childTnLst>
                                </p:cTn>
                              </p:par>
                            </p:childTnLst>
                          </p:cTn>
                        </p:par>
                        <p:par>
                          <p:cTn id="20" fill="hold">
                            <p:stCondLst>
                              <p:cond delay="2500"/>
                            </p:stCondLst>
                            <p:childTnLst>
                              <p:par>
                                <p:cTn id="21" presetID="10" presetClass="entr" presetSubtype="0" fill="hold" nodeType="after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1000"/>
                                        <p:tgtEl>
                                          <p:spTgt spid="3"/>
                                        </p:tgtEl>
                                      </p:cBhvr>
                                    </p:animEffect>
                                  </p:childTnLst>
                                </p:cTn>
                              </p:par>
                            </p:childTnLst>
                          </p:cTn>
                        </p:par>
                        <p:par>
                          <p:cTn id="24" fill="hold">
                            <p:stCondLst>
                              <p:cond delay="3500"/>
                            </p:stCondLst>
                            <p:childTnLst>
                              <p:par>
                                <p:cTn id="25" presetID="50" presetClass="path" presetSubtype="0" accel="50000" decel="50000" fill="hold" nodeType="afterEffect">
                                  <p:stCondLst>
                                    <p:cond delay="0"/>
                                  </p:stCondLst>
                                  <p:childTnLst>
                                    <p:animMotion origin="layout" path="M -2.5E-6 3.28938E-6 L -0.16128 3.28938E-6 C -0.2342 3.28938E-6 -0.32187 0.13277 -0.32187 0.24103 L -0.32187 0.48346 " pathEditMode="relative" rAng="0" ptsTypes="FfFF">
                                      <p:cBhvr>
                                        <p:cTn id="26" dur="1000" fill="hold"/>
                                        <p:tgtEl>
                                          <p:spTgt spid="3"/>
                                        </p:tgtEl>
                                        <p:attrNameLst>
                                          <p:attrName>ppt_x</p:attrName>
                                          <p:attrName>ppt_y</p:attrName>
                                        </p:attrNameLst>
                                      </p:cBhvr>
                                      <p:rCtr x="-16094" y="24173"/>
                                    </p:animMotion>
                                  </p:childTnLst>
                                </p:cTn>
                              </p:par>
                            </p:childTnLst>
                          </p:cTn>
                        </p:par>
                        <p:par>
                          <p:cTn id="27" fill="hold">
                            <p:stCondLst>
                              <p:cond delay="4500"/>
                            </p:stCondLst>
                            <p:childTnLst>
                              <p:par>
                                <p:cTn id="28" presetID="10" presetClass="entr" presetSubtype="0" fill="hold" grpId="0" nodeType="afterEffect">
                                  <p:stCondLst>
                                    <p:cond delay="0"/>
                                  </p:stCondLst>
                                  <p:childTnLst>
                                    <p:set>
                                      <p:cBhvr>
                                        <p:cTn id="29" dur="1" fill="hold">
                                          <p:stCondLst>
                                            <p:cond delay="0"/>
                                          </p:stCondLst>
                                        </p:cTn>
                                        <p:tgtEl>
                                          <p:spTgt spid="4"/>
                                        </p:tgtEl>
                                        <p:attrNameLst>
                                          <p:attrName>style.visibility</p:attrName>
                                        </p:attrNameLst>
                                      </p:cBhvr>
                                      <p:to>
                                        <p:strVal val="visible"/>
                                      </p:to>
                                    </p:set>
                                    <p:animEffect transition="in" filter="fade">
                                      <p:cBhvr>
                                        <p:cTn id="30" dur="3000"/>
                                        <p:tgtEl>
                                          <p:spTgt spid="4"/>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xit" presetSubtype="0" fill="hold" nodeType="clickEffect">
                                  <p:stCondLst>
                                    <p:cond delay="200"/>
                                  </p:stCondLst>
                                  <p:childTnLst>
                                    <p:animEffect transition="out" filter="fade">
                                      <p:cBhvr>
                                        <p:cTn id="34" dur="1000"/>
                                        <p:tgtEl>
                                          <p:spTgt spid="3"/>
                                        </p:tgtEl>
                                      </p:cBhvr>
                                    </p:animEffect>
                                    <p:set>
                                      <p:cBhvr>
                                        <p:cTn id="35" dur="1" fill="hold">
                                          <p:stCondLst>
                                            <p:cond delay="999"/>
                                          </p:stCondLst>
                                        </p:cTn>
                                        <p:tgtEl>
                                          <p:spTgt spid="3"/>
                                        </p:tgtEl>
                                        <p:attrNameLst>
                                          <p:attrName>style.visibility</p:attrName>
                                        </p:attrNameLst>
                                      </p:cBhvr>
                                      <p:to>
                                        <p:strVal val="hidden"/>
                                      </p:to>
                                    </p:set>
                                  </p:childTnLst>
                                </p:cTn>
                              </p:par>
                              <p:par>
                                <p:cTn id="36" presetID="10" presetClass="exit" presetSubtype="0" fill="hold" grpId="1" nodeType="withEffect">
                                  <p:stCondLst>
                                    <p:cond delay="200"/>
                                  </p:stCondLst>
                                  <p:childTnLst>
                                    <p:animEffect transition="out" filter="fade">
                                      <p:cBhvr>
                                        <p:cTn id="37" dur="1000"/>
                                        <p:tgtEl>
                                          <p:spTgt spid="4"/>
                                        </p:tgtEl>
                                      </p:cBhvr>
                                    </p:animEffect>
                                    <p:set>
                                      <p:cBhvr>
                                        <p:cTn id="38" dur="1" fill="hold">
                                          <p:stCondLst>
                                            <p:cond delay="999"/>
                                          </p:stCondLst>
                                        </p:cTn>
                                        <p:tgtEl>
                                          <p:spTgt spid="4"/>
                                        </p:tgtEl>
                                        <p:attrNameLst>
                                          <p:attrName>style.visibility</p:attrName>
                                        </p:attrNameLst>
                                      </p:cBhvr>
                                      <p:to>
                                        <p:strVal val="hidden"/>
                                      </p:to>
                                    </p:set>
                                  </p:childTnLst>
                                </p:cTn>
                              </p:par>
                              <p:par>
                                <p:cTn id="39" presetID="10" presetClass="entr" presetSubtype="0" fill="hold" nodeType="withEffect">
                                  <p:stCondLst>
                                    <p:cond delay="900"/>
                                  </p:stCondLst>
                                  <p:childTnLst>
                                    <p:set>
                                      <p:cBhvr>
                                        <p:cTn id="40" dur="1" fill="hold">
                                          <p:stCondLst>
                                            <p:cond delay="0"/>
                                          </p:stCondLst>
                                        </p:cTn>
                                        <p:tgtEl>
                                          <p:spTgt spid="27"/>
                                        </p:tgtEl>
                                        <p:attrNameLst>
                                          <p:attrName>style.visibility</p:attrName>
                                        </p:attrNameLst>
                                      </p:cBhvr>
                                      <p:to>
                                        <p:strVal val="visible"/>
                                      </p:to>
                                    </p:set>
                                    <p:animEffect transition="in" filter="fade">
                                      <p:cBhvr>
                                        <p:cTn id="41" dur="3000"/>
                                        <p:tgtEl>
                                          <p:spTgt spid="27"/>
                                        </p:tgtEl>
                                      </p:cBhvr>
                                    </p:animEffect>
                                  </p:childTnLst>
                                </p:cTn>
                              </p:par>
                            </p:childTnLst>
                          </p:cTn>
                        </p:par>
                        <p:par>
                          <p:cTn id="42" fill="hold">
                            <p:stCondLst>
                              <p:cond delay="3900"/>
                            </p:stCondLst>
                            <p:childTnLst>
                              <p:par>
                                <p:cTn id="43" presetID="50" presetClass="path" presetSubtype="0" accel="50000" decel="50000" fill="hold" nodeType="afterEffect">
                                  <p:stCondLst>
                                    <p:cond delay="0"/>
                                  </p:stCondLst>
                                  <p:childTnLst>
                                    <p:animMotion origin="layout" path="M 4.72222E-6 1.0502E-6 L -0.37483 1.0502E-6 C -0.54254 1.0502E-6 -0.74792 0.14481 -0.74792 0.26579 L -0.74792 0.53458 " pathEditMode="relative" rAng="0" ptsTypes="FfFF">
                                      <p:cBhvr>
                                        <p:cTn id="44" dur="1000" fill="hold"/>
                                        <p:tgtEl>
                                          <p:spTgt spid="27"/>
                                        </p:tgtEl>
                                        <p:attrNameLst>
                                          <p:attrName>ppt_x</p:attrName>
                                          <p:attrName>ppt_y</p:attrName>
                                        </p:attrNameLst>
                                      </p:cBhvr>
                                      <p:rCtr x="-37396" y="26718"/>
                                    </p:animMotion>
                                  </p:childTnLst>
                                </p:cTn>
                              </p:par>
                            </p:childTnLst>
                          </p:cTn>
                        </p:par>
                        <p:par>
                          <p:cTn id="45" fill="hold">
                            <p:stCondLst>
                              <p:cond delay="4900"/>
                            </p:stCondLst>
                            <p:childTnLst>
                              <p:par>
                                <p:cTn id="46" presetID="10" presetClass="entr" presetSubtype="0" fill="hold" grpId="0" nodeType="afterEffect">
                                  <p:stCondLst>
                                    <p:cond delay="0"/>
                                  </p:stCondLst>
                                  <p:childTnLst>
                                    <p:set>
                                      <p:cBhvr>
                                        <p:cTn id="47" dur="1" fill="hold">
                                          <p:stCondLst>
                                            <p:cond delay="0"/>
                                          </p:stCondLst>
                                        </p:cTn>
                                        <p:tgtEl>
                                          <p:spTgt spid="13"/>
                                        </p:tgtEl>
                                        <p:attrNameLst>
                                          <p:attrName>style.visibility</p:attrName>
                                        </p:attrNameLst>
                                      </p:cBhvr>
                                      <p:to>
                                        <p:strVal val="visible"/>
                                      </p:to>
                                    </p:set>
                                    <p:animEffect transition="in" filter="fade">
                                      <p:cBhvr>
                                        <p:cTn id="48" dur="3000"/>
                                        <p:tgtEl>
                                          <p:spTgt spid="13"/>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xit" presetSubtype="0" fill="hold" nodeType="clickEffect">
                                  <p:stCondLst>
                                    <p:cond delay="0"/>
                                  </p:stCondLst>
                                  <p:childTnLst>
                                    <p:animEffect transition="out" filter="fade">
                                      <p:cBhvr>
                                        <p:cTn id="52" dur="1000"/>
                                        <p:tgtEl>
                                          <p:spTgt spid="27"/>
                                        </p:tgtEl>
                                      </p:cBhvr>
                                    </p:animEffect>
                                    <p:set>
                                      <p:cBhvr>
                                        <p:cTn id="53" dur="1" fill="hold">
                                          <p:stCondLst>
                                            <p:cond delay="999"/>
                                          </p:stCondLst>
                                        </p:cTn>
                                        <p:tgtEl>
                                          <p:spTgt spid="27"/>
                                        </p:tgtEl>
                                        <p:attrNameLst>
                                          <p:attrName>style.visibility</p:attrName>
                                        </p:attrNameLst>
                                      </p:cBhvr>
                                      <p:to>
                                        <p:strVal val="hidden"/>
                                      </p:to>
                                    </p:set>
                                  </p:childTnLst>
                                </p:cTn>
                              </p:par>
                              <p:par>
                                <p:cTn id="54" presetID="10" presetClass="exit" presetSubtype="0" fill="hold" grpId="1" nodeType="withEffect">
                                  <p:stCondLst>
                                    <p:cond delay="0"/>
                                  </p:stCondLst>
                                  <p:childTnLst>
                                    <p:animEffect transition="out" filter="fade">
                                      <p:cBhvr>
                                        <p:cTn id="55" dur="1000"/>
                                        <p:tgtEl>
                                          <p:spTgt spid="13"/>
                                        </p:tgtEl>
                                      </p:cBhvr>
                                    </p:animEffect>
                                    <p:set>
                                      <p:cBhvr>
                                        <p:cTn id="56" dur="1" fill="hold">
                                          <p:stCondLst>
                                            <p:cond delay="999"/>
                                          </p:stCondLst>
                                        </p:cTn>
                                        <p:tgtEl>
                                          <p:spTgt spid="13"/>
                                        </p:tgtEl>
                                        <p:attrNameLst>
                                          <p:attrName>style.visibility</p:attrName>
                                        </p:attrNameLst>
                                      </p:cBhvr>
                                      <p:to>
                                        <p:strVal val="hidden"/>
                                      </p:to>
                                    </p:set>
                                  </p:childTnLst>
                                </p:cTn>
                              </p:par>
                              <p:par>
                                <p:cTn id="57" presetID="10" presetClass="entr" presetSubtype="0" fill="hold" nodeType="with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3000"/>
                                        <p:tgtEl>
                                          <p:spTgt spid="22"/>
                                        </p:tgtEl>
                                      </p:cBhvr>
                                    </p:animEffect>
                                  </p:childTnLst>
                                </p:cTn>
                              </p:par>
                            </p:childTnLst>
                          </p:cTn>
                        </p:par>
                        <p:par>
                          <p:cTn id="60" fill="hold">
                            <p:stCondLst>
                              <p:cond delay="3000"/>
                            </p:stCondLst>
                            <p:childTnLst>
                              <p:par>
                                <p:cTn id="61" presetID="50" presetClass="path" presetSubtype="0" accel="50000" decel="50000" fill="hold" nodeType="afterEffect">
                                  <p:stCondLst>
                                    <p:cond delay="0"/>
                                  </p:stCondLst>
                                  <p:childTnLst>
                                    <p:animMotion origin="layout" path="M 4.44444E-6 7.37913E-7 L -0.06754 7.37913E-7 C -0.09844 7.37913E-7 -0.13386 0.05945 -0.13386 0.10803 L -0.13386 0.21744 " pathEditMode="relative" rAng="0" ptsTypes="FfFF">
                                      <p:cBhvr>
                                        <p:cTn id="62" dur="1000" fill="hold"/>
                                        <p:tgtEl>
                                          <p:spTgt spid="22"/>
                                        </p:tgtEl>
                                        <p:attrNameLst>
                                          <p:attrName>ppt_x</p:attrName>
                                          <p:attrName>ppt_y</p:attrName>
                                        </p:attrNameLst>
                                      </p:cBhvr>
                                      <p:rCtr x="-6701" y="10872"/>
                                    </p:animMotion>
                                  </p:childTnLst>
                                </p:cTn>
                              </p:par>
                            </p:childTnLst>
                          </p:cTn>
                        </p:par>
                        <p:par>
                          <p:cTn id="63" fill="hold">
                            <p:stCondLst>
                              <p:cond delay="4000"/>
                            </p:stCondLst>
                            <p:childTnLst>
                              <p:par>
                                <p:cTn id="64" presetID="10" presetClass="entr" presetSubtype="0" fill="hold" grpId="0" nodeType="afterEffect">
                                  <p:stCondLst>
                                    <p:cond delay="0"/>
                                  </p:stCondLst>
                                  <p:childTnLst>
                                    <p:set>
                                      <p:cBhvr>
                                        <p:cTn id="65" dur="1" fill="hold">
                                          <p:stCondLst>
                                            <p:cond delay="0"/>
                                          </p:stCondLst>
                                        </p:cTn>
                                        <p:tgtEl>
                                          <p:spTgt spid="24"/>
                                        </p:tgtEl>
                                        <p:attrNameLst>
                                          <p:attrName>style.visibility</p:attrName>
                                        </p:attrNameLst>
                                      </p:cBhvr>
                                      <p:to>
                                        <p:strVal val="visible"/>
                                      </p:to>
                                    </p:set>
                                    <p:animEffect transition="in" filter="fade">
                                      <p:cBhvr>
                                        <p:cTn id="66" dur="30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13" grpId="0"/>
      <p:bldP spid="13" grpId="1"/>
      <p:bldP spid="24"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o 3"/>
          <p:cNvGraphicFramePr>
            <a:graphicFrameLocks noGrp="1"/>
          </p:cNvGraphicFramePr>
          <p:nvPr>
            <p:extLst>
              <p:ext uri="{D42A27DB-BD31-4B8C-83A1-F6EECF244321}">
                <p14:modId xmlns:p14="http://schemas.microsoft.com/office/powerpoint/2010/main" val="3618944975"/>
              </p:ext>
            </p:extLst>
          </p:nvPr>
        </p:nvGraphicFramePr>
        <p:xfrm>
          <a:off x="251520" y="1700807"/>
          <a:ext cx="3168351" cy="3744417"/>
        </p:xfrm>
        <a:graphic>
          <a:graphicData uri="http://schemas.openxmlformats.org/drawingml/2006/table">
            <a:tbl>
              <a:tblPr firstRow="1" firstCol="1" bandRow="1">
                <a:tableStyleId>{FABFCF23-3B69-468F-B69F-88F6DE6A72F2}</a:tableStyleId>
              </a:tblPr>
              <a:tblGrid>
                <a:gridCol w="1159153"/>
                <a:gridCol w="1004599"/>
                <a:gridCol w="1004599"/>
              </a:tblGrid>
              <a:tr h="1397631">
                <a:tc gridSpan="3">
                  <a:txBody>
                    <a:bodyPr/>
                    <a:lstStyle/>
                    <a:p>
                      <a:pPr marL="0" algn="ctr" defTabSz="914400" rtl="0" eaLnBrk="1" latinLnBrk="0" hangingPunct="1">
                        <a:lnSpc>
                          <a:spcPct val="115000"/>
                        </a:lnSpc>
                        <a:spcAft>
                          <a:spcPts val="0"/>
                        </a:spcAft>
                      </a:pPr>
                      <a:endParaRPr lang="tr-TR" sz="1800" kern="1200" dirty="0" smtClean="0">
                        <a:effectLst/>
                      </a:endParaRPr>
                    </a:p>
                    <a:p>
                      <a:pPr marL="0" algn="ctr" defTabSz="914400" rtl="0" eaLnBrk="1" latinLnBrk="0" hangingPunct="1">
                        <a:lnSpc>
                          <a:spcPct val="115000"/>
                        </a:lnSpc>
                        <a:spcAft>
                          <a:spcPts val="0"/>
                        </a:spcAft>
                      </a:pPr>
                      <a:r>
                        <a:rPr lang="tr-TR" sz="1800" kern="1200" dirty="0" smtClean="0">
                          <a:effectLst/>
                        </a:rPr>
                        <a:t>Tahmini </a:t>
                      </a:r>
                      <a:r>
                        <a:rPr lang="tr-TR" sz="1800" kern="1200" dirty="0">
                          <a:effectLst/>
                        </a:rPr>
                        <a:t>Yıllık Fatura </a:t>
                      </a:r>
                      <a:r>
                        <a:rPr lang="tr-TR" sz="1800" kern="1200" dirty="0" smtClean="0">
                          <a:effectLst/>
                        </a:rPr>
                        <a:t>Hacmi </a:t>
                      </a:r>
                    </a:p>
                    <a:p>
                      <a:pPr algn="ctr">
                        <a:lnSpc>
                          <a:spcPct val="115000"/>
                        </a:lnSpc>
                        <a:spcAft>
                          <a:spcPts val="0"/>
                        </a:spcAft>
                      </a:pPr>
                      <a:r>
                        <a:rPr lang="tr-TR" sz="1800" dirty="0" smtClean="0">
                          <a:effectLst/>
                        </a:rPr>
                        <a:t>Kağıt</a:t>
                      </a:r>
                      <a:r>
                        <a:rPr lang="tr-TR" sz="1800" baseline="0" dirty="0" smtClean="0">
                          <a:effectLst/>
                        </a:rPr>
                        <a:t> + </a:t>
                      </a:r>
                      <a:r>
                        <a:rPr lang="tr-TR" sz="1800" dirty="0" smtClean="0">
                          <a:effectLst/>
                        </a:rPr>
                        <a:t>e-Fatura</a:t>
                      </a:r>
                    </a:p>
                    <a:p>
                      <a:pPr algn="ctr">
                        <a:lnSpc>
                          <a:spcPct val="115000"/>
                        </a:lnSpc>
                        <a:spcAft>
                          <a:spcPts val="0"/>
                        </a:spcAft>
                      </a:pPr>
                      <a:r>
                        <a:rPr lang="tr-TR" sz="1800" dirty="0" smtClean="0">
                          <a:effectLst/>
                        </a:rPr>
                        <a:t>(Adet)</a:t>
                      </a:r>
                      <a:endParaRPr lang="tr-TR" sz="1800" dirty="0" smtClean="0">
                        <a:solidFill>
                          <a:schemeClr val="bg1"/>
                        </a:solidFill>
                        <a:effectLst/>
                        <a:latin typeface="Calibri"/>
                        <a:ea typeface="Calibri"/>
                        <a:cs typeface="Times New Roman"/>
                      </a:endParaRPr>
                    </a:p>
                  </a:txBody>
                  <a:tcPr marL="68580" marR="68580" marT="0" marB="0">
                    <a:cell3D prstMaterial="dkEdge">
                      <a:bevel/>
                      <a:lightRig rig="flood" dir="t"/>
                    </a:cell3D>
                  </a:tcPr>
                </a:tc>
                <a:tc hMerge="1">
                  <a:txBody>
                    <a:bodyPr/>
                    <a:lstStyle/>
                    <a:p>
                      <a:endParaRPr lang="tr-TR"/>
                    </a:p>
                  </a:txBody>
                  <a:tcPr/>
                </a:tc>
                <a:tc hMerge="1">
                  <a:txBody>
                    <a:bodyPr/>
                    <a:lstStyle/>
                    <a:p>
                      <a:endParaRPr lang="tr-TR"/>
                    </a:p>
                  </a:txBody>
                  <a:tcPr/>
                </a:tc>
              </a:tr>
              <a:tr h="668006">
                <a:tc>
                  <a:txBody>
                    <a:bodyPr/>
                    <a:lstStyle/>
                    <a:p>
                      <a:pPr algn="ctr">
                        <a:lnSpc>
                          <a:spcPct val="115000"/>
                        </a:lnSpc>
                        <a:spcAft>
                          <a:spcPts val="0"/>
                        </a:spcAft>
                      </a:pPr>
                      <a:endParaRPr lang="tr-TR" sz="1600" dirty="0" smtClean="0">
                        <a:effectLst/>
                      </a:endParaRPr>
                    </a:p>
                    <a:p>
                      <a:pPr algn="ctr">
                        <a:lnSpc>
                          <a:spcPct val="115000"/>
                        </a:lnSpc>
                        <a:spcAft>
                          <a:spcPts val="0"/>
                        </a:spcAft>
                      </a:pPr>
                      <a:r>
                        <a:rPr lang="tr-TR" sz="1600" dirty="0" smtClean="0">
                          <a:effectLst/>
                        </a:rPr>
                        <a:t>Dünya</a:t>
                      </a:r>
                      <a:endParaRPr lang="tr-TR" sz="1600" b="1" dirty="0">
                        <a:solidFill>
                          <a:schemeClr val="bg1"/>
                        </a:solidFill>
                        <a:effectLst/>
                        <a:latin typeface="Calibri"/>
                        <a:ea typeface="Calibri"/>
                        <a:cs typeface="Times New Roman"/>
                      </a:endParaRPr>
                    </a:p>
                  </a:txBody>
                  <a:tcPr marL="68580" marR="68580" marT="0" marB="0">
                    <a:cell3D prstMaterial="dkEdge">
                      <a:bevel/>
                      <a:lightRig rig="flood" dir="t"/>
                    </a:cell3D>
                  </a:tcPr>
                </a:tc>
                <a:tc>
                  <a:txBody>
                    <a:bodyPr/>
                    <a:lstStyle/>
                    <a:p>
                      <a:pPr algn="ctr">
                        <a:lnSpc>
                          <a:spcPct val="115000"/>
                        </a:lnSpc>
                        <a:spcAft>
                          <a:spcPts val="0"/>
                        </a:spcAft>
                      </a:pPr>
                      <a:endParaRPr lang="tr-TR" sz="1600" dirty="0" smtClean="0">
                        <a:effectLst/>
                      </a:endParaRPr>
                    </a:p>
                    <a:p>
                      <a:pPr algn="ctr">
                        <a:lnSpc>
                          <a:spcPct val="115000"/>
                        </a:lnSpc>
                        <a:spcAft>
                          <a:spcPts val="0"/>
                        </a:spcAft>
                      </a:pPr>
                      <a:r>
                        <a:rPr lang="tr-TR" sz="1600" b="1" dirty="0" smtClean="0">
                          <a:effectLst/>
                        </a:rPr>
                        <a:t>Avrupa</a:t>
                      </a:r>
                      <a:endParaRPr lang="tr-TR" sz="1600" b="1" dirty="0">
                        <a:solidFill>
                          <a:schemeClr val="bg1"/>
                        </a:solidFill>
                        <a:effectLst/>
                        <a:latin typeface="Calibri"/>
                        <a:ea typeface="Calibri"/>
                        <a:cs typeface="Times New Roman"/>
                      </a:endParaRPr>
                    </a:p>
                  </a:txBody>
                  <a:tcPr marL="68580" marR="68580" marT="0" marB="0">
                    <a:lnR w="12700" cap="flat" cmpd="sng" algn="ctr">
                      <a:solidFill>
                        <a:schemeClr val="tx1"/>
                      </a:solidFill>
                      <a:prstDash val="solid"/>
                      <a:round/>
                      <a:headEnd type="none" w="med" len="med"/>
                      <a:tailEnd type="none" w="med" len="med"/>
                    </a:lnR>
                    <a:cell3D prstMaterial="dkEdge">
                      <a:bevel/>
                      <a:lightRig rig="flood" dir="t"/>
                    </a:cell3D>
                  </a:tcPr>
                </a:tc>
                <a:tc>
                  <a:txBody>
                    <a:bodyPr/>
                    <a:lstStyle/>
                    <a:p>
                      <a:pPr algn="ctr">
                        <a:lnSpc>
                          <a:spcPct val="115000"/>
                        </a:lnSpc>
                        <a:spcAft>
                          <a:spcPts val="0"/>
                        </a:spcAft>
                      </a:pPr>
                      <a:endParaRPr lang="tr-TR" sz="1600" b="1" dirty="0" smtClean="0">
                        <a:solidFill>
                          <a:schemeClr val="bg1"/>
                        </a:solidFill>
                        <a:effectLst/>
                        <a:latin typeface="Calibri"/>
                        <a:ea typeface="Calibri"/>
                        <a:cs typeface="Times New Roman"/>
                      </a:endParaRPr>
                    </a:p>
                    <a:p>
                      <a:pPr algn="ctr">
                        <a:lnSpc>
                          <a:spcPct val="115000"/>
                        </a:lnSpc>
                        <a:spcAft>
                          <a:spcPts val="0"/>
                        </a:spcAft>
                      </a:pPr>
                      <a:r>
                        <a:rPr lang="tr-TR" sz="1600" b="1" dirty="0" smtClean="0">
                          <a:solidFill>
                            <a:schemeClr val="tx1"/>
                          </a:solidFill>
                          <a:effectLst/>
                          <a:latin typeface="Calibri"/>
                          <a:ea typeface="Calibri"/>
                          <a:cs typeface="Times New Roman"/>
                        </a:rPr>
                        <a:t>Türkiye</a:t>
                      </a:r>
                      <a:endParaRPr lang="tr-TR" sz="1600" b="1" dirty="0">
                        <a:solidFill>
                          <a:schemeClr val="tx1"/>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cell3D prstMaterial="dkEdge">
                      <a:bevel/>
                      <a:lightRig rig="flood" dir="t"/>
                    </a:cell3D>
                  </a:tcPr>
                </a:tc>
              </a:tr>
              <a:tr h="1678780">
                <a:tc>
                  <a:txBody>
                    <a:bodyPr/>
                    <a:lstStyle/>
                    <a:p>
                      <a:pPr algn="ctr">
                        <a:lnSpc>
                          <a:spcPct val="115000"/>
                        </a:lnSpc>
                        <a:spcAft>
                          <a:spcPts val="0"/>
                        </a:spcAft>
                      </a:pPr>
                      <a:endParaRPr lang="tr-TR" sz="2000" dirty="0" smtClean="0">
                        <a:effectLst/>
                      </a:endParaRPr>
                    </a:p>
                    <a:p>
                      <a:pPr algn="ctr">
                        <a:lnSpc>
                          <a:spcPct val="115000"/>
                        </a:lnSpc>
                        <a:spcAft>
                          <a:spcPts val="0"/>
                        </a:spcAft>
                      </a:pPr>
                      <a:r>
                        <a:rPr lang="tr-TR" sz="2000" dirty="0" smtClean="0">
                          <a:effectLst/>
                        </a:rPr>
                        <a:t> 350 Milyar</a:t>
                      </a:r>
                      <a:endParaRPr lang="tr-TR" sz="2000" dirty="0">
                        <a:effectLst/>
                        <a:latin typeface="Calibri"/>
                        <a:ea typeface="Calibri"/>
                        <a:cs typeface="Times New Roman"/>
                      </a:endParaRPr>
                    </a:p>
                  </a:txBody>
                  <a:tcPr marL="68580" marR="68580" marT="0" marB="0">
                    <a:cell3D prstMaterial="dkEdge">
                      <a:bevel/>
                      <a:lightRig rig="flood" dir="t"/>
                    </a:cell3D>
                  </a:tcPr>
                </a:tc>
                <a:tc>
                  <a:txBody>
                    <a:bodyPr/>
                    <a:lstStyle/>
                    <a:p>
                      <a:pPr algn="ctr">
                        <a:lnSpc>
                          <a:spcPct val="115000"/>
                        </a:lnSpc>
                        <a:spcAft>
                          <a:spcPts val="0"/>
                        </a:spcAft>
                      </a:pPr>
                      <a:endParaRPr lang="tr-TR" sz="2000" dirty="0" smtClean="0">
                        <a:effectLst/>
                      </a:endParaRPr>
                    </a:p>
                    <a:p>
                      <a:pPr algn="ctr">
                        <a:lnSpc>
                          <a:spcPct val="115000"/>
                        </a:lnSpc>
                        <a:spcAft>
                          <a:spcPts val="0"/>
                        </a:spcAft>
                      </a:pPr>
                      <a:r>
                        <a:rPr lang="tr-TR" sz="2000" b="1" dirty="0" smtClean="0">
                          <a:effectLst/>
                        </a:rPr>
                        <a:t> 33 Milyar</a:t>
                      </a:r>
                      <a:endParaRPr lang="tr-TR" sz="2000" b="1" dirty="0">
                        <a:effectLst/>
                        <a:latin typeface="Calibri"/>
                        <a:ea typeface="Calibri"/>
                        <a:cs typeface="Times New Roman"/>
                      </a:endParaRPr>
                    </a:p>
                  </a:txBody>
                  <a:tcPr marL="68580" marR="68580" marT="0" marB="0">
                    <a:lnR w="12700" cap="flat" cmpd="sng" algn="ctr">
                      <a:solidFill>
                        <a:schemeClr val="tx1"/>
                      </a:solidFill>
                      <a:prstDash val="solid"/>
                      <a:round/>
                      <a:headEnd type="none" w="med" len="med"/>
                      <a:tailEnd type="none" w="med" len="med"/>
                    </a:lnR>
                    <a:cell3D prstMaterial="dkEdge">
                      <a:bevel/>
                      <a:lightRig rig="flood" dir="t"/>
                    </a:cell3D>
                  </a:tcPr>
                </a:tc>
                <a:tc>
                  <a:txBody>
                    <a:bodyPr/>
                    <a:lstStyle/>
                    <a:p>
                      <a:pPr algn="ctr">
                        <a:lnSpc>
                          <a:spcPct val="115000"/>
                        </a:lnSpc>
                        <a:spcAft>
                          <a:spcPts val="0"/>
                        </a:spcAft>
                      </a:pPr>
                      <a:endParaRPr lang="tr-TR" sz="2000" b="1" dirty="0" smtClean="0">
                        <a:effectLst/>
                        <a:latin typeface="Calibri"/>
                        <a:ea typeface="Calibri"/>
                        <a:cs typeface="Times New Roman"/>
                      </a:endParaRPr>
                    </a:p>
                    <a:p>
                      <a:pPr algn="ctr">
                        <a:lnSpc>
                          <a:spcPct val="115000"/>
                        </a:lnSpc>
                        <a:spcAft>
                          <a:spcPts val="0"/>
                        </a:spcAft>
                      </a:pPr>
                      <a:r>
                        <a:rPr lang="tr-TR" sz="2000" b="1" dirty="0" smtClean="0">
                          <a:effectLst/>
                          <a:latin typeface="Calibri"/>
                          <a:ea typeface="Calibri"/>
                          <a:cs typeface="Times New Roman"/>
                        </a:rPr>
                        <a:t> 1,7</a:t>
                      </a:r>
                    </a:p>
                    <a:p>
                      <a:pPr algn="ctr">
                        <a:lnSpc>
                          <a:spcPct val="115000"/>
                        </a:lnSpc>
                        <a:spcAft>
                          <a:spcPts val="0"/>
                        </a:spcAft>
                      </a:pPr>
                      <a:r>
                        <a:rPr lang="tr-TR" sz="2000" b="1" dirty="0" smtClean="0">
                          <a:effectLst/>
                          <a:latin typeface="Calibri"/>
                          <a:ea typeface="Calibri"/>
                          <a:cs typeface="Times New Roman"/>
                        </a:rPr>
                        <a:t>Milyar</a:t>
                      </a:r>
                    </a:p>
                    <a:p>
                      <a:pPr algn="ctr">
                        <a:lnSpc>
                          <a:spcPct val="115000"/>
                        </a:lnSpc>
                        <a:spcAft>
                          <a:spcPts val="0"/>
                        </a:spcAft>
                      </a:pPr>
                      <a:endParaRPr lang="tr-TR" sz="2000" b="1" dirty="0">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cell3D prstMaterial="dkEdge">
                      <a:bevel/>
                      <a:lightRig rig="flood" dir="t"/>
                    </a:cell3D>
                  </a:tcPr>
                </a:tc>
              </a:tr>
            </a:tbl>
          </a:graphicData>
        </a:graphic>
      </p:graphicFrame>
      <p:graphicFrame>
        <p:nvGraphicFramePr>
          <p:cNvPr id="5" name="Tablo 4"/>
          <p:cNvGraphicFramePr>
            <a:graphicFrameLocks noGrp="1"/>
          </p:cNvGraphicFramePr>
          <p:nvPr>
            <p:extLst>
              <p:ext uri="{D42A27DB-BD31-4B8C-83A1-F6EECF244321}">
                <p14:modId xmlns:p14="http://schemas.microsoft.com/office/powerpoint/2010/main" val="3101356515"/>
              </p:ext>
            </p:extLst>
          </p:nvPr>
        </p:nvGraphicFramePr>
        <p:xfrm>
          <a:off x="3635896" y="1712043"/>
          <a:ext cx="3082494" cy="3791729"/>
        </p:xfrm>
        <a:graphic>
          <a:graphicData uri="http://schemas.openxmlformats.org/drawingml/2006/table">
            <a:tbl>
              <a:tblPr firstRow="1" firstCol="1" bandRow="1">
                <a:tableStyleId>{FABFCF23-3B69-468F-B69F-88F6DE6A72F2}</a:tableStyleId>
              </a:tblPr>
              <a:tblGrid>
                <a:gridCol w="922254"/>
                <a:gridCol w="1152128"/>
                <a:gridCol w="1008112"/>
              </a:tblGrid>
              <a:tr h="1284909">
                <a:tc gridSpan="3">
                  <a:txBody>
                    <a:bodyPr/>
                    <a:lstStyle/>
                    <a:p>
                      <a:pPr algn="ctr">
                        <a:lnSpc>
                          <a:spcPct val="115000"/>
                        </a:lnSpc>
                        <a:spcAft>
                          <a:spcPts val="0"/>
                        </a:spcAft>
                      </a:pPr>
                      <a:r>
                        <a:rPr lang="tr-TR" sz="1600" dirty="0">
                          <a:effectLst/>
                        </a:rPr>
                        <a:t> </a:t>
                      </a:r>
                      <a:endParaRPr lang="tr-TR" sz="1600" dirty="0" smtClean="0">
                        <a:effectLst/>
                      </a:endParaRPr>
                    </a:p>
                    <a:p>
                      <a:pPr algn="ctr">
                        <a:lnSpc>
                          <a:spcPct val="115000"/>
                        </a:lnSpc>
                        <a:spcAft>
                          <a:spcPts val="0"/>
                        </a:spcAft>
                      </a:pPr>
                      <a:r>
                        <a:rPr lang="tr-TR" sz="1800" dirty="0" smtClean="0">
                          <a:effectLst/>
                        </a:rPr>
                        <a:t>Tahmini</a:t>
                      </a:r>
                      <a:r>
                        <a:rPr lang="tr-TR" sz="1800" baseline="0" dirty="0" smtClean="0">
                          <a:effectLst/>
                        </a:rPr>
                        <a:t> Elektronik Fatura Oranı</a:t>
                      </a:r>
                    </a:p>
                    <a:p>
                      <a:pPr algn="ctr">
                        <a:lnSpc>
                          <a:spcPct val="115000"/>
                        </a:lnSpc>
                        <a:spcAft>
                          <a:spcPts val="0"/>
                        </a:spcAft>
                      </a:pPr>
                      <a:endParaRPr lang="tr-TR" sz="1600" baseline="0" dirty="0" smtClean="0">
                        <a:effectLst/>
                        <a:latin typeface="Calibri"/>
                        <a:ea typeface="Calibri"/>
                        <a:cs typeface="Times New Roman"/>
                      </a:endParaRPr>
                    </a:p>
                  </a:txBody>
                  <a:tcPr marL="68580" marR="68580" marT="0" marB="0">
                    <a:cell3D prstMaterial="dkEdge">
                      <a:bevel/>
                      <a:lightRig rig="flood" dir="t"/>
                    </a:cell3D>
                  </a:tcPr>
                </a:tc>
                <a:tc hMerge="1">
                  <a:txBody>
                    <a:bodyPr/>
                    <a:lstStyle/>
                    <a:p>
                      <a:endParaRPr lang="tr-TR"/>
                    </a:p>
                  </a:txBody>
                  <a:tcPr/>
                </a:tc>
                <a:tc hMerge="1">
                  <a:txBody>
                    <a:bodyPr/>
                    <a:lstStyle/>
                    <a:p>
                      <a:endParaRPr lang="tr-TR"/>
                    </a:p>
                  </a:txBody>
                  <a:tcPr/>
                </a:tc>
              </a:tr>
              <a:tr h="754220">
                <a:tc>
                  <a:txBody>
                    <a:bodyPr/>
                    <a:lstStyle/>
                    <a:p>
                      <a:pPr algn="ctr">
                        <a:lnSpc>
                          <a:spcPct val="115000"/>
                        </a:lnSpc>
                        <a:spcAft>
                          <a:spcPts val="0"/>
                        </a:spcAft>
                      </a:pPr>
                      <a:endParaRPr lang="tr-TR" sz="1600" dirty="0" smtClean="0">
                        <a:effectLst/>
                      </a:endParaRPr>
                    </a:p>
                    <a:p>
                      <a:pPr algn="ctr">
                        <a:lnSpc>
                          <a:spcPct val="115000"/>
                        </a:lnSpc>
                        <a:spcAft>
                          <a:spcPts val="0"/>
                        </a:spcAft>
                      </a:pPr>
                      <a:r>
                        <a:rPr lang="tr-TR" sz="1600" dirty="0" smtClean="0">
                          <a:effectLst/>
                        </a:rPr>
                        <a:t>Dünya</a:t>
                      </a:r>
                      <a:endParaRPr lang="tr-TR" sz="1600" b="1" dirty="0">
                        <a:solidFill>
                          <a:schemeClr val="bg1"/>
                        </a:solidFill>
                        <a:effectLst/>
                        <a:latin typeface="+mn-lt"/>
                        <a:ea typeface="Calibri"/>
                        <a:cs typeface="Times New Roman"/>
                      </a:endParaRPr>
                    </a:p>
                  </a:txBody>
                  <a:tcPr marL="68580" marR="68580" marT="0" marB="0">
                    <a:cell3D prstMaterial="dkEdge">
                      <a:bevel/>
                      <a:lightRig rig="flood" dir="t"/>
                    </a:cell3D>
                  </a:tcPr>
                </a:tc>
                <a:tc>
                  <a:txBody>
                    <a:bodyPr/>
                    <a:lstStyle/>
                    <a:p>
                      <a:pPr algn="ctr">
                        <a:lnSpc>
                          <a:spcPct val="115000"/>
                        </a:lnSpc>
                        <a:spcAft>
                          <a:spcPts val="0"/>
                        </a:spcAft>
                      </a:pPr>
                      <a:endParaRPr lang="tr-TR" sz="1600" dirty="0" smtClean="0">
                        <a:effectLst/>
                      </a:endParaRPr>
                    </a:p>
                    <a:p>
                      <a:pPr algn="ctr">
                        <a:lnSpc>
                          <a:spcPct val="115000"/>
                        </a:lnSpc>
                        <a:spcAft>
                          <a:spcPts val="0"/>
                        </a:spcAft>
                      </a:pPr>
                      <a:r>
                        <a:rPr lang="tr-TR" sz="1600" b="1" dirty="0" smtClean="0">
                          <a:effectLst/>
                        </a:rPr>
                        <a:t>Avrupa</a:t>
                      </a:r>
                      <a:endParaRPr lang="tr-TR" sz="1600" b="1" dirty="0">
                        <a:solidFill>
                          <a:schemeClr val="bg1"/>
                        </a:solidFill>
                        <a:effectLst/>
                        <a:latin typeface="+mn-lt"/>
                        <a:ea typeface="Calibri"/>
                        <a:cs typeface="Times New Roman"/>
                      </a:endParaRPr>
                    </a:p>
                  </a:txBody>
                  <a:tcPr marL="68580" marR="68580" marT="0" marB="0">
                    <a:lnR w="12700" cap="flat" cmpd="sng" algn="ctr">
                      <a:solidFill>
                        <a:schemeClr val="tx1"/>
                      </a:solidFill>
                      <a:prstDash val="solid"/>
                      <a:round/>
                      <a:headEnd type="none" w="med" len="med"/>
                      <a:tailEnd type="none" w="med" len="med"/>
                    </a:lnR>
                    <a:cell3D prstMaterial="dkEdge">
                      <a:bevel/>
                      <a:lightRig rig="flood" dir="t"/>
                    </a:cell3D>
                  </a:tcPr>
                </a:tc>
                <a:tc>
                  <a:txBody>
                    <a:bodyPr/>
                    <a:lstStyle/>
                    <a:p>
                      <a:pPr algn="ctr">
                        <a:lnSpc>
                          <a:spcPct val="115000"/>
                        </a:lnSpc>
                        <a:spcAft>
                          <a:spcPts val="0"/>
                        </a:spcAft>
                      </a:pPr>
                      <a:endParaRPr lang="tr-TR" sz="1600" b="1" dirty="0" smtClean="0">
                        <a:solidFill>
                          <a:schemeClr val="bg1"/>
                        </a:solidFill>
                        <a:effectLst/>
                        <a:latin typeface="+mn-lt"/>
                        <a:ea typeface="Calibri"/>
                        <a:cs typeface="Times New Roman"/>
                      </a:endParaRPr>
                    </a:p>
                    <a:p>
                      <a:pPr algn="ctr">
                        <a:lnSpc>
                          <a:spcPct val="115000"/>
                        </a:lnSpc>
                        <a:spcAft>
                          <a:spcPts val="0"/>
                        </a:spcAft>
                      </a:pPr>
                      <a:r>
                        <a:rPr lang="tr-TR" sz="1600" b="1" dirty="0" smtClean="0">
                          <a:solidFill>
                            <a:schemeClr val="tx1"/>
                          </a:solidFill>
                          <a:effectLst/>
                          <a:latin typeface="+mn-lt"/>
                          <a:ea typeface="Calibri"/>
                          <a:cs typeface="Times New Roman"/>
                        </a:rPr>
                        <a:t>Türkiye</a:t>
                      </a:r>
                      <a:endParaRPr lang="tr-TR" sz="1600" b="1" dirty="0">
                        <a:solidFill>
                          <a:schemeClr val="tx1"/>
                        </a:solidFill>
                        <a:effectLst/>
                        <a:latin typeface="+mn-lt"/>
                        <a:ea typeface="Calibri"/>
                        <a:cs typeface="Times New Roman"/>
                      </a:endParaRPr>
                    </a:p>
                  </a:txBody>
                  <a:tcPr marL="68580" marR="68580" marT="0" marB="0">
                    <a:lnL w="12700" cap="flat" cmpd="sng" algn="ctr">
                      <a:solidFill>
                        <a:schemeClr val="tx1"/>
                      </a:solidFill>
                      <a:prstDash val="solid"/>
                      <a:round/>
                      <a:headEnd type="none" w="med" len="med"/>
                      <a:tailEnd type="none" w="med" len="med"/>
                    </a:lnL>
                    <a:cell3D prstMaterial="dkEdge">
                      <a:bevel/>
                      <a:lightRig rig="flood" dir="t"/>
                    </a:cell3D>
                  </a:tcPr>
                </a:tc>
              </a:tr>
              <a:tr h="1055359">
                <a:tc>
                  <a:txBody>
                    <a:bodyPr/>
                    <a:lstStyle/>
                    <a:p>
                      <a:pPr marL="0" algn="ctr" defTabSz="914400" rtl="0" eaLnBrk="1" latinLnBrk="0" hangingPunct="1">
                        <a:lnSpc>
                          <a:spcPct val="115000"/>
                        </a:lnSpc>
                        <a:spcAft>
                          <a:spcPts val="0"/>
                        </a:spcAft>
                      </a:pPr>
                      <a:r>
                        <a:rPr lang="tr-TR" sz="2000" b="1" kern="1200" dirty="0" smtClean="0">
                          <a:solidFill>
                            <a:schemeClr val="dk1"/>
                          </a:solidFill>
                          <a:effectLst/>
                          <a:latin typeface="+mn-lt"/>
                          <a:ea typeface="+mn-ea"/>
                          <a:cs typeface="+mn-cs"/>
                        </a:rPr>
                        <a:t>%5 </a:t>
                      </a:r>
                      <a:endParaRPr lang="tr-TR" sz="2000" b="1" kern="1200" dirty="0">
                        <a:solidFill>
                          <a:schemeClr val="dk1"/>
                        </a:solidFill>
                        <a:effectLst/>
                        <a:latin typeface="+mn-lt"/>
                        <a:ea typeface="+mn-ea"/>
                        <a:cs typeface="+mn-cs"/>
                      </a:endParaRPr>
                    </a:p>
                  </a:txBody>
                  <a:tcPr marL="68580" marR="68580" marT="0" marB="0" anchor="ctr">
                    <a:cell3D prstMaterial="dkEdge">
                      <a:bevel/>
                      <a:lightRig rig="flood" dir="t"/>
                    </a:cell3D>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endParaRPr lang="tr-TR" sz="2000" b="1" kern="1200" dirty="0" smtClean="0">
                        <a:solidFill>
                          <a:schemeClr val="dk1"/>
                        </a:solidFill>
                        <a:effectLst/>
                        <a:latin typeface="+mn-lt"/>
                        <a:ea typeface="+mn-ea"/>
                        <a:cs typeface="+mn-cs"/>
                      </a:endParaRPr>
                    </a:p>
                    <a:p>
                      <a:pPr marL="0" marR="0" indent="0" algn="ctr" defTabSz="914400" rtl="0" eaLnBrk="1" fontAlgn="auto" latinLnBrk="0" hangingPunct="1">
                        <a:lnSpc>
                          <a:spcPct val="115000"/>
                        </a:lnSpc>
                        <a:spcBef>
                          <a:spcPts val="0"/>
                        </a:spcBef>
                        <a:spcAft>
                          <a:spcPts val="0"/>
                        </a:spcAft>
                        <a:buClrTx/>
                        <a:buSzTx/>
                        <a:buFontTx/>
                        <a:buNone/>
                        <a:tabLst/>
                        <a:defRPr/>
                      </a:pPr>
                      <a:r>
                        <a:rPr lang="tr-TR" sz="2000" b="1" kern="1200" dirty="0" smtClean="0">
                          <a:solidFill>
                            <a:schemeClr val="dk1"/>
                          </a:solidFill>
                          <a:effectLst/>
                          <a:latin typeface="+mn-lt"/>
                          <a:ea typeface="+mn-ea"/>
                          <a:cs typeface="+mn-cs"/>
                        </a:rPr>
                        <a:t>%33</a:t>
                      </a:r>
                    </a:p>
                    <a:p>
                      <a:pPr marL="0" algn="ctr" defTabSz="914400" rtl="0" eaLnBrk="1" latinLnBrk="0" hangingPunct="1">
                        <a:lnSpc>
                          <a:spcPct val="115000"/>
                        </a:lnSpc>
                        <a:spcAft>
                          <a:spcPts val="0"/>
                        </a:spcAft>
                      </a:pPr>
                      <a:endParaRPr lang="tr-TR" sz="2000" b="1" kern="1200" dirty="0" smtClean="0">
                        <a:solidFill>
                          <a:schemeClr val="dk1"/>
                        </a:solidFill>
                        <a:effectLst/>
                        <a:latin typeface="+mn-lt"/>
                        <a:ea typeface="+mn-ea"/>
                        <a:cs typeface="+mn-cs"/>
                      </a:endParaRPr>
                    </a:p>
                  </a:txBody>
                  <a:tcPr marL="68580" marR="68580" marT="0" marB="0" anchor="ctr">
                    <a:lnR w="12700" cap="flat" cmpd="sng" algn="ctr">
                      <a:solidFill>
                        <a:schemeClr val="tx1"/>
                      </a:solidFill>
                      <a:prstDash val="solid"/>
                      <a:round/>
                      <a:headEnd type="none" w="med" len="med"/>
                      <a:tailEnd type="none" w="med" len="med"/>
                    </a:lnR>
                    <a:cell3D prstMaterial="dkEdge">
                      <a:bevel/>
                      <a:lightRig rig="flood" dir="t"/>
                    </a:cell3D>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endParaRPr lang="tr-TR" sz="2000" b="1" kern="1200" dirty="0" smtClean="0">
                        <a:solidFill>
                          <a:schemeClr val="dk1"/>
                        </a:solidFill>
                        <a:effectLst/>
                        <a:latin typeface="+mn-lt"/>
                        <a:ea typeface="+mn-ea"/>
                        <a:cs typeface="+mn-cs"/>
                      </a:endParaRPr>
                    </a:p>
                    <a:p>
                      <a:pPr marL="0" algn="ctr" defTabSz="914400" rtl="0" eaLnBrk="1" latinLnBrk="0" hangingPunct="1">
                        <a:lnSpc>
                          <a:spcPct val="115000"/>
                        </a:lnSpc>
                        <a:spcAft>
                          <a:spcPts val="0"/>
                        </a:spcAft>
                      </a:pPr>
                      <a:endParaRPr lang="tr-TR" sz="2000" b="1" kern="1200" dirty="0" smtClean="0">
                        <a:solidFill>
                          <a:schemeClr val="dk1"/>
                        </a:solidFill>
                        <a:effectLst/>
                        <a:latin typeface="+mn-lt"/>
                        <a:ea typeface="+mn-ea"/>
                        <a:cs typeface="+mn-cs"/>
                      </a:endParaRPr>
                    </a:p>
                    <a:p>
                      <a:pPr marL="0" marR="0" indent="0" algn="ctr" defTabSz="914400" rtl="0" eaLnBrk="1" fontAlgn="auto" latinLnBrk="0" hangingPunct="1">
                        <a:lnSpc>
                          <a:spcPct val="115000"/>
                        </a:lnSpc>
                        <a:spcBef>
                          <a:spcPts val="0"/>
                        </a:spcBef>
                        <a:spcAft>
                          <a:spcPts val="0"/>
                        </a:spcAft>
                        <a:buClrTx/>
                        <a:buSzTx/>
                        <a:buFontTx/>
                        <a:buNone/>
                        <a:tabLst/>
                        <a:defRPr/>
                      </a:pPr>
                      <a:r>
                        <a:rPr lang="tr-TR" sz="2000" b="1" kern="1200" dirty="0" smtClean="0">
                          <a:solidFill>
                            <a:schemeClr val="dk1"/>
                          </a:solidFill>
                          <a:effectLst/>
                          <a:latin typeface="+mn-lt"/>
                          <a:ea typeface="+mn-ea"/>
                          <a:cs typeface="+mn-cs"/>
                        </a:rPr>
                        <a:t>%0.05</a:t>
                      </a:r>
                    </a:p>
                    <a:p>
                      <a:pPr marL="0" algn="ctr" defTabSz="914400" rtl="0" eaLnBrk="1" latinLnBrk="0" hangingPunct="1">
                        <a:lnSpc>
                          <a:spcPct val="115000"/>
                        </a:lnSpc>
                        <a:spcAft>
                          <a:spcPts val="0"/>
                        </a:spcAft>
                      </a:pPr>
                      <a:endParaRPr lang="tr-TR" sz="2000" b="1" kern="1200" dirty="0" smtClean="0">
                        <a:solidFill>
                          <a:schemeClr val="dk1"/>
                        </a:solidFill>
                        <a:effectLst/>
                        <a:latin typeface="+mn-lt"/>
                        <a:ea typeface="+mn-ea"/>
                        <a:cs typeface="+mn-cs"/>
                      </a:endParaRPr>
                    </a:p>
                    <a:p>
                      <a:pPr marL="0" algn="ctr" defTabSz="914400" rtl="0" eaLnBrk="1" latinLnBrk="0" hangingPunct="1">
                        <a:lnSpc>
                          <a:spcPct val="115000"/>
                        </a:lnSpc>
                        <a:spcAft>
                          <a:spcPts val="0"/>
                        </a:spcAft>
                      </a:pPr>
                      <a:endParaRPr lang="tr-TR" sz="2000" b="1" kern="1200" dirty="0" smtClean="0">
                        <a:solidFill>
                          <a:schemeClr val="dk1"/>
                        </a:solidFill>
                        <a:effectLst/>
                        <a:latin typeface="+mn-lt"/>
                        <a:ea typeface="+mn-ea"/>
                        <a:cs typeface="+mn-cs"/>
                      </a:endParaRPr>
                    </a:p>
                  </a:txBody>
                  <a:tcPr marL="68580" marR="68580" marT="0" marB="0" anchor="ctr">
                    <a:lnL w="12700" cap="flat" cmpd="sng" algn="ctr">
                      <a:solidFill>
                        <a:schemeClr val="tx1"/>
                      </a:solidFill>
                      <a:prstDash val="solid"/>
                      <a:round/>
                      <a:headEnd type="none" w="med" len="med"/>
                      <a:tailEnd type="none" w="med" len="med"/>
                    </a:lnL>
                    <a:cell3D prstMaterial="dkEdge">
                      <a:bevel/>
                      <a:lightRig rig="flood" dir="t"/>
                    </a:cell3D>
                  </a:tcPr>
                </a:tc>
              </a:tr>
            </a:tbl>
          </a:graphicData>
        </a:graphic>
      </p:graphicFrame>
      <p:graphicFrame>
        <p:nvGraphicFramePr>
          <p:cNvPr id="7" name="Tablo 6"/>
          <p:cNvGraphicFramePr>
            <a:graphicFrameLocks noGrp="1"/>
          </p:cNvGraphicFramePr>
          <p:nvPr>
            <p:extLst>
              <p:ext uri="{D42A27DB-BD31-4B8C-83A1-F6EECF244321}">
                <p14:modId xmlns:p14="http://schemas.microsoft.com/office/powerpoint/2010/main" val="3130688514"/>
              </p:ext>
            </p:extLst>
          </p:nvPr>
        </p:nvGraphicFramePr>
        <p:xfrm>
          <a:off x="6876256" y="1712045"/>
          <a:ext cx="1918419" cy="3733179"/>
        </p:xfrm>
        <a:graphic>
          <a:graphicData uri="http://schemas.openxmlformats.org/drawingml/2006/table">
            <a:tbl>
              <a:tblPr firstRow="1" firstCol="1" bandRow="1">
                <a:tableStyleId>{FABFCF23-3B69-468F-B69F-88F6DE6A72F2}</a:tableStyleId>
              </a:tblPr>
              <a:tblGrid>
                <a:gridCol w="859981"/>
                <a:gridCol w="1058438"/>
              </a:tblGrid>
              <a:tr h="1259865">
                <a:tc gridSpan="2">
                  <a:txBody>
                    <a:bodyPr/>
                    <a:lstStyle/>
                    <a:p>
                      <a:pPr algn="ctr">
                        <a:lnSpc>
                          <a:spcPct val="115000"/>
                        </a:lnSpc>
                        <a:spcAft>
                          <a:spcPts val="0"/>
                        </a:spcAft>
                      </a:pPr>
                      <a:r>
                        <a:rPr lang="tr-TR" sz="1600" dirty="0">
                          <a:effectLst/>
                        </a:rPr>
                        <a:t> </a:t>
                      </a:r>
                      <a:endParaRPr lang="tr-TR" sz="1600" dirty="0" smtClean="0">
                        <a:effectLst/>
                      </a:endParaRPr>
                    </a:p>
                    <a:p>
                      <a:pPr algn="ctr">
                        <a:lnSpc>
                          <a:spcPct val="115000"/>
                        </a:lnSpc>
                        <a:spcAft>
                          <a:spcPts val="0"/>
                        </a:spcAft>
                      </a:pPr>
                      <a:r>
                        <a:rPr lang="tr-TR" sz="1800" dirty="0" smtClean="0">
                          <a:effectLst/>
                        </a:rPr>
                        <a:t>Tahmini Yıllık Elektronik Fatura Artış Oranı</a:t>
                      </a:r>
                    </a:p>
                  </a:txBody>
                  <a:tcPr marL="68580" marR="68580" marT="0" marB="0">
                    <a:cell3D prstMaterial="dkEdge">
                      <a:bevel/>
                      <a:lightRig rig="flood" dir="t"/>
                    </a:cell3D>
                  </a:tcPr>
                </a:tc>
                <a:tc hMerge="1">
                  <a:txBody>
                    <a:bodyPr/>
                    <a:lstStyle/>
                    <a:p>
                      <a:endParaRPr lang="tr-TR"/>
                    </a:p>
                  </a:txBody>
                  <a:tcPr/>
                </a:tc>
              </a:tr>
              <a:tr h="715404">
                <a:tc>
                  <a:txBody>
                    <a:bodyPr/>
                    <a:lstStyle/>
                    <a:p>
                      <a:pPr algn="ctr">
                        <a:lnSpc>
                          <a:spcPct val="115000"/>
                        </a:lnSpc>
                        <a:spcAft>
                          <a:spcPts val="0"/>
                        </a:spcAft>
                      </a:pPr>
                      <a:endParaRPr lang="tr-TR" sz="1600" dirty="0" smtClean="0">
                        <a:effectLst/>
                      </a:endParaRPr>
                    </a:p>
                    <a:p>
                      <a:pPr algn="ctr">
                        <a:lnSpc>
                          <a:spcPct val="115000"/>
                        </a:lnSpc>
                        <a:spcAft>
                          <a:spcPts val="0"/>
                        </a:spcAft>
                      </a:pPr>
                      <a:r>
                        <a:rPr lang="tr-TR" sz="1600" dirty="0" smtClean="0">
                          <a:effectLst/>
                        </a:rPr>
                        <a:t>Dünya</a:t>
                      </a:r>
                      <a:endParaRPr lang="tr-TR" sz="1600" b="1" dirty="0">
                        <a:solidFill>
                          <a:schemeClr val="bg1"/>
                        </a:solidFill>
                        <a:effectLst/>
                        <a:latin typeface="+mn-lt"/>
                        <a:ea typeface="Calibri"/>
                        <a:cs typeface="Times New Roman"/>
                      </a:endParaRPr>
                    </a:p>
                  </a:txBody>
                  <a:tcPr marL="68580" marR="68580" marT="0" marB="0">
                    <a:cell3D prstMaterial="dkEdge">
                      <a:bevel/>
                      <a:lightRig rig="flood" dir="t"/>
                    </a:cell3D>
                  </a:tcPr>
                </a:tc>
                <a:tc>
                  <a:txBody>
                    <a:bodyPr/>
                    <a:lstStyle/>
                    <a:p>
                      <a:pPr algn="ctr">
                        <a:lnSpc>
                          <a:spcPct val="115000"/>
                        </a:lnSpc>
                        <a:spcAft>
                          <a:spcPts val="0"/>
                        </a:spcAft>
                      </a:pPr>
                      <a:endParaRPr lang="tr-TR" sz="1600" dirty="0" smtClean="0">
                        <a:effectLst/>
                      </a:endParaRPr>
                    </a:p>
                    <a:p>
                      <a:pPr algn="ctr">
                        <a:lnSpc>
                          <a:spcPct val="115000"/>
                        </a:lnSpc>
                        <a:spcAft>
                          <a:spcPts val="0"/>
                        </a:spcAft>
                      </a:pPr>
                      <a:r>
                        <a:rPr lang="tr-TR" sz="1600" b="1" dirty="0" smtClean="0">
                          <a:effectLst/>
                        </a:rPr>
                        <a:t>Avrupa</a:t>
                      </a:r>
                      <a:endParaRPr lang="tr-TR" sz="1600" b="1" dirty="0">
                        <a:solidFill>
                          <a:schemeClr val="bg1"/>
                        </a:solidFill>
                        <a:effectLst/>
                        <a:latin typeface="+mn-lt"/>
                        <a:ea typeface="Calibri"/>
                        <a:cs typeface="Times New Roman"/>
                      </a:endParaRPr>
                    </a:p>
                  </a:txBody>
                  <a:tcPr marL="68580" marR="68580" marT="0" marB="0">
                    <a:cell3D prstMaterial="dkEdge">
                      <a:bevel/>
                      <a:lightRig rig="flood" dir="t"/>
                    </a:cell3D>
                  </a:tcPr>
                </a:tc>
              </a:tr>
              <a:tr h="1757910">
                <a:tc>
                  <a:txBody>
                    <a:bodyPr/>
                    <a:lstStyle/>
                    <a:p>
                      <a:pPr marL="0" algn="ctr" defTabSz="914400" rtl="0" eaLnBrk="1" latinLnBrk="0" hangingPunct="1">
                        <a:lnSpc>
                          <a:spcPct val="115000"/>
                        </a:lnSpc>
                        <a:spcAft>
                          <a:spcPts val="0"/>
                        </a:spcAft>
                      </a:pPr>
                      <a:endParaRPr lang="tr-TR" sz="2000" kern="1200" dirty="0" smtClean="0">
                        <a:solidFill>
                          <a:schemeClr val="dk1"/>
                        </a:solidFill>
                        <a:effectLst/>
                        <a:latin typeface="+mn-lt"/>
                        <a:ea typeface="+mn-ea"/>
                        <a:cs typeface="+mn-cs"/>
                      </a:endParaRPr>
                    </a:p>
                    <a:p>
                      <a:pPr marL="0" algn="ctr" defTabSz="914400" rtl="0" eaLnBrk="1" latinLnBrk="0" hangingPunct="1">
                        <a:lnSpc>
                          <a:spcPct val="115000"/>
                        </a:lnSpc>
                        <a:spcAft>
                          <a:spcPts val="0"/>
                        </a:spcAft>
                      </a:pPr>
                      <a:endParaRPr lang="tr-TR" sz="2000" kern="1200" dirty="0" smtClean="0">
                        <a:solidFill>
                          <a:schemeClr val="dk1"/>
                        </a:solidFill>
                        <a:effectLst/>
                        <a:latin typeface="+mn-lt"/>
                        <a:ea typeface="+mn-ea"/>
                        <a:cs typeface="+mn-cs"/>
                      </a:endParaRPr>
                    </a:p>
                    <a:p>
                      <a:pPr marL="0" algn="ctr" defTabSz="914400" rtl="0" eaLnBrk="1" latinLnBrk="0" hangingPunct="1">
                        <a:lnSpc>
                          <a:spcPct val="115000"/>
                        </a:lnSpc>
                        <a:spcAft>
                          <a:spcPts val="0"/>
                        </a:spcAft>
                      </a:pPr>
                      <a:r>
                        <a:rPr lang="tr-TR" sz="2000" b="1" kern="1200" dirty="0" smtClean="0">
                          <a:solidFill>
                            <a:schemeClr val="dk1"/>
                          </a:solidFill>
                          <a:effectLst/>
                          <a:latin typeface="+mn-lt"/>
                          <a:ea typeface="+mn-ea"/>
                          <a:cs typeface="+mn-cs"/>
                        </a:rPr>
                        <a:t>%20</a:t>
                      </a:r>
                    </a:p>
                  </a:txBody>
                  <a:tcPr marL="68580" marR="68580" marT="0" marB="0">
                    <a:cell3D prstMaterial="dkEdge">
                      <a:bevel/>
                      <a:lightRig rig="flood" dir="t"/>
                    </a:cell3D>
                  </a:tcPr>
                </a:tc>
                <a:tc>
                  <a:txBody>
                    <a:bodyPr/>
                    <a:lstStyle/>
                    <a:p>
                      <a:pPr marL="0" algn="ctr" defTabSz="914400" rtl="0" eaLnBrk="1" latinLnBrk="0" hangingPunct="1">
                        <a:lnSpc>
                          <a:spcPct val="115000"/>
                        </a:lnSpc>
                        <a:spcAft>
                          <a:spcPts val="0"/>
                        </a:spcAft>
                      </a:pPr>
                      <a:endParaRPr lang="tr-TR" sz="2000" kern="1200" dirty="0" smtClean="0">
                        <a:solidFill>
                          <a:schemeClr val="dk1"/>
                        </a:solidFill>
                        <a:effectLst/>
                        <a:latin typeface="+mn-lt"/>
                        <a:ea typeface="+mn-ea"/>
                        <a:cs typeface="+mn-cs"/>
                      </a:endParaRPr>
                    </a:p>
                    <a:p>
                      <a:pPr marL="0" algn="ctr" defTabSz="914400" rtl="0" eaLnBrk="1" latinLnBrk="0" hangingPunct="1">
                        <a:lnSpc>
                          <a:spcPct val="115000"/>
                        </a:lnSpc>
                        <a:spcAft>
                          <a:spcPts val="0"/>
                        </a:spcAft>
                      </a:pPr>
                      <a:endParaRPr lang="tr-TR" sz="2000" kern="1200" dirty="0" smtClean="0">
                        <a:solidFill>
                          <a:schemeClr val="dk1"/>
                        </a:solidFill>
                        <a:effectLst/>
                        <a:latin typeface="+mn-lt"/>
                        <a:ea typeface="+mn-ea"/>
                        <a:cs typeface="+mn-cs"/>
                      </a:endParaRPr>
                    </a:p>
                    <a:p>
                      <a:pPr marL="0" algn="ctr" defTabSz="914400" rtl="0" eaLnBrk="1" latinLnBrk="0" hangingPunct="1">
                        <a:lnSpc>
                          <a:spcPct val="115000"/>
                        </a:lnSpc>
                        <a:spcAft>
                          <a:spcPts val="0"/>
                        </a:spcAft>
                      </a:pPr>
                      <a:r>
                        <a:rPr lang="tr-TR" sz="2000" b="1" kern="1200" dirty="0" smtClean="0">
                          <a:solidFill>
                            <a:schemeClr val="dk1"/>
                          </a:solidFill>
                          <a:effectLst/>
                          <a:latin typeface="+mn-lt"/>
                          <a:ea typeface="+mn-ea"/>
                          <a:cs typeface="+mn-cs"/>
                        </a:rPr>
                        <a:t>%30</a:t>
                      </a:r>
                    </a:p>
                    <a:p>
                      <a:pPr marL="0" algn="ctr" defTabSz="914400" rtl="0" eaLnBrk="1" latinLnBrk="0" hangingPunct="1">
                        <a:lnSpc>
                          <a:spcPct val="115000"/>
                        </a:lnSpc>
                        <a:spcAft>
                          <a:spcPts val="0"/>
                        </a:spcAft>
                      </a:pPr>
                      <a:endParaRPr lang="tr-TR" sz="2000" kern="1200" dirty="0" smtClean="0">
                        <a:solidFill>
                          <a:schemeClr val="dk1"/>
                        </a:solidFill>
                        <a:effectLst/>
                        <a:latin typeface="+mn-lt"/>
                        <a:ea typeface="+mn-ea"/>
                        <a:cs typeface="+mn-cs"/>
                      </a:endParaRPr>
                    </a:p>
                  </a:txBody>
                  <a:tcPr marL="68580" marR="68580" marT="0" marB="0">
                    <a:cell3D prstMaterial="dkEdge">
                      <a:bevel/>
                      <a:lightRig rig="flood" dir="t"/>
                    </a:cell3D>
                  </a:tcPr>
                </a:tc>
              </a:tr>
            </a:tbl>
          </a:graphicData>
        </a:graphic>
      </p:graphicFrame>
      <p:sp>
        <p:nvSpPr>
          <p:cNvPr id="9" name="Metin kutusu 8"/>
          <p:cNvSpPr txBox="1"/>
          <p:nvPr/>
        </p:nvSpPr>
        <p:spPr>
          <a:xfrm>
            <a:off x="2015716" y="707833"/>
            <a:ext cx="5112568" cy="523220"/>
          </a:xfrm>
          <a:prstGeom prst="rect">
            <a:avLst/>
          </a:prstGeom>
          <a:noFill/>
        </p:spPr>
        <p:txBody>
          <a:bodyPr wrap="square" rtlCol="0">
            <a:spAutoFit/>
          </a:bodyPr>
          <a:lstStyle/>
          <a:p>
            <a:pPr algn="ctr"/>
            <a:r>
              <a:rPr lang="tr-TR" sz="2800" b="1" dirty="0" smtClean="0">
                <a:solidFill>
                  <a:schemeClr val="tx2">
                    <a:lumMod val="50000"/>
                  </a:schemeClr>
                </a:solidFill>
                <a:latin typeface="+mj-lt"/>
              </a:rPr>
              <a:t>RAKAMLARLA E-FATURA</a:t>
            </a:r>
            <a:endParaRPr lang="tr-TR" sz="2800" b="1" dirty="0">
              <a:solidFill>
                <a:schemeClr val="tx2">
                  <a:lumMod val="50000"/>
                </a:schemeClr>
              </a:solidFill>
              <a:latin typeface="+mj-lt"/>
            </a:endParaRPr>
          </a:p>
        </p:txBody>
      </p:sp>
      <p:sp>
        <p:nvSpPr>
          <p:cNvPr id="10" name="Metin kutusu 9"/>
          <p:cNvSpPr txBox="1"/>
          <p:nvPr/>
        </p:nvSpPr>
        <p:spPr>
          <a:xfrm>
            <a:off x="504285" y="5631475"/>
            <a:ext cx="2448272" cy="369332"/>
          </a:xfrm>
          <a:prstGeom prst="rect">
            <a:avLst/>
          </a:prstGeom>
          <a:noFill/>
        </p:spPr>
        <p:txBody>
          <a:bodyPr wrap="square" rtlCol="0">
            <a:spAutoFit/>
          </a:bodyPr>
          <a:lstStyle/>
          <a:p>
            <a:r>
              <a:rPr lang="tr-TR" dirty="0" smtClean="0"/>
              <a:t>Kaynak: </a:t>
            </a:r>
            <a:r>
              <a:rPr lang="tr-TR" dirty="0" err="1" smtClean="0"/>
              <a:t>Billentis</a:t>
            </a:r>
            <a:r>
              <a:rPr lang="tr-TR" dirty="0" smtClean="0"/>
              <a:t> 2013</a:t>
            </a:r>
            <a:endParaRPr lang="tr-TR" dirty="0"/>
          </a:p>
        </p:txBody>
      </p:sp>
    </p:spTree>
    <p:extLst>
      <p:ext uri="{BB962C8B-B14F-4D97-AF65-F5344CB8AC3E}">
        <p14:creationId xmlns:p14="http://schemas.microsoft.com/office/powerpoint/2010/main" val="95828025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100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1500"/>
                            </p:stCondLst>
                            <p:childTnLst>
                              <p:par>
                                <p:cTn id="9" presetID="10" presetClass="entr" presetSubtype="0" fill="hold" nodeType="afterEffect">
                                  <p:stCondLst>
                                    <p:cond delay="150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par>
                          <p:cTn id="12" fill="hold">
                            <p:stCondLst>
                              <p:cond delay="3500"/>
                            </p:stCondLst>
                            <p:childTnLst>
                              <p:par>
                                <p:cTn id="13" presetID="1" presetClass="entr" presetSubtype="0" fill="hold" nodeType="afterEffect">
                                  <p:stCondLst>
                                    <p:cond delay="1500"/>
                                  </p:stCondLst>
                                  <p:childTnLst>
                                    <p:set>
                                      <p:cBhvr>
                                        <p:cTn id="14" dur="1" fill="hold">
                                          <p:stCondLst>
                                            <p:cond delay="0"/>
                                          </p:stCondLst>
                                        </p:cTn>
                                        <p:tgtEl>
                                          <p:spTgt spid="7"/>
                                        </p:tgtEl>
                                        <p:attrNameLst>
                                          <p:attrName>style.visibility</p:attrName>
                                        </p:attrNameLst>
                                      </p:cBhvr>
                                      <p:to>
                                        <p:strVal val="visible"/>
                                      </p:to>
                                    </p:set>
                                  </p:childTnLst>
                                </p:cTn>
                              </p:par>
                            </p:childTnLst>
                          </p:cTn>
                        </p:par>
                        <p:par>
                          <p:cTn id="15" fill="hold">
                            <p:stCondLst>
                              <p:cond delay="5000"/>
                            </p:stCondLst>
                            <p:childTnLst>
                              <p:par>
                                <p:cTn id="16" presetID="10" presetClass="entr" presetSubtype="0" fill="hold" grpId="0" nodeType="after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fade">
                                      <p:cBhvr>
                                        <p:cTn id="18"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etin kutusu 1"/>
          <p:cNvSpPr txBox="1"/>
          <p:nvPr/>
        </p:nvSpPr>
        <p:spPr>
          <a:xfrm>
            <a:off x="1907704" y="1124744"/>
            <a:ext cx="288032" cy="369332"/>
          </a:xfrm>
          <a:prstGeom prst="rect">
            <a:avLst/>
          </a:prstGeom>
          <a:noFill/>
        </p:spPr>
        <p:txBody>
          <a:bodyPr wrap="square" rtlCol="0">
            <a:spAutoFit/>
          </a:bodyPr>
          <a:lstStyle/>
          <a:p>
            <a:endParaRPr lang="tr-TR" dirty="0"/>
          </a:p>
        </p:txBody>
      </p:sp>
      <p:sp>
        <p:nvSpPr>
          <p:cNvPr id="5" name="Metin kutusu 4"/>
          <p:cNvSpPr txBox="1"/>
          <p:nvPr/>
        </p:nvSpPr>
        <p:spPr>
          <a:xfrm>
            <a:off x="1043608" y="548680"/>
            <a:ext cx="288032" cy="369332"/>
          </a:xfrm>
          <a:prstGeom prst="rect">
            <a:avLst/>
          </a:prstGeom>
          <a:noFill/>
        </p:spPr>
        <p:txBody>
          <a:bodyPr wrap="square" rtlCol="0">
            <a:spAutoFit/>
          </a:bodyPr>
          <a:lstStyle/>
          <a:p>
            <a:endParaRPr lang="tr-TR" dirty="0"/>
          </a:p>
        </p:txBody>
      </p:sp>
      <p:sp>
        <p:nvSpPr>
          <p:cNvPr id="6" name="Metin kutusu 5"/>
          <p:cNvSpPr txBox="1"/>
          <p:nvPr/>
        </p:nvSpPr>
        <p:spPr>
          <a:xfrm>
            <a:off x="1196008" y="701080"/>
            <a:ext cx="288032" cy="369332"/>
          </a:xfrm>
          <a:prstGeom prst="rect">
            <a:avLst/>
          </a:prstGeom>
          <a:noFill/>
        </p:spPr>
        <p:txBody>
          <a:bodyPr wrap="square" rtlCol="0">
            <a:spAutoFit/>
          </a:bodyPr>
          <a:lstStyle/>
          <a:p>
            <a:endParaRPr lang="tr-TR" dirty="0"/>
          </a:p>
        </p:txBody>
      </p:sp>
      <p:sp>
        <p:nvSpPr>
          <p:cNvPr id="7" name="Metin kutusu 6"/>
          <p:cNvSpPr txBox="1"/>
          <p:nvPr/>
        </p:nvSpPr>
        <p:spPr>
          <a:xfrm>
            <a:off x="1348408" y="853480"/>
            <a:ext cx="288032" cy="369332"/>
          </a:xfrm>
          <a:prstGeom prst="rect">
            <a:avLst/>
          </a:prstGeom>
          <a:noFill/>
        </p:spPr>
        <p:txBody>
          <a:bodyPr wrap="square" rtlCol="0">
            <a:spAutoFit/>
          </a:bodyPr>
          <a:lstStyle/>
          <a:p>
            <a:endParaRPr lang="tr-TR" dirty="0"/>
          </a:p>
        </p:txBody>
      </p:sp>
      <p:sp>
        <p:nvSpPr>
          <p:cNvPr id="8" name="Metin kutusu 7"/>
          <p:cNvSpPr txBox="1"/>
          <p:nvPr/>
        </p:nvSpPr>
        <p:spPr>
          <a:xfrm>
            <a:off x="1500808" y="1005880"/>
            <a:ext cx="288032" cy="369332"/>
          </a:xfrm>
          <a:prstGeom prst="rect">
            <a:avLst/>
          </a:prstGeom>
          <a:noFill/>
        </p:spPr>
        <p:txBody>
          <a:bodyPr wrap="square" rtlCol="0">
            <a:spAutoFit/>
          </a:bodyPr>
          <a:lstStyle/>
          <a:p>
            <a:endParaRPr lang="tr-TR" dirty="0"/>
          </a:p>
        </p:txBody>
      </p:sp>
      <p:sp>
        <p:nvSpPr>
          <p:cNvPr id="9" name="Metin kutusu 8"/>
          <p:cNvSpPr txBox="1"/>
          <p:nvPr/>
        </p:nvSpPr>
        <p:spPr>
          <a:xfrm>
            <a:off x="1653208" y="1158280"/>
            <a:ext cx="288032" cy="369332"/>
          </a:xfrm>
          <a:prstGeom prst="rect">
            <a:avLst/>
          </a:prstGeom>
          <a:noFill/>
        </p:spPr>
        <p:txBody>
          <a:bodyPr wrap="square" rtlCol="0">
            <a:spAutoFit/>
          </a:bodyPr>
          <a:lstStyle/>
          <a:p>
            <a:endParaRPr lang="tr-TR" dirty="0"/>
          </a:p>
        </p:txBody>
      </p:sp>
      <p:sp>
        <p:nvSpPr>
          <p:cNvPr id="10" name="Metin kutusu 9"/>
          <p:cNvSpPr txBox="1"/>
          <p:nvPr/>
        </p:nvSpPr>
        <p:spPr>
          <a:xfrm>
            <a:off x="1805608" y="1310680"/>
            <a:ext cx="288032" cy="369332"/>
          </a:xfrm>
          <a:prstGeom prst="rect">
            <a:avLst/>
          </a:prstGeom>
          <a:noFill/>
        </p:spPr>
        <p:txBody>
          <a:bodyPr wrap="square" rtlCol="0">
            <a:spAutoFit/>
          </a:bodyPr>
          <a:lstStyle/>
          <a:p>
            <a:endParaRPr lang="tr-TR" dirty="0"/>
          </a:p>
        </p:txBody>
      </p:sp>
      <p:sp>
        <p:nvSpPr>
          <p:cNvPr id="11" name="Metin kutusu 10"/>
          <p:cNvSpPr txBox="1"/>
          <p:nvPr/>
        </p:nvSpPr>
        <p:spPr>
          <a:xfrm>
            <a:off x="1958008" y="1463080"/>
            <a:ext cx="288032" cy="369332"/>
          </a:xfrm>
          <a:prstGeom prst="rect">
            <a:avLst/>
          </a:prstGeom>
          <a:noFill/>
        </p:spPr>
        <p:txBody>
          <a:bodyPr wrap="square" rtlCol="0">
            <a:spAutoFit/>
          </a:bodyPr>
          <a:lstStyle/>
          <a:p>
            <a:endParaRPr lang="tr-TR" dirty="0"/>
          </a:p>
        </p:txBody>
      </p:sp>
      <p:sp>
        <p:nvSpPr>
          <p:cNvPr id="12" name="Metin kutusu 11"/>
          <p:cNvSpPr txBox="1"/>
          <p:nvPr/>
        </p:nvSpPr>
        <p:spPr>
          <a:xfrm>
            <a:off x="2002331" y="548680"/>
            <a:ext cx="288032" cy="369332"/>
          </a:xfrm>
          <a:prstGeom prst="rect">
            <a:avLst/>
          </a:prstGeom>
          <a:noFill/>
        </p:spPr>
        <p:txBody>
          <a:bodyPr wrap="square" rtlCol="0">
            <a:spAutoFit/>
          </a:bodyPr>
          <a:lstStyle/>
          <a:p>
            <a:endParaRPr lang="tr-TR" dirty="0"/>
          </a:p>
        </p:txBody>
      </p:sp>
      <p:graphicFrame>
        <p:nvGraphicFramePr>
          <p:cNvPr id="15" name="Grafik 14"/>
          <p:cNvGraphicFramePr/>
          <p:nvPr>
            <p:extLst>
              <p:ext uri="{D42A27DB-BD31-4B8C-83A1-F6EECF244321}">
                <p14:modId xmlns:p14="http://schemas.microsoft.com/office/powerpoint/2010/main" val="1758522727"/>
              </p:ext>
            </p:extLst>
          </p:nvPr>
        </p:nvGraphicFramePr>
        <p:xfrm>
          <a:off x="1612497" y="1310680"/>
          <a:ext cx="6096000" cy="4064000"/>
        </p:xfrm>
        <a:graphic>
          <a:graphicData uri="http://schemas.openxmlformats.org/drawingml/2006/chart">
            <c:chart xmlns:c="http://schemas.openxmlformats.org/drawingml/2006/chart" xmlns:r="http://schemas.openxmlformats.org/officeDocument/2006/relationships" r:id="rId2"/>
          </a:graphicData>
        </a:graphic>
      </p:graphicFrame>
      <p:sp>
        <p:nvSpPr>
          <p:cNvPr id="3" name="Metin kutusu 2"/>
          <p:cNvSpPr txBox="1"/>
          <p:nvPr/>
        </p:nvSpPr>
        <p:spPr>
          <a:xfrm>
            <a:off x="894841" y="51773"/>
            <a:ext cx="7354319" cy="954107"/>
          </a:xfrm>
          <a:prstGeom prst="rect">
            <a:avLst/>
          </a:prstGeom>
          <a:noFill/>
        </p:spPr>
        <p:txBody>
          <a:bodyPr wrap="square" rtlCol="0">
            <a:spAutoFit/>
          </a:bodyPr>
          <a:lstStyle/>
          <a:p>
            <a:pPr algn="ctr"/>
            <a:r>
              <a:rPr lang="tr-TR" sz="2800" b="1" dirty="0">
                <a:solidFill>
                  <a:schemeClr val="tx2">
                    <a:lumMod val="50000"/>
                  </a:schemeClr>
                </a:solidFill>
                <a:latin typeface="+mj-lt"/>
              </a:rPr>
              <a:t>AVRUPA’DA E- FATURA KULLANIM ORANI </a:t>
            </a:r>
          </a:p>
          <a:p>
            <a:pPr algn="ctr"/>
            <a:r>
              <a:rPr lang="tr-TR" sz="2800" b="1" dirty="0">
                <a:solidFill>
                  <a:schemeClr val="tx2">
                    <a:lumMod val="50000"/>
                  </a:schemeClr>
                </a:solidFill>
                <a:latin typeface="+mj-lt"/>
              </a:rPr>
              <a:t>(B2B ve B2G) </a:t>
            </a:r>
          </a:p>
        </p:txBody>
      </p:sp>
      <p:sp>
        <p:nvSpPr>
          <p:cNvPr id="4" name="Metin kutusu 3"/>
          <p:cNvSpPr txBox="1"/>
          <p:nvPr/>
        </p:nvSpPr>
        <p:spPr>
          <a:xfrm>
            <a:off x="1631721" y="5445224"/>
            <a:ext cx="1800200" cy="369332"/>
          </a:xfrm>
          <a:prstGeom prst="rect">
            <a:avLst/>
          </a:prstGeom>
          <a:noFill/>
        </p:spPr>
        <p:txBody>
          <a:bodyPr wrap="square" rtlCol="0">
            <a:spAutoFit/>
          </a:bodyPr>
          <a:lstStyle/>
          <a:p>
            <a:r>
              <a:rPr lang="tr-TR" dirty="0" err="1" smtClean="0"/>
              <a:t>Billentis</a:t>
            </a:r>
            <a:r>
              <a:rPr lang="tr-TR" dirty="0" smtClean="0"/>
              <a:t> 2013</a:t>
            </a:r>
            <a:endParaRPr lang="tr-TR" dirty="0"/>
          </a:p>
        </p:txBody>
      </p:sp>
    </p:spTree>
    <p:extLst>
      <p:ext uri="{BB962C8B-B14F-4D97-AF65-F5344CB8AC3E}">
        <p14:creationId xmlns:p14="http://schemas.microsoft.com/office/powerpoint/2010/main" val="18627247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wipe(left)">
                                      <p:cBhvr>
                                        <p:cTn id="7" dur="500"/>
                                        <p:tgtEl>
                                          <p:spTgt spid="15"/>
                                        </p:tgtEl>
                                      </p:cBhvr>
                                    </p:animEffect>
                                  </p:childTnLst>
                                </p:cTn>
                              </p:par>
                              <p:par>
                                <p:cTn id="8" presetID="1"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5" grpId="0">
        <p:bldAsOne/>
      </p:bldGraphic>
      <p:bldP spid="4"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Arc 38"/>
          <p:cNvSpPr/>
          <p:nvPr/>
        </p:nvSpPr>
        <p:spPr>
          <a:xfrm>
            <a:off x="-9156700" y="3009900"/>
            <a:ext cx="18300700" cy="7715250"/>
          </a:xfrm>
          <a:prstGeom prst="arc">
            <a:avLst>
              <a:gd name="adj1" fmla="val 16197650"/>
              <a:gd name="adj2" fmla="val 7945"/>
            </a:avLst>
          </a:prstGeom>
          <a:solidFill>
            <a:schemeClr val="tx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0" name="Arc 39"/>
          <p:cNvSpPr/>
          <p:nvPr/>
        </p:nvSpPr>
        <p:spPr>
          <a:xfrm>
            <a:off x="-5448300" y="3187700"/>
            <a:ext cx="10896600" cy="7340600"/>
          </a:xfrm>
          <a:prstGeom prst="arc">
            <a:avLst>
              <a:gd name="adj1" fmla="val 16201078"/>
              <a:gd name="adj2" fmla="val 7125"/>
            </a:avLst>
          </a:prstGeom>
          <a:solidFill>
            <a:schemeClr val="bg1"/>
          </a:solidFill>
          <a:ln w="85725" cap="flat" cmpd="sng" algn="ctr">
            <a:no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nb-NO">
              <a:ea typeface="ＭＳ Ｐゴシック" pitchFamily="-109" charset="-128"/>
            </a:endParaRPr>
          </a:p>
        </p:txBody>
      </p:sp>
      <p:pic>
        <p:nvPicPr>
          <p:cNvPr id="8" name="Resim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5536" y="1052736"/>
            <a:ext cx="2998152" cy="2304256"/>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p:spPr>
      </p:pic>
      <p:pic>
        <p:nvPicPr>
          <p:cNvPr id="9" name="Resim 8"/>
          <p:cNvPicPr preferRelativeResize="0">
            <a:picLocks/>
          </p:cNvPicPr>
          <p:nvPr/>
        </p:nvPicPr>
        <p:blipFill>
          <a:blip r:embed="rId3">
            <a:extLst>
              <a:ext uri="{28A0092B-C50C-407E-A947-70E740481C1C}">
                <a14:useLocalDpi xmlns:a14="http://schemas.microsoft.com/office/drawing/2010/main" val="0"/>
              </a:ext>
            </a:extLst>
          </a:blip>
          <a:stretch>
            <a:fillRect/>
          </a:stretch>
        </p:blipFill>
        <p:spPr>
          <a:xfrm>
            <a:off x="1343080" y="1196752"/>
            <a:ext cx="2664296" cy="2448272"/>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p:spPr>
      </p:pic>
      <p:sp>
        <p:nvSpPr>
          <p:cNvPr id="6" name="TextBox 14"/>
          <p:cNvSpPr txBox="1"/>
          <p:nvPr/>
        </p:nvSpPr>
        <p:spPr>
          <a:xfrm>
            <a:off x="4094868" y="594255"/>
            <a:ext cx="4824536" cy="584775"/>
          </a:xfrm>
          <a:prstGeom prst="rect">
            <a:avLst/>
          </a:prstGeom>
          <a:noFill/>
        </p:spPr>
        <p:txBody>
          <a:bodyPr wrap="square" rtlCol="0">
            <a:spAutoFit/>
          </a:bodyPr>
          <a:lstStyle/>
          <a:p>
            <a:pPr lvl="0">
              <a:spcBef>
                <a:spcPct val="0"/>
              </a:spcBef>
              <a:defRPr/>
            </a:pPr>
            <a:r>
              <a:rPr lang="tr-TR" sz="3200" b="1" dirty="0" smtClean="0"/>
              <a:t>TÜRKİYE’ DE E-FATURA </a:t>
            </a:r>
            <a:endParaRPr lang="tr-TR" sz="3200" b="1" dirty="0"/>
          </a:p>
        </p:txBody>
      </p:sp>
      <p:pic>
        <p:nvPicPr>
          <p:cNvPr id="3" name="Resim 2"/>
          <p:cNvPicPr preferRelativeResize="0">
            <a:picLocks/>
          </p:cNvPicPr>
          <p:nvPr/>
        </p:nvPicPr>
        <p:blipFill>
          <a:blip r:embed="rId4">
            <a:extLst>
              <a:ext uri="{28A0092B-C50C-407E-A947-70E740481C1C}">
                <a14:useLocalDpi xmlns:a14="http://schemas.microsoft.com/office/drawing/2010/main" val="0"/>
              </a:ext>
            </a:extLst>
          </a:blip>
          <a:stretch>
            <a:fillRect/>
          </a:stretch>
        </p:blipFill>
        <p:spPr>
          <a:xfrm>
            <a:off x="2483768" y="1188476"/>
            <a:ext cx="3312368" cy="2736008"/>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p:spPr>
      </p:pic>
    </p:spTree>
    <p:extLst>
      <p:ext uri="{BB962C8B-B14F-4D97-AF65-F5344CB8AC3E}">
        <p14:creationId xmlns:p14="http://schemas.microsoft.com/office/powerpoint/2010/main" val="2247888285"/>
      </p:ext>
    </p:extLst>
  </p:cSld>
  <p:clrMapOvr>
    <a:masterClrMapping/>
  </p:clrMapOvr>
  <p:transition advClick="0" advTm="4000">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292" name="Group 97"/>
          <p:cNvGrpSpPr>
            <a:grpSpLocks/>
          </p:cNvGrpSpPr>
          <p:nvPr/>
        </p:nvGrpSpPr>
        <p:grpSpPr bwMode="auto">
          <a:xfrm>
            <a:off x="2805807" y="1431579"/>
            <a:ext cx="3566393" cy="525462"/>
            <a:chOff x="1618784" y="4258235"/>
            <a:chExt cx="6026150" cy="525090"/>
          </a:xfrm>
        </p:grpSpPr>
        <p:cxnSp>
          <p:nvCxnSpPr>
            <p:cNvPr id="99" name="Gewinkelte Verbindung 50"/>
            <p:cNvCxnSpPr/>
            <p:nvPr/>
          </p:nvCxnSpPr>
          <p:spPr bwMode="auto">
            <a:xfrm rot="5400000">
              <a:off x="2874456" y="3024772"/>
              <a:ext cx="502881" cy="3014225"/>
            </a:xfrm>
            <a:prstGeom prst="bentConnector3">
              <a:avLst>
                <a:gd name="adj1" fmla="val 50000"/>
              </a:avLst>
            </a:prstGeom>
            <a:ln w="9525">
              <a:solidFill>
                <a:srgbClr val="5F5F5F"/>
              </a:solidFill>
            </a:ln>
          </p:spPr>
          <p:style>
            <a:lnRef idx="1">
              <a:schemeClr val="accent1"/>
            </a:lnRef>
            <a:fillRef idx="0">
              <a:schemeClr val="accent1"/>
            </a:fillRef>
            <a:effectRef idx="0">
              <a:schemeClr val="accent1"/>
            </a:effectRef>
            <a:fontRef idx="minor">
              <a:schemeClr val="tx1"/>
            </a:fontRef>
          </p:style>
        </p:cxnSp>
        <p:cxnSp>
          <p:nvCxnSpPr>
            <p:cNvPr id="100" name="Gewinkelte Verbindung 54"/>
            <p:cNvCxnSpPr/>
            <p:nvPr/>
          </p:nvCxnSpPr>
          <p:spPr bwMode="auto">
            <a:xfrm rot="16200000" flipV="1">
              <a:off x="5887531" y="3022749"/>
              <a:ext cx="502881" cy="3011925"/>
            </a:xfrm>
            <a:prstGeom prst="bentConnector3">
              <a:avLst>
                <a:gd name="adj1" fmla="val 50000"/>
              </a:avLst>
            </a:prstGeom>
            <a:ln w="9525">
              <a:solidFill>
                <a:srgbClr val="5F5F5F"/>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p:nvCxnSpPr>
          <p:spPr>
            <a:xfrm>
              <a:off x="4331816" y="4258235"/>
              <a:ext cx="657565" cy="0"/>
            </a:xfrm>
            <a:prstGeom prst="line">
              <a:avLst/>
            </a:prstGeom>
            <a:ln w="9525">
              <a:solidFill>
                <a:srgbClr val="5F5F5F"/>
              </a:solidFill>
            </a:ln>
          </p:spPr>
          <p:style>
            <a:lnRef idx="1">
              <a:schemeClr val="accent1"/>
            </a:lnRef>
            <a:fillRef idx="0">
              <a:schemeClr val="accent1"/>
            </a:fillRef>
            <a:effectRef idx="0">
              <a:schemeClr val="accent1"/>
            </a:effectRef>
            <a:fontRef idx="minor">
              <a:schemeClr val="tx1"/>
            </a:fontRef>
          </p:style>
        </p:cxnSp>
      </p:grpSp>
      <p:grpSp>
        <p:nvGrpSpPr>
          <p:cNvPr id="12293" name="Group 14"/>
          <p:cNvGrpSpPr>
            <a:grpSpLocks/>
          </p:cNvGrpSpPr>
          <p:nvPr/>
        </p:nvGrpSpPr>
        <p:grpSpPr bwMode="auto">
          <a:xfrm>
            <a:off x="3131840" y="764703"/>
            <a:ext cx="3051769" cy="656378"/>
            <a:chOff x="3556001" y="2809547"/>
            <a:chExt cx="2719295" cy="522336"/>
          </a:xfrm>
          <a:solidFill>
            <a:schemeClr val="bg1">
              <a:lumMod val="85000"/>
            </a:schemeClr>
          </a:solidFill>
        </p:grpSpPr>
        <p:sp>
          <p:nvSpPr>
            <p:cNvPr id="9" name="Down Ribbon 8"/>
            <p:cNvSpPr>
              <a:spLocks noChangeArrowheads="1"/>
            </p:cNvSpPr>
            <p:nvPr/>
          </p:nvSpPr>
          <p:spPr bwMode="auto">
            <a:xfrm>
              <a:off x="3556001" y="2809547"/>
              <a:ext cx="2719295" cy="522336"/>
            </a:xfrm>
            <a:prstGeom prst="ribbon">
              <a:avLst>
                <a:gd name="adj1" fmla="val 16667"/>
                <a:gd name="adj2" fmla="val 74204"/>
              </a:avLst>
            </a:prstGeom>
            <a:grpFill/>
            <a:ln>
              <a:solidFill>
                <a:schemeClr val="bg1">
                  <a:lumMod val="65000"/>
                </a:schemeClr>
              </a:solidFill>
            </a:ln>
            <a:effectLst>
              <a:outerShdw blurRad="40000" dist="23000" dir="5400000" rotWithShape="0">
                <a:srgbClr val="808080">
                  <a:alpha val="34999"/>
                </a:srgbClr>
              </a:outerShdw>
            </a:effectLst>
            <a:extLst/>
          </p:spPr>
          <p:txBody>
            <a:bodyPr anchor="ctr"/>
            <a:lstStyle/>
            <a:p>
              <a:pPr algn="ctr"/>
              <a:endParaRPr lang="en-US">
                <a:solidFill>
                  <a:srgbClr val="FFFFFF"/>
                </a:solidFill>
                <a:latin typeface="Calibri" pitchFamily="34" charset="0"/>
              </a:endParaRPr>
            </a:p>
          </p:txBody>
        </p:sp>
        <p:sp>
          <p:nvSpPr>
            <p:cNvPr id="12328" name="TextBox 10"/>
            <p:cNvSpPr txBox="1">
              <a:spLocks noChangeArrowheads="1"/>
            </p:cNvSpPr>
            <p:nvPr/>
          </p:nvSpPr>
          <p:spPr bwMode="auto">
            <a:xfrm>
              <a:off x="4194750" y="2908827"/>
              <a:ext cx="1458360" cy="416371"/>
            </a:xfrm>
            <a:prstGeom prst="rect">
              <a:avLst/>
            </a:prstGeom>
            <a:grpFill/>
            <a:ln w="9525">
              <a:noFill/>
              <a:miter lim="800000"/>
              <a:headEnd/>
              <a:tailEnd/>
            </a:ln>
            <a:extLst/>
          </p:spPr>
          <p:txBody>
            <a:bodyPr wrap="none">
              <a:spAutoFit/>
            </a:bodyPr>
            <a:lstStyle>
              <a:lvl1pPr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pPr algn="ctr" eaLnBrk="1" hangingPunct="1"/>
              <a:r>
                <a:rPr lang="tr-TR" sz="2800" b="1" dirty="0" smtClean="0">
                  <a:latin typeface="Calibri" pitchFamily="34" charset="0"/>
                  <a:cs typeface="Calibri" pitchFamily="34" charset="0"/>
                </a:rPr>
                <a:t>E-FATURA</a:t>
              </a:r>
              <a:endParaRPr lang="en-US" sz="2800" b="1" dirty="0">
                <a:latin typeface="Calibri" pitchFamily="34" charset="0"/>
                <a:cs typeface="Calibri" pitchFamily="34" charset="0"/>
              </a:endParaRPr>
            </a:p>
          </p:txBody>
        </p:sp>
      </p:grpSp>
      <p:grpSp>
        <p:nvGrpSpPr>
          <p:cNvPr id="12294" name="Group 70"/>
          <p:cNvGrpSpPr>
            <a:grpSpLocks/>
          </p:cNvGrpSpPr>
          <p:nvPr/>
        </p:nvGrpSpPr>
        <p:grpSpPr bwMode="auto">
          <a:xfrm>
            <a:off x="1374775" y="2046857"/>
            <a:ext cx="3049588" cy="1454150"/>
            <a:chOff x="1374775" y="2982912"/>
            <a:chExt cx="3049200" cy="1454151"/>
          </a:xfrm>
        </p:grpSpPr>
        <p:grpSp>
          <p:nvGrpSpPr>
            <p:cNvPr id="12320" name="Group 61"/>
            <p:cNvGrpSpPr>
              <a:grpSpLocks/>
            </p:cNvGrpSpPr>
            <p:nvPr/>
          </p:nvGrpSpPr>
          <p:grpSpPr bwMode="auto">
            <a:xfrm>
              <a:off x="1375375" y="2987675"/>
              <a:ext cx="3048000" cy="1449388"/>
              <a:chOff x="1375375" y="2987675"/>
              <a:chExt cx="3048000" cy="1449388"/>
            </a:xfrm>
          </p:grpSpPr>
          <p:sp>
            <p:nvSpPr>
              <p:cNvPr id="17" name="Rounded Rectangle 16"/>
              <p:cNvSpPr>
                <a:spLocks noChangeArrowheads="1"/>
              </p:cNvSpPr>
              <p:nvPr/>
            </p:nvSpPr>
            <p:spPr bwMode="auto">
              <a:xfrm>
                <a:off x="1374775" y="2987674"/>
                <a:ext cx="3049200" cy="1449389"/>
              </a:xfrm>
              <a:prstGeom prst="roundRect">
                <a:avLst>
                  <a:gd name="adj" fmla="val 7653"/>
                </a:avLst>
              </a:prstGeom>
              <a:solidFill>
                <a:schemeClr val="bg1"/>
              </a:solidFill>
              <a:ln w="9525">
                <a:noFill/>
                <a:round/>
                <a:headEnd/>
                <a:tailEnd/>
              </a:ln>
              <a:effectLst>
                <a:outerShdw blurRad="95250" dist="38100" dir="2700000" algn="tl" rotWithShape="0">
                  <a:srgbClr val="808080">
                    <a:alpha val="42999"/>
                  </a:srgbClr>
                </a:outerShdw>
              </a:effectLst>
            </p:spPr>
            <p:txBody>
              <a:bodyPr anchor="ctr"/>
              <a:lstStyle/>
              <a:p>
                <a:pPr algn="ctr"/>
                <a:endParaRPr lang="en-US">
                  <a:solidFill>
                    <a:srgbClr val="FFFFFF"/>
                  </a:solidFill>
                  <a:latin typeface="Calibri" pitchFamily="34" charset="0"/>
                </a:endParaRPr>
              </a:p>
            </p:txBody>
          </p:sp>
          <p:sp>
            <p:nvSpPr>
              <p:cNvPr id="12324" name="Rounded Rectangle 60"/>
              <p:cNvSpPr>
                <a:spLocks noChangeArrowheads="1"/>
              </p:cNvSpPr>
              <p:nvPr/>
            </p:nvSpPr>
            <p:spPr bwMode="auto">
              <a:xfrm>
                <a:off x="1395410" y="2987674"/>
                <a:ext cx="3007929" cy="1449389"/>
              </a:xfrm>
              <a:prstGeom prst="roundRect">
                <a:avLst>
                  <a:gd name="adj" fmla="val 7653"/>
                </a:avLst>
              </a:prstGeom>
              <a:gradFill rotWithShape="1">
                <a:gsLst>
                  <a:gs pos="0">
                    <a:srgbClr val="E5DEDB"/>
                  </a:gs>
                  <a:gs pos="100000">
                    <a:schemeClr val="bg1">
                      <a:alpha val="0"/>
                    </a:schemeClr>
                  </a:gs>
                </a:gsLst>
                <a:lin ang="5400000"/>
              </a:gra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lang="en-US">
                  <a:solidFill>
                    <a:srgbClr val="FFFFFF"/>
                  </a:solidFill>
                  <a:latin typeface="Calibri" pitchFamily="34" charset="0"/>
                </a:endParaRPr>
              </a:p>
            </p:txBody>
          </p:sp>
        </p:grpSp>
        <p:sp>
          <p:nvSpPr>
            <p:cNvPr id="23" name="Round Same Side Corner Rectangle 22"/>
            <p:cNvSpPr/>
            <p:nvPr/>
          </p:nvSpPr>
          <p:spPr bwMode="auto">
            <a:xfrm>
              <a:off x="1374775" y="2982912"/>
              <a:ext cx="3049200" cy="374650"/>
            </a:xfrm>
            <a:prstGeom prst="round2SameRect">
              <a:avLst/>
            </a:pr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tr-TR" sz="2400" b="1" dirty="0" smtClean="0"/>
                <a:t>B2C</a:t>
              </a:r>
              <a:endParaRPr lang="en-US" sz="2400" b="1" dirty="0"/>
            </a:p>
          </p:txBody>
        </p:sp>
        <p:sp>
          <p:nvSpPr>
            <p:cNvPr id="12322" name="TextBox 23"/>
            <p:cNvSpPr txBox="1">
              <a:spLocks noChangeArrowheads="1"/>
            </p:cNvSpPr>
            <p:nvPr/>
          </p:nvSpPr>
          <p:spPr bwMode="auto">
            <a:xfrm>
              <a:off x="2011719" y="3430314"/>
              <a:ext cx="1767887"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pPr algn="ctr" eaLnBrk="1" hangingPunct="1"/>
              <a:r>
                <a:rPr lang="tr-TR" dirty="0" smtClean="0">
                  <a:latin typeface="Calibri" pitchFamily="34" charset="0"/>
                  <a:cs typeface="Calibri" pitchFamily="34" charset="0"/>
                </a:rPr>
                <a:t>Elektronik Fatura</a:t>
              </a:r>
            </a:p>
            <a:p>
              <a:pPr algn="ctr" eaLnBrk="1" hangingPunct="1"/>
              <a:r>
                <a:rPr lang="tr-TR" dirty="0" smtClean="0">
                  <a:latin typeface="Calibri" pitchFamily="34" charset="0"/>
                  <a:cs typeface="Calibri" pitchFamily="34" charset="0"/>
                </a:rPr>
                <a:t> Kayıt Sistemi</a:t>
              </a:r>
            </a:p>
            <a:p>
              <a:pPr algn="ctr" eaLnBrk="1" hangingPunct="1"/>
              <a:r>
                <a:rPr lang="tr-TR" dirty="0" smtClean="0">
                  <a:latin typeface="Calibri" pitchFamily="34" charset="0"/>
                  <a:cs typeface="Calibri" pitchFamily="34" charset="0"/>
                </a:rPr>
                <a:t>(EFKS)</a:t>
              </a:r>
              <a:endParaRPr lang="tr-TR" dirty="0">
                <a:latin typeface="Calibri" pitchFamily="34" charset="0"/>
                <a:cs typeface="Calibri" pitchFamily="34" charset="0"/>
              </a:endParaRPr>
            </a:p>
          </p:txBody>
        </p:sp>
      </p:grpSp>
      <p:grpSp>
        <p:nvGrpSpPr>
          <p:cNvPr id="12296" name="Group 71"/>
          <p:cNvGrpSpPr>
            <a:grpSpLocks/>
          </p:cNvGrpSpPr>
          <p:nvPr/>
        </p:nvGrpSpPr>
        <p:grpSpPr bwMode="auto">
          <a:xfrm>
            <a:off x="4786313" y="2046858"/>
            <a:ext cx="3049587" cy="1454150"/>
            <a:chOff x="1374775" y="2982912"/>
            <a:chExt cx="3049200" cy="1454151"/>
          </a:xfrm>
        </p:grpSpPr>
        <p:grpSp>
          <p:nvGrpSpPr>
            <p:cNvPr id="12315" name="Group 72"/>
            <p:cNvGrpSpPr>
              <a:grpSpLocks/>
            </p:cNvGrpSpPr>
            <p:nvPr/>
          </p:nvGrpSpPr>
          <p:grpSpPr bwMode="auto">
            <a:xfrm>
              <a:off x="1375375" y="2987675"/>
              <a:ext cx="3048000" cy="1449388"/>
              <a:chOff x="1375375" y="2987675"/>
              <a:chExt cx="3048000" cy="1449388"/>
            </a:xfrm>
          </p:grpSpPr>
          <p:sp>
            <p:nvSpPr>
              <p:cNvPr id="76" name="Rounded Rectangle 75"/>
              <p:cNvSpPr>
                <a:spLocks noChangeArrowheads="1"/>
              </p:cNvSpPr>
              <p:nvPr/>
            </p:nvSpPr>
            <p:spPr bwMode="auto">
              <a:xfrm>
                <a:off x="1374775" y="2987674"/>
                <a:ext cx="3049200" cy="1449389"/>
              </a:xfrm>
              <a:prstGeom prst="roundRect">
                <a:avLst>
                  <a:gd name="adj" fmla="val 7653"/>
                </a:avLst>
              </a:prstGeom>
              <a:solidFill>
                <a:schemeClr val="bg1"/>
              </a:solidFill>
              <a:ln w="9525">
                <a:noFill/>
                <a:round/>
                <a:headEnd/>
                <a:tailEnd/>
              </a:ln>
              <a:effectLst>
                <a:outerShdw blurRad="95250" dist="38100" dir="2700000" algn="tl" rotWithShape="0">
                  <a:srgbClr val="808080">
                    <a:alpha val="42999"/>
                  </a:srgbClr>
                </a:outerShdw>
              </a:effectLst>
            </p:spPr>
            <p:txBody>
              <a:bodyPr anchor="ctr"/>
              <a:lstStyle/>
              <a:p>
                <a:pPr algn="ctr"/>
                <a:endParaRPr lang="en-US">
                  <a:solidFill>
                    <a:srgbClr val="FFFFFF"/>
                  </a:solidFill>
                  <a:latin typeface="Calibri" pitchFamily="34" charset="0"/>
                </a:endParaRPr>
              </a:p>
            </p:txBody>
          </p:sp>
          <p:sp>
            <p:nvSpPr>
              <p:cNvPr id="12319" name="Rounded Rectangle 76"/>
              <p:cNvSpPr>
                <a:spLocks noChangeArrowheads="1"/>
              </p:cNvSpPr>
              <p:nvPr/>
            </p:nvSpPr>
            <p:spPr bwMode="auto">
              <a:xfrm>
                <a:off x="1395409" y="2987674"/>
                <a:ext cx="3007931" cy="1449389"/>
              </a:xfrm>
              <a:prstGeom prst="roundRect">
                <a:avLst>
                  <a:gd name="adj" fmla="val 7653"/>
                </a:avLst>
              </a:prstGeom>
              <a:gradFill rotWithShape="1">
                <a:gsLst>
                  <a:gs pos="0">
                    <a:srgbClr val="E5DEDB"/>
                  </a:gs>
                  <a:gs pos="100000">
                    <a:schemeClr val="bg1">
                      <a:alpha val="0"/>
                    </a:schemeClr>
                  </a:gs>
                </a:gsLst>
                <a:lin ang="5400000"/>
              </a:gra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lang="en-US">
                  <a:solidFill>
                    <a:srgbClr val="FFFFFF"/>
                  </a:solidFill>
                  <a:latin typeface="Calibri" pitchFamily="34" charset="0"/>
                </a:endParaRPr>
              </a:p>
            </p:txBody>
          </p:sp>
        </p:grpSp>
        <p:sp>
          <p:nvSpPr>
            <p:cNvPr id="74" name="Round Same Side Corner Rectangle 73"/>
            <p:cNvSpPr/>
            <p:nvPr/>
          </p:nvSpPr>
          <p:spPr bwMode="auto">
            <a:xfrm>
              <a:off x="1374775" y="2982912"/>
              <a:ext cx="3049200" cy="374650"/>
            </a:xfrm>
            <a:prstGeom prst="round2SameRect">
              <a:avLst/>
            </a:pr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tr-TR" sz="2400" b="1" dirty="0" smtClean="0"/>
                <a:t>B2B VE B2G </a:t>
              </a:r>
              <a:endParaRPr lang="en-US" sz="2400" b="1" dirty="0"/>
            </a:p>
          </p:txBody>
        </p:sp>
        <p:sp>
          <p:nvSpPr>
            <p:cNvPr id="12317" name="TextBox 23"/>
            <p:cNvSpPr txBox="1">
              <a:spLocks noChangeArrowheads="1"/>
            </p:cNvSpPr>
            <p:nvPr/>
          </p:nvSpPr>
          <p:spPr bwMode="auto">
            <a:xfrm>
              <a:off x="1957669" y="3512313"/>
              <a:ext cx="194015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pPr eaLnBrk="1" hangingPunct="1"/>
              <a:r>
                <a:rPr lang="tr-TR" dirty="0">
                  <a:latin typeface="Calibri" pitchFamily="34" charset="0"/>
                  <a:cs typeface="Calibri" pitchFamily="34" charset="0"/>
                </a:rPr>
                <a:t>e</a:t>
              </a:r>
              <a:r>
                <a:rPr lang="tr-TR" dirty="0" smtClean="0">
                  <a:latin typeface="Calibri" pitchFamily="34" charset="0"/>
                  <a:cs typeface="Calibri" pitchFamily="34" charset="0"/>
                </a:rPr>
                <a:t>-fatura </a:t>
              </a:r>
              <a:r>
                <a:rPr lang="tr-TR" sz="1600" dirty="0" smtClean="0">
                  <a:latin typeface="Calibri" pitchFamily="34" charset="0"/>
                  <a:cs typeface="Calibri" pitchFamily="34" charset="0"/>
                </a:rPr>
                <a:t>Uygulaması</a:t>
              </a:r>
              <a:endParaRPr lang="en-US" dirty="0">
                <a:latin typeface="Calibri" pitchFamily="34" charset="0"/>
                <a:cs typeface="Calibri" pitchFamily="34" charset="0"/>
              </a:endParaRPr>
            </a:p>
          </p:txBody>
        </p:sp>
      </p:grpSp>
      <p:grpSp>
        <p:nvGrpSpPr>
          <p:cNvPr id="12297" name="Group 79"/>
          <p:cNvGrpSpPr>
            <a:grpSpLocks/>
          </p:cNvGrpSpPr>
          <p:nvPr/>
        </p:nvGrpSpPr>
        <p:grpSpPr bwMode="auto">
          <a:xfrm>
            <a:off x="1711183" y="4098674"/>
            <a:ext cx="2163762" cy="1454150"/>
            <a:chOff x="1374775" y="2982912"/>
            <a:chExt cx="3049200" cy="1454151"/>
          </a:xfrm>
        </p:grpSpPr>
        <p:grpSp>
          <p:nvGrpSpPr>
            <p:cNvPr id="12310" name="Group 80"/>
            <p:cNvGrpSpPr>
              <a:grpSpLocks/>
            </p:cNvGrpSpPr>
            <p:nvPr/>
          </p:nvGrpSpPr>
          <p:grpSpPr bwMode="auto">
            <a:xfrm>
              <a:off x="1375375" y="2987675"/>
              <a:ext cx="3048000" cy="1449388"/>
              <a:chOff x="1375375" y="2987675"/>
              <a:chExt cx="3048000" cy="1449388"/>
            </a:xfrm>
          </p:grpSpPr>
          <p:sp>
            <p:nvSpPr>
              <p:cNvPr id="86" name="Rounded Rectangle 85"/>
              <p:cNvSpPr>
                <a:spLocks noChangeArrowheads="1"/>
              </p:cNvSpPr>
              <p:nvPr/>
            </p:nvSpPr>
            <p:spPr bwMode="auto">
              <a:xfrm>
                <a:off x="1374775" y="2987674"/>
                <a:ext cx="3049201" cy="1449389"/>
              </a:xfrm>
              <a:prstGeom prst="roundRect">
                <a:avLst>
                  <a:gd name="adj" fmla="val 7653"/>
                </a:avLst>
              </a:prstGeom>
              <a:solidFill>
                <a:schemeClr val="bg1"/>
              </a:solidFill>
              <a:ln w="9525">
                <a:noFill/>
                <a:round/>
                <a:headEnd/>
                <a:tailEnd/>
              </a:ln>
              <a:effectLst>
                <a:outerShdw blurRad="95250" dist="38100" dir="2700000" algn="tl" rotWithShape="0">
                  <a:srgbClr val="808080">
                    <a:alpha val="42999"/>
                  </a:srgbClr>
                </a:outerShdw>
              </a:effectLst>
            </p:spPr>
            <p:txBody>
              <a:bodyPr anchor="ctr"/>
              <a:lstStyle/>
              <a:p>
                <a:pPr algn="ctr"/>
                <a:endParaRPr lang="en-US">
                  <a:solidFill>
                    <a:srgbClr val="FFFFFF"/>
                  </a:solidFill>
                  <a:latin typeface="Calibri" pitchFamily="34" charset="0"/>
                </a:endParaRPr>
              </a:p>
            </p:txBody>
          </p:sp>
          <p:sp>
            <p:nvSpPr>
              <p:cNvPr id="12314" name="Rounded Rectangle 86"/>
              <p:cNvSpPr>
                <a:spLocks noChangeArrowheads="1"/>
              </p:cNvSpPr>
              <p:nvPr/>
            </p:nvSpPr>
            <p:spPr bwMode="auto">
              <a:xfrm>
                <a:off x="1394908" y="2987674"/>
                <a:ext cx="3008934" cy="1449389"/>
              </a:xfrm>
              <a:prstGeom prst="roundRect">
                <a:avLst>
                  <a:gd name="adj" fmla="val 7653"/>
                </a:avLst>
              </a:prstGeom>
              <a:gradFill rotWithShape="1">
                <a:gsLst>
                  <a:gs pos="0">
                    <a:srgbClr val="E5DEDB"/>
                  </a:gs>
                  <a:gs pos="100000">
                    <a:schemeClr val="bg1">
                      <a:alpha val="0"/>
                    </a:schemeClr>
                  </a:gs>
                </a:gsLst>
                <a:lin ang="5400000"/>
              </a:gra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lang="en-US">
                  <a:solidFill>
                    <a:srgbClr val="FFFFFF"/>
                  </a:solidFill>
                  <a:latin typeface="Calibri" pitchFamily="34" charset="0"/>
                </a:endParaRPr>
              </a:p>
            </p:txBody>
          </p:sp>
        </p:grpSp>
        <p:sp>
          <p:nvSpPr>
            <p:cNvPr id="84" name="Round Same Side Corner Rectangle 83"/>
            <p:cNvSpPr/>
            <p:nvPr/>
          </p:nvSpPr>
          <p:spPr bwMode="auto">
            <a:xfrm>
              <a:off x="1374775" y="2982912"/>
              <a:ext cx="3049200" cy="374650"/>
            </a:xfrm>
            <a:prstGeom prst="round2SameRect">
              <a:avLst/>
            </a:pr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tr-TR" sz="2400" b="1" dirty="0" smtClean="0"/>
                <a:t>e - Arşiv</a:t>
              </a:r>
              <a:endParaRPr lang="en-US" sz="2400" b="1" dirty="0"/>
            </a:p>
          </p:txBody>
        </p:sp>
        <p:sp>
          <p:nvSpPr>
            <p:cNvPr id="12312" name="TextBox 23"/>
            <p:cNvSpPr txBox="1">
              <a:spLocks noChangeArrowheads="1"/>
            </p:cNvSpPr>
            <p:nvPr/>
          </p:nvSpPr>
          <p:spPr bwMode="auto">
            <a:xfrm>
              <a:off x="1681064" y="3537374"/>
              <a:ext cx="2494705"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pPr algn="ctr" eaLnBrk="1" hangingPunct="1"/>
              <a:r>
                <a:rPr lang="tr-TR" dirty="0" smtClean="0">
                  <a:latin typeface="Calibri" pitchFamily="34" charset="0"/>
                  <a:cs typeface="Calibri" pitchFamily="34" charset="0"/>
                </a:rPr>
                <a:t>Elektronik Arşiv Uygulaması</a:t>
              </a:r>
              <a:endParaRPr lang="en-US" dirty="0">
                <a:latin typeface="Calibri" pitchFamily="34" charset="0"/>
                <a:cs typeface="Calibri" pitchFamily="34" charset="0"/>
              </a:endParaRPr>
            </a:p>
          </p:txBody>
        </p:sp>
      </p:grpSp>
      <p:cxnSp>
        <p:nvCxnSpPr>
          <p:cNvPr id="6" name="Düz Ok Bağlayıcısı 5"/>
          <p:cNvCxnSpPr/>
          <p:nvPr/>
        </p:nvCxnSpPr>
        <p:spPr>
          <a:xfrm>
            <a:off x="2805807" y="3492968"/>
            <a:ext cx="0" cy="504000"/>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96241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388" name="Gruppe 58"/>
          <p:cNvGrpSpPr>
            <a:grpSpLocks/>
          </p:cNvGrpSpPr>
          <p:nvPr/>
        </p:nvGrpSpPr>
        <p:grpSpPr bwMode="auto">
          <a:xfrm>
            <a:off x="688975" y="1276350"/>
            <a:ext cx="7758113" cy="2119313"/>
            <a:chOff x="4819650" y="4650278"/>
            <a:chExt cx="3905250" cy="2120415"/>
          </a:xfrm>
        </p:grpSpPr>
        <p:sp>
          <p:nvSpPr>
            <p:cNvPr id="46" name="Rektangel med enkelt afrundet hjørne 45"/>
            <p:cNvSpPr/>
            <p:nvPr/>
          </p:nvSpPr>
          <p:spPr>
            <a:xfrm rot="10800000" flipH="1">
              <a:off x="4819650" y="4743990"/>
              <a:ext cx="3903652" cy="2026703"/>
            </a:xfrm>
            <a:prstGeom prst="round1Rect">
              <a:avLst/>
            </a:prstGeom>
            <a:solidFill>
              <a:schemeClr val="bg1"/>
            </a:solidFill>
            <a:ln w="3175" cap="flat" cmpd="sng" algn="ctr">
              <a:solidFill>
                <a:schemeClr val="bg1">
                  <a:lumMod val="75000"/>
                </a:schemeClr>
              </a:solidFill>
              <a:prstDash val="solid"/>
            </a:ln>
            <a:effectLst>
              <a:outerShdw blurRad="50800" dist="38100" dir="2700000" algn="tl" rotWithShape="0">
                <a:prstClr val="black">
                  <a:alpha val="40000"/>
                </a:prstClr>
              </a:outerShdw>
            </a:effectLst>
          </p:spPr>
          <p:txBody>
            <a:bodyPr anchor="ctr"/>
            <a:lstStyle/>
            <a:p>
              <a:pPr algn="ctr" fontAlgn="auto">
                <a:spcBef>
                  <a:spcPts val="0"/>
                </a:spcBef>
                <a:spcAft>
                  <a:spcPts val="0"/>
                </a:spcAft>
                <a:defRPr/>
              </a:pPr>
              <a:endParaRPr lang="da-DK" kern="0">
                <a:solidFill>
                  <a:sysClr val="window" lastClr="FFFFFF"/>
                </a:solidFill>
                <a:latin typeface="Calibri"/>
              </a:endParaRPr>
            </a:p>
          </p:txBody>
        </p:sp>
        <p:sp>
          <p:nvSpPr>
            <p:cNvPr id="47" name="Rektangel 46"/>
            <p:cNvSpPr/>
            <p:nvPr/>
          </p:nvSpPr>
          <p:spPr>
            <a:xfrm>
              <a:off x="4819650" y="4650278"/>
              <a:ext cx="3905250" cy="131832"/>
            </a:xfrm>
            <a:prstGeom prst="rect">
              <a:avLst/>
            </a:prstGeom>
            <a:solidFill>
              <a:schemeClr val="tx2">
                <a:lumMod val="75000"/>
              </a:schemeClr>
            </a:solidFill>
            <a:ln w="9525" cap="flat" cmpd="sng" algn="ctr">
              <a:solidFill>
                <a:schemeClr val="bg1">
                  <a:lumMod val="65000"/>
                </a:schemeClr>
              </a:solidFill>
              <a:prstDash val="solid"/>
            </a:ln>
            <a:effectLst/>
          </p:spPr>
          <p:txBody>
            <a:bodyPr anchor="ctr"/>
            <a:lstStyle/>
            <a:p>
              <a:pPr algn="ctr" fontAlgn="auto">
                <a:spcBef>
                  <a:spcPts val="0"/>
                </a:spcBef>
                <a:spcAft>
                  <a:spcPts val="0"/>
                </a:spcAft>
                <a:defRPr/>
              </a:pPr>
              <a:endParaRPr lang="da-DK" kern="0">
                <a:solidFill>
                  <a:sysClr val="window" lastClr="FFFFFF"/>
                </a:solidFill>
                <a:latin typeface="Calibri"/>
              </a:endParaRPr>
            </a:p>
          </p:txBody>
        </p:sp>
      </p:grpSp>
      <p:sp>
        <p:nvSpPr>
          <p:cNvPr id="48" name="Rektangel 47"/>
          <p:cNvSpPr/>
          <p:nvPr/>
        </p:nvSpPr>
        <p:spPr bwMode="auto">
          <a:xfrm>
            <a:off x="830511" y="1700808"/>
            <a:ext cx="7471866" cy="1384995"/>
          </a:xfrm>
          <a:prstGeom prst="rect">
            <a:avLst/>
          </a:prstGeom>
        </p:spPr>
        <p:txBody>
          <a:bodyPr wrap="square">
            <a:spAutoFit/>
          </a:bodyPr>
          <a:lstStyle/>
          <a:p>
            <a:pPr marL="342900" indent="-342900">
              <a:buFont typeface="Arial" pitchFamily="34" charset="0"/>
              <a:buChar char="•"/>
            </a:pPr>
            <a:r>
              <a:rPr lang="tr-TR" sz="2000" dirty="0"/>
              <a:t>397 Sıra No.lu VUK Genel Tebliği ile getirilen uygulama, başlangıçta anonim ve </a:t>
            </a:r>
            <a:r>
              <a:rPr lang="tr-TR" sz="2000" dirty="0" err="1"/>
              <a:t>limited</a:t>
            </a:r>
            <a:r>
              <a:rPr lang="tr-TR" sz="2000" dirty="0"/>
              <a:t> şirketlerin kullanımına açılmıştır.</a:t>
            </a:r>
          </a:p>
          <a:p>
            <a:pPr marL="342900" indent="-342900">
              <a:buFont typeface="Arial" pitchFamily="34" charset="0"/>
              <a:buChar char="•"/>
            </a:pPr>
            <a:endParaRPr lang="tr-TR" sz="2000" dirty="0"/>
          </a:p>
          <a:p>
            <a:pPr fontAlgn="auto">
              <a:spcBef>
                <a:spcPts val="0"/>
              </a:spcBef>
              <a:spcAft>
                <a:spcPts val="0"/>
              </a:spcAft>
              <a:defRPr/>
            </a:pPr>
            <a:endParaRPr lang="da-DK" sz="2400" kern="0" dirty="0">
              <a:solidFill>
                <a:schemeClr val="bg2">
                  <a:lumMod val="10000"/>
                </a:schemeClr>
              </a:solidFill>
              <a:latin typeface="Arial" pitchFamily="34" charset="0"/>
            </a:endParaRPr>
          </a:p>
        </p:txBody>
      </p:sp>
      <p:grpSp>
        <p:nvGrpSpPr>
          <p:cNvPr id="16390" name="Gruppe 58"/>
          <p:cNvGrpSpPr>
            <a:grpSpLocks/>
          </p:cNvGrpSpPr>
          <p:nvPr/>
        </p:nvGrpSpPr>
        <p:grpSpPr bwMode="auto">
          <a:xfrm>
            <a:off x="688975" y="3595688"/>
            <a:ext cx="7758113" cy="2119312"/>
            <a:chOff x="4819650" y="4650278"/>
            <a:chExt cx="3905250" cy="2120415"/>
          </a:xfrm>
        </p:grpSpPr>
        <p:sp>
          <p:nvSpPr>
            <p:cNvPr id="29" name="Rektangel med enkelt afrundet hjørne 28"/>
            <p:cNvSpPr/>
            <p:nvPr/>
          </p:nvSpPr>
          <p:spPr>
            <a:xfrm rot="10800000" flipH="1">
              <a:off x="4819650" y="4743989"/>
              <a:ext cx="3903652" cy="2026704"/>
            </a:xfrm>
            <a:prstGeom prst="round1Rect">
              <a:avLst/>
            </a:prstGeom>
            <a:solidFill>
              <a:schemeClr val="bg1"/>
            </a:solidFill>
            <a:ln w="3175" cap="flat" cmpd="sng" algn="ctr">
              <a:solidFill>
                <a:schemeClr val="bg1">
                  <a:lumMod val="75000"/>
                </a:schemeClr>
              </a:solidFill>
              <a:prstDash val="solid"/>
            </a:ln>
            <a:effectLst>
              <a:outerShdw blurRad="50800" dist="38100" dir="2700000" algn="tl" rotWithShape="0">
                <a:prstClr val="black">
                  <a:alpha val="40000"/>
                </a:prstClr>
              </a:outerShdw>
            </a:effectLst>
          </p:spPr>
          <p:txBody>
            <a:bodyPr anchor="ctr"/>
            <a:lstStyle/>
            <a:p>
              <a:pPr algn="ctr" fontAlgn="auto">
                <a:spcBef>
                  <a:spcPts val="0"/>
                </a:spcBef>
                <a:spcAft>
                  <a:spcPts val="0"/>
                </a:spcAft>
                <a:defRPr/>
              </a:pPr>
              <a:endParaRPr lang="da-DK" kern="0">
                <a:solidFill>
                  <a:sysClr val="window" lastClr="FFFFFF"/>
                </a:solidFill>
                <a:latin typeface="Calibri"/>
              </a:endParaRPr>
            </a:p>
          </p:txBody>
        </p:sp>
        <p:sp>
          <p:nvSpPr>
            <p:cNvPr id="30" name="Rektangel 29"/>
            <p:cNvSpPr/>
            <p:nvPr/>
          </p:nvSpPr>
          <p:spPr>
            <a:xfrm>
              <a:off x="4819650" y="4650278"/>
              <a:ext cx="3905250" cy="131831"/>
            </a:xfrm>
            <a:prstGeom prst="rect">
              <a:avLst/>
            </a:prstGeom>
            <a:solidFill>
              <a:schemeClr val="tx2">
                <a:lumMod val="75000"/>
              </a:schemeClr>
            </a:solidFill>
            <a:ln w="9525" cap="flat" cmpd="sng" algn="ctr">
              <a:solidFill>
                <a:schemeClr val="bg1">
                  <a:lumMod val="65000"/>
                </a:schemeClr>
              </a:solidFill>
              <a:prstDash val="solid"/>
            </a:ln>
            <a:effectLst/>
          </p:spPr>
          <p:txBody>
            <a:bodyPr anchor="ctr"/>
            <a:lstStyle/>
            <a:p>
              <a:pPr algn="ctr" fontAlgn="auto">
                <a:spcBef>
                  <a:spcPts val="0"/>
                </a:spcBef>
                <a:spcAft>
                  <a:spcPts val="0"/>
                </a:spcAft>
                <a:defRPr/>
              </a:pPr>
              <a:endParaRPr lang="da-DK" kern="0">
                <a:solidFill>
                  <a:sysClr val="window" lastClr="FFFFFF"/>
                </a:solidFill>
                <a:latin typeface="Calibri"/>
              </a:endParaRPr>
            </a:p>
          </p:txBody>
        </p:sp>
      </p:grpSp>
      <p:sp>
        <p:nvSpPr>
          <p:cNvPr id="33" name="Rektangel 32"/>
          <p:cNvSpPr/>
          <p:nvPr/>
        </p:nvSpPr>
        <p:spPr bwMode="auto">
          <a:xfrm>
            <a:off x="830511" y="4163566"/>
            <a:ext cx="7457827" cy="1077218"/>
          </a:xfrm>
          <a:prstGeom prst="rect">
            <a:avLst/>
          </a:prstGeom>
        </p:spPr>
        <p:txBody>
          <a:bodyPr wrap="square">
            <a:spAutoFit/>
          </a:bodyPr>
          <a:lstStyle/>
          <a:p>
            <a:pPr marL="342900" indent="-342900">
              <a:buFont typeface="Arial" pitchFamily="34" charset="0"/>
              <a:buChar char="•"/>
            </a:pPr>
            <a:r>
              <a:rPr lang="tr-TR" sz="2000" dirty="0"/>
              <a:t>416 Sıra No.lu VUK Genel Tebliği ile gerçek kişi mükellefler uygulamaya katılmışlardır.</a:t>
            </a:r>
          </a:p>
          <a:p>
            <a:pPr fontAlgn="auto">
              <a:spcBef>
                <a:spcPts val="0"/>
              </a:spcBef>
              <a:spcAft>
                <a:spcPts val="0"/>
              </a:spcAft>
              <a:defRPr/>
            </a:pPr>
            <a:endParaRPr lang="da-DK" sz="2400" kern="0" dirty="0">
              <a:solidFill>
                <a:schemeClr val="bg2">
                  <a:lumMod val="10000"/>
                </a:schemeClr>
              </a:solidFill>
              <a:latin typeface="Arial" pitchFamily="34" charset="0"/>
            </a:endParaRPr>
          </a:p>
        </p:txBody>
      </p:sp>
      <p:sp>
        <p:nvSpPr>
          <p:cNvPr id="63" name="Başlık 1"/>
          <p:cNvSpPr txBox="1">
            <a:spLocks/>
          </p:cNvSpPr>
          <p:nvPr/>
        </p:nvSpPr>
        <p:spPr bwMode="gray">
          <a:xfrm>
            <a:off x="2123728" y="44624"/>
            <a:ext cx="5004395" cy="902169"/>
          </a:xfrm>
          <a:prstGeom prst="rect">
            <a:avLst/>
          </a:prstGeom>
        </p:spPr>
        <p:txBody>
          <a:bodyPr vert="horz" lIns="0" tIns="0" rIns="0" bIns="0" rtlCol="0" anchor="ctr">
            <a:normAutofit/>
          </a:bodyPr>
          <a:lstStyle>
            <a:lvl1pPr algn="l" defTabSz="914400" rtl="0" eaLnBrk="1" latinLnBrk="0" hangingPunct="1">
              <a:spcBef>
                <a:spcPct val="0"/>
              </a:spcBef>
              <a:buNone/>
              <a:defRPr sz="4800" b="1" kern="1200">
                <a:solidFill>
                  <a:schemeClr val="bg1"/>
                </a:solidFill>
                <a:latin typeface="+mj-lt"/>
                <a:ea typeface="+mj-ea"/>
                <a:cs typeface="+mj-cs"/>
              </a:defRPr>
            </a:lvl1pPr>
          </a:lstStyle>
          <a:p>
            <a:pPr algn="ctr">
              <a:defRPr/>
            </a:pPr>
            <a:r>
              <a:rPr lang="tr-TR" sz="3000" kern="0" dirty="0">
                <a:solidFill>
                  <a:schemeClr val="tx2">
                    <a:lumMod val="50000"/>
                  </a:schemeClr>
                </a:solidFill>
                <a:latin typeface="+mn-lt"/>
                <a:ea typeface="+mn-ea"/>
                <a:cs typeface="+mn-cs"/>
              </a:rPr>
              <a:t>E-FATURANIN KAPSAMI</a:t>
            </a:r>
          </a:p>
        </p:txBody>
      </p:sp>
      <p:pic>
        <p:nvPicPr>
          <p:cNvPr id="67" name="Picture 4" descr="D:\Users\bagriyanik_canan\Pictures\2\Apps-background-icon.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174238">
            <a:off x="6694006" y="4236347"/>
            <a:ext cx="2323750" cy="2685572"/>
          </a:xfrm>
          <a:prstGeom prst="roundRect">
            <a:avLst>
              <a:gd name="adj" fmla="val 16667"/>
            </a:avLst>
          </a:prstGeom>
          <a:ln>
            <a:noFill/>
          </a:ln>
          <a:effectLst>
            <a:outerShdw blurRad="152400" dist="12000" dir="900000" sy="98000" kx="110000" ky="200000" algn="tl" rotWithShape="0">
              <a:srgbClr val="000000">
                <a:alpha val="30000"/>
              </a:srgbClr>
            </a:outerShdw>
          </a:effectLst>
          <a:scene3d>
            <a:camera prst="perspectiveRelaxed">
              <a:rot lat="19800000" lon="1200000" rev="20820000"/>
            </a:camera>
            <a:lightRig rig="threePt" dir="t"/>
          </a:scene3d>
          <a:sp3d contourW="6350" prstMaterial="matte">
            <a:bevelT w="101600" h="101600"/>
            <a:contourClr>
              <a:srgbClr val="969696"/>
            </a:contourClr>
          </a:sp3d>
          <a:extLst>
            <a:ext uri="{909E8E84-426E-40DD-AFC4-6F175D3DCCD1}">
              <a14:hiddenFill xmlns:a14="http://schemas.microsoft.com/office/drawing/2010/main">
                <a:solidFill>
                  <a:srgbClr val="FFFFFF"/>
                </a:solidFill>
              </a14:hiddenFill>
            </a:ext>
          </a:extLst>
        </p:spPr>
      </p:pic>
      <p:pic>
        <p:nvPicPr>
          <p:cNvPr id="68" name="Picture 2"/>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 r="34145" b="36630"/>
          <a:stretch/>
        </p:blipFill>
        <p:spPr bwMode="auto">
          <a:xfrm rot="174238">
            <a:off x="6838334" y="4417601"/>
            <a:ext cx="2117326" cy="1771327"/>
          </a:xfrm>
          <a:prstGeom prst="roundRect">
            <a:avLst>
              <a:gd name="adj" fmla="val 16667"/>
            </a:avLst>
          </a:prstGeom>
          <a:ln>
            <a:noFill/>
          </a:ln>
          <a:effectLst>
            <a:outerShdw blurRad="152400" dist="12000" dir="900000" sy="98000" kx="110000" ky="200000" algn="tl" rotWithShape="0">
              <a:srgbClr val="000000">
                <a:alpha val="30000"/>
              </a:srgbClr>
            </a:outerShdw>
          </a:effectLst>
          <a:scene3d>
            <a:camera prst="perspectiveRelaxed">
              <a:rot lat="19800000" lon="1200000" rev="20820000"/>
            </a:camera>
            <a:lightRig rig="threePt" dir="t"/>
          </a:scene3d>
          <a:sp3d contourW="6350" prstMaterial="matte">
            <a:bevelT w="101600" h="101600"/>
            <a:contourClr>
              <a:srgbClr val="969696"/>
            </a:contourClr>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90050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4195" name="Rectangle 3" descr="© INSCALE GmbH, 26.05.2010&#10;http://www.presentationload.com/"/>
          <p:cNvSpPr>
            <a:spLocks noGrp="1" noChangeArrowheads="1"/>
          </p:cNvSpPr>
          <p:nvPr>
            <p:ph type="title"/>
          </p:nvPr>
        </p:nvSpPr>
        <p:spPr bwMode="gray">
          <a:noFill/>
          <a:ln/>
        </p:spPr>
        <p:txBody>
          <a:bodyPr/>
          <a:lstStyle/>
          <a:p>
            <a:pPr defTabSz="914400">
              <a:defRPr/>
            </a:pPr>
            <a:r>
              <a:rPr lang="tr-TR" sz="3000" b="1" kern="0" dirty="0">
                <a:solidFill>
                  <a:schemeClr val="tx2">
                    <a:lumMod val="50000"/>
                  </a:schemeClr>
                </a:solidFill>
                <a:latin typeface="+mn-lt"/>
                <a:ea typeface="+mn-ea"/>
                <a:cs typeface="+mn-cs"/>
              </a:rPr>
              <a:t>ZORUNLU UYGULAMAYA GEÇİŞ</a:t>
            </a:r>
            <a:endParaRPr lang="en-US" sz="3000" b="1" kern="0" dirty="0">
              <a:solidFill>
                <a:schemeClr val="tx2">
                  <a:lumMod val="50000"/>
                </a:schemeClr>
              </a:solidFill>
              <a:latin typeface="+mn-lt"/>
              <a:ea typeface="+mn-ea"/>
              <a:cs typeface="+mn-cs"/>
            </a:endParaRPr>
          </a:p>
        </p:txBody>
      </p:sp>
      <p:pic>
        <p:nvPicPr>
          <p:cNvPr id="285" name="_effect" descr="C:\Users\marc.h\Desktop\Schatten-TEST.png"/>
          <p:cNvPicPr>
            <a:picLocks noChangeAspect="1" noChangeArrowheads="1"/>
          </p:cNvPicPr>
          <p:nvPr/>
        </p:nvPicPr>
        <p:blipFill>
          <a:blip r:embed="rId3" cstate="print"/>
          <a:srcRect/>
          <a:stretch>
            <a:fillRect/>
          </a:stretch>
        </p:blipFill>
        <p:spPr bwMode="gray">
          <a:xfrm>
            <a:off x="542755" y="4018728"/>
            <a:ext cx="2591289" cy="590328"/>
          </a:xfrm>
          <a:prstGeom prst="rect">
            <a:avLst/>
          </a:prstGeom>
          <a:noFill/>
        </p:spPr>
      </p:pic>
      <p:pic>
        <p:nvPicPr>
          <p:cNvPr id="319" name="_effect" descr="C:\Users\marc.h\Desktop\Schatten-TEST.png"/>
          <p:cNvPicPr>
            <a:picLocks noChangeAspect="1" noChangeArrowheads="1"/>
          </p:cNvPicPr>
          <p:nvPr/>
        </p:nvPicPr>
        <p:blipFill>
          <a:blip r:embed="rId4" cstate="print"/>
          <a:srcRect/>
          <a:stretch>
            <a:fillRect/>
          </a:stretch>
        </p:blipFill>
        <p:spPr bwMode="gray">
          <a:xfrm>
            <a:off x="3505577" y="5661248"/>
            <a:ext cx="2290559" cy="521818"/>
          </a:xfrm>
          <a:prstGeom prst="rect">
            <a:avLst/>
          </a:prstGeom>
          <a:noFill/>
        </p:spPr>
      </p:pic>
      <p:grpSp>
        <p:nvGrpSpPr>
          <p:cNvPr id="4" name="Grup 3"/>
          <p:cNvGrpSpPr/>
          <p:nvPr/>
        </p:nvGrpSpPr>
        <p:grpSpPr>
          <a:xfrm>
            <a:off x="501107" y="1116567"/>
            <a:ext cx="5567449" cy="2902161"/>
            <a:chOff x="611560" y="2107264"/>
            <a:chExt cx="5567449" cy="2902161"/>
          </a:xfrm>
        </p:grpSpPr>
        <p:grpSp>
          <p:nvGrpSpPr>
            <p:cNvPr id="286" name="Gruppieren 54"/>
            <p:cNvGrpSpPr/>
            <p:nvPr/>
          </p:nvGrpSpPr>
          <p:grpSpPr bwMode="gray">
            <a:xfrm>
              <a:off x="611560" y="2107264"/>
              <a:ext cx="2813237" cy="2902161"/>
              <a:chOff x="704913" y="3484697"/>
              <a:chExt cx="2019010" cy="2019010"/>
            </a:xfrm>
          </p:grpSpPr>
          <p:sp>
            <p:nvSpPr>
              <p:cNvPr id="287" name="Ellipse 286"/>
              <p:cNvSpPr/>
              <p:nvPr/>
            </p:nvSpPr>
            <p:spPr bwMode="gray">
              <a:xfrm>
                <a:off x="797692" y="3582493"/>
                <a:ext cx="1823417" cy="1823417"/>
              </a:xfrm>
              <a:prstGeom prst="ellipse">
                <a:avLst/>
              </a:prstGeom>
              <a:gradFill>
                <a:gsLst>
                  <a:gs pos="0">
                    <a:srgbClr val="404040"/>
                  </a:gs>
                  <a:gs pos="100000">
                    <a:srgbClr val="262626"/>
                  </a:gs>
                </a:gsLst>
                <a:lin ang="5400000" scaled="0"/>
              </a:gradFill>
              <a:ln w="12700">
                <a:noFill/>
                <a:round/>
                <a:headEnd/>
                <a:tailEnd/>
              </a:ln>
            </p:spPr>
            <p:txBody>
              <a:bodyPr rtlCol="0" anchor="ctr"/>
              <a:lstStyle/>
              <a:p>
                <a:pPr algn="ctr"/>
                <a:endParaRPr lang="en-US" sz="1400" dirty="0">
                  <a:solidFill>
                    <a:schemeClr val="tx2">
                      <a:lumMod val="50000"/>
                    </a:schemeClr>
                  </a:solidFill>
                </a:endParaRPr>
              </a:p>
            </p:txBody>
          </p:sp>
          <p:sp>
            <p:nvSpPr>
              <p:cNvPr id="288" name="Textfeld 287"/>
              <p:cNvSpPr txBox="1"/>
              <p:nvPr/>
            </p:nvSpPr>
            <p:spPr bwMode="gray">
              <a:xfrm>
                <a:off x="1096874" y="4502382"/>
                <a:ext cx="188903" cy="182000"/>
              </a:xfrm>
              <a:prstGeom prst="rect">
                <a:avLst/>
              </a:prstGeom>
              <a:noFill/>
              <a:ln>
                <a:noFill/>
              </a:ln>
            </p:spPr>
            <p:txBody>
              <a:bodyPr wrap="none" rtlCol="0">
                <a:spAutoFit/>
              </a:bodyPr>
              <a:lstStyle/>
              <a:p>
                <a:pPr algn="ctr"/>
                <a:r>
                  <a:rPr lang="tr-TR" sz="1100" b="1" dirty="0" smtClean="0">
                    <a:ln w="3175">
                      <a:solidFill>
                        <a:srgbClr val="FFFFFF"/>
                      </a:solidFill>
                    </a:ln>
                    <a:solidFill>
                      <a:schemeClr val="tx2">
                        <a:lumMod val="50000"/>
                      </a:schemeClr>
                    </a:solidFill>
                    <a:effectLst>
                      <a:innerShdw blurRad="63500" dist="50800" dir="13500000">
                        <a:prstClr val="black">
                          <a:alpha val="50000"/>
                        </a:prstClr>
                      </a:innerShdw>
                    </a:effectLst>
                    <a:latin typeface="Arial" pitchFamily="34" charset="0"/>
                    <a:cs typeface="Arial" pitchFamily="34" charset="0"/>
                  </a:rPr>
                  <a:t>1</a:t>
                </a:r>
                <a:endParaRPr lang="en-US" sz="1100" b="1" dirty="0" smtClean="0">
                  <a:ln w="3175">
                    <a:solidFill>
                      <a:srgbClr val="FFFFFF"/>
                    </a:solidFill>
                  </a:ln>
                  <a:solidFill>
                    <a:schemeClr val="tx2">
                      <a:lumMod val="50000"/>
                    </a:schemeClr>
                  </a:solidFill>
                  <a:effectLst>
                    <a:innerShdw blurRad="63500" dist="50800" dir="13500000">
                      <a:prstClr val="black">
                        <a:alpha val="50000"/>
                      </a:prstClr>
                    </a:innerShdw>
                  </a:effectLst>
                  <a:latin typeface="Arial" pitchFamily="34" charset="0"/>
                  <a:cs typeface="Arial" pitchFamily="34" charset="0"/>
                </a:endParaRPr>
              </a:p>
            </p:txBody>
          </p:sp>
          <p:sp>
            <p:nvSpPr>
              <p:cNvPr id="290" name="Ellipse 289"/>
              <p:cNvSpPr/>
              <p:nvPr/>
            </p:nvSpPr>
            <p:spPr bwMode="gray">
              <a:xfrm>
                <a:off x="1053894" y="3660755"/>
                <a:ext cx="1331443" cy="810208"/>
              </a:xfrm>
              <a:prstGeom prst="ellipse">
                <a:avLst/>
              </a:prstGeom>
              <a:gradFill>
                <a:gsLst>
                  <a:gs pos="0">
                    <a:srgbClr val="FFFFFF">
                      <a:alpha val="35686"/>
                    </a:srgbClr>
                  </a:gs>
                  <a:gs pos="100000">
                    <a:srgbClr val="FFFFFF">
                      <a:alpha val="0"/>
                    </a:srgbClr>
                  </a:gs>
                </a:gsLst>
                <a:lin ang="5400000" scaled="1"/>
              </a:gradFill>
              <a:ln w="12700">
                <a:noFill/>
                <a:round/>
                <a:headEnd/>
                <a:tailEnd/>
              </a:ln>
              <a:effectLst>
                <a:softEdge rad="127000"/>
              </a:effectLst>
            </p:spPr>
            <p:txBody>
              <a:bodyPr rtlCol="0" anchor="ctr"/>
              <a:lstStyle/>
              <a:p>
                <a:pPr algn="ctr"/>
                <a:endParaRPr lang="en-US" sz="1400" dirty="0">
                  <a:solidFill>
                    <a:schemeClr val="tx2">
                      <a:lumMod val="50000"/>
                    </a:schemeClr>
                  </a:solidFill>
                </a:endParaRPr>
              </a:p>
            </p:txBody>
          </p:sp>
          <p:sp>
            <p:nvSpPr>
              <p:cNvPr id="291" name="Bogen 290"/>
              <p:cNvSpPr/>
              <p:nvPr/>
            </p:nvSpPr>
            <p:spPr bwMode="gray">
              <a:xfrm>
                <a:off x="928968" y="3714835"/>
                <a:ext cx="1558281" cy="1558281"/>
              </a:xfrm>
              <a:prstGeom prst="arc">
                <a:avLst>
                  <a:gd name="adj1" fmla="val 8056550"/>
                  <a:gd name="adj2" fmla="val 2753751"/>
                </a:avLst>
              </a:prstGeom>
              <a:ln w="12700">
                <a:solidFill>
                  <a:srgbClr val="FFFFFF"/>
                </a:solidFill>
              </a:ln>
              <a:effectLst>
                <a:outerShdw blurRad="50800" dist="38100" dir="2700000" algn="tl" rotWithShape="0">
                  <a:prstClr val="black">
                    <a:alpha val="40000"/>
                  </a:prstClr>
                </a:outerShdw>
              </a:effectLst>
              <a:scene3d>
                <a:camera prst="perspectiveRelaxed" fov="4200000">
                  <a:rot lat="0" lon="0" rev="0"/>
                </a:camera>
                <a:lightRig rig="balanced" dir="t"/>
              </a:scene3d>
              <a:sp3d extrusionH="635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solidFill>
                    <a:schemeClr val="tx2">
                      <a:lumMod val="50000"/>
                    </a:schemeClr>
                  </a:solidFill>
                </a:endParaRPr>
              </a:p>
            </p:txBody>
          </p:sp>
          <p:grpSp>
            <p:nvGrpSpPr>
              <p:cNvPr id="292" name="Gruppieren 1360"/>
              <p:cNvGrpSpPr/>
              <p:nvPr/>
            </p:nvGrpSpPr>
            <p:grpSpPr bwMode="gray">
              <a:xfrm>
                <a:off x="974249" y="3743979"/>
                <a:ext cx="1470290" cy="1284412"/>
                <a:chOff x="-3255955" y="4692655"/>
                <a:chExt cx="2235194" cy="1952629"/>
              </a:xfrm>
              <a:solidFill>
                <a:srgbClr val="FFFFFF"/>
              </a:solidFill>
            </p:grpSpPr>
            <p:sp>
              <p:nvSpPr>
                <p:cNvPr id="304" name="Freeform 1238"/>
                <p:cNvSpPr>
                  <a:spLocks/>
                </p:cNvSpPr>
                <p:nvPr/>
              </p:nvSpPr>
              <p:spPr bwMode="gray">
                <a:xfrm>
                  <a:off x="-1512886" y="6457959"/>
                  <a:ext cx="187324" cy="187325"/>
                </a:xfrm>
                <a:custGeom>
                  <a:avLst/>
                  <a:gdLst/>
                  <a:ahLst/>
                  <a:cxnLst>
                    <a:cxn ang="0">
                      <a:pos x="0" y="9"/>
                    </a:cxn>
                    <a:cxn ang="0">
                      <a:pos x="112" y="121"/>
                    </a:cxn>
                    <a:cxn ang="0">
                      <a:pos x="120" y="112"/>
                    </a:cxn>
                    <a:cxn ang="0">
                      <a:pos x="8" y="0"/>
                    </a:cxn>
                    <a:cxn ang="0">
                      <a:pos x="0" y="9"/>
                    </a:cxn>
                  </a:cxnLst>
                  <a:rect l="0" t="0" r="r" b="b"/>
                  <a:pathLst>
                    <a:path w="120" h="121">
                      <a:moveTo>
                        <a:pt x="0" y="9"/>
                      </a:moveTo>
                      <a:cubicBezTo>
                        <a:pt x="112" y="121"/>
                        <a:pt x="112" y="121"/>
                        <a:pt x="112" y="121"/>
                      </a:cubicBezTo>
                      <a:cubicBezTo>
                        <a:pt x="115" y="118"/>
                        <a:pt x="118" y="115"/>
                        <a:pt x="120" y="112"/>
                      </a:cubicBezTo>
                      <a:cubicBezTo>
                        <a:pt x="8" y="0"/>
                        <a:pt x="8" y="0"/>
                        <a:pt x="8" y="0"/>
                      </a:cubicBezTo>
                      <a:cubicBezTo>
                        <a:pt x="5" y="3"/>
                        <a:pt x="3" y="6"/>
                        <a:pt x="0" y="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schemeClr val="tx2">
                        <a:lumMod val="50000"/>
                      </a:schemeClr>
                    </a:solidFill>
                  </a:endParaRPr>
                </a:p>
              </p:txBody>
            </p:sp>
            <p:sp>
              <p:nvSpPr>
                <p:cNvPr id="305" name="Freeform 1239"/>
                <p:cNvSpPr>
                  <a:spLocks/>
                </p:cNvSpPr>
                <p:nvPr/>
              </p:nvSpPr>
              <p:spPr bwMode="gray">
                <a:xfrm>
                  <a:off x="-1263647" y="5999172"/>
                  <a:ext cx="242886" cy="66675"/>
                </a:xfrm>
                <a:custGeom>
                  <a:avLst/>
                  <a:gdLst/>
                  <a:ahLst/>
                  <a:cxnLst>
                    <a:cxn ang="0">
                      <a:pos x="0" y="12"/>
                    </a:cxn>
                    <a:cxn ang="0">
                      <a:pos x="155" y="43"/>
                    </a:cxn>
                    <a:cxn ang="0">
                      <a:pos x="157" y="31"/>
                    </a:cxn>
                    <a:cxn ang="0">
                      <a:pos x="2" y="0"/>
                    </a:cxn>
                    <a:cxn ang="0">
                      <a:pos x="0" y="12"/>
                    </a:cxn>
                  </a:cxnLst>
                  <a:rect l="0" t="0" r="r" b="b"/>
                  <a:pathLst>
                    <a:path w="157" h="43">
                      <a:moveTo>
                        <a:pt x="0" y="12"/>
                      </a:moveTo>
                      <a:cubicBezTo>
                        <a:pt x="155" y="43"/>
                        <a:pt x="155" y="43"/>
                        <a:pt x="155" y="43"/>
                      </a:cubicBezTo>
                      <a:cubicBezTo>
                        <a:pt x="156" y="39"/>
                        <a:pt x="157" y="35"/>
                        <a:pt x="157" y="31"/>
                      </a:cubicBezTo>
                      <a:cubicBezTo>
                        <a:pt x="2" y="0"/>
                        <a:pt x="2" y="0"/>
                        <a:pt x="2" y="0"/>
                      </a:cubicBezTo>
                      <a:cubicBezTo>
                        <a:pt x="1" y="4"/>
                        <a:pt x="1" y="8"/>
                        <a:pt x="0"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schemeClr val="tx2">
                        <a:lumMod val="50000"/>
                      </a:schemeClr>
                    </a:solidFill>
                  </a:endParaRPr>
                </a:p>
              </p:txBody>
            </p:sp>
            <p:sp>
              <p:nvSpPr>
                <p:cNvPr id="306" name="Freeform 1240"/>
                <p:cNvSpPr>
                  <a:spLocks/>
                </p:cNvSpPr>
                <p:nvPr/>
              </p:nvSpPr>
              <p:spPr bwMode="gray">
                <a:xfrm>
                  <a:off x="-1317623" y="5391157"/>
                  <a:ext cx="234950" cy="109537"/>
                </a:xfrm>
                <a:custGeom>
                  <a:avLst/>
                  <a:gdLst/>
                  <a:ahLst/>
                  <a:cxnLst>
                    <a:cxn ang="0">
                      <a:pos x="5" y="71"/>
                    </a:cxn>
                    <a:cxn ang="0">
                      <a:pos x="151" y="11"/>
                    </a:cxn>
                    <a:cxn ang="0">
                      <a:pos x="147" y="0"/>
                    </a:cxn>
                    <a:cxn ang="0">
                      <a:pos x="0" y="60"/>
                    </a:cxn>
                    <a:cxn ang="0">
                      <a:pos x="5" y="71"/>
                    </a:cxn>
                  </a:cxnLst>
                  <a:rect l="0" t="0" r="r" b="b"/>
                  <a:pathLst>
                    <a:path w="151" h="71">
                      <a:moveTo>
                        <a:pt x="5" y="71"/>
                      </a:moveTo>
                      <a:cubicBezTo>
                        <a:pt x="151" y="11"/>
                        <a:pt x="151" y="11"/>
                        <a:pt x="151" y="11"/>
                      </a:cubicBezTo>
                      <a:cubicBezTo>
                        <a:pt x="150" y="7"/>
                        <a:pt x="148" y="3"/>
                        <a:pt x="147" y="0"/>
                      </a:cubicBezTo>
                      <a:cubicBezTo>
                        <a:pt x="0" y="60"/>
                        <a:pt x="0" y="60"/>
                        <a:pt x="0" y="60"/>
                      </a:cubicBezTo>
                      <a:cubicBezTo>
                        <a:pt x="2" y="64"/>
                        <a:pt x="4" y="68"/>
                        <a:pt x="5" y="7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schemeClr val="tx2">
                        <a:lumMod val="50000"/>
                      </a:schemeClr>
                    </a:solidFill>
                  </a:endParaRPr>
                </a:p>
              </p:txBody>
            </p:sp>
            <p:sp>
              <p:nvSpPr>
                <p:cNvPr id="307" name="Freeform 1241"/>
                <p:cNvSpPr>
                  <a:spLocks/>
                </p:cNvSpPr>
                <p:nvPr/>
              </p:nvSpPr>
              <p:spPr bwMode="gray">
                <a:xfrm>
                  <a:off x="-1649408" y="4881570"/>
                  <a:ext cx="153987" cy="214313"/>
                </a:xfrm>
                <a:custGeom>
                  <a:avLst/>
                  <a:gdLst/>
                  <a:ahLst/>
                  <a:cxnLst>
                    <a:cxn ang="0">
                      <a:pos x="10" y="138"/>
                    </a:cxn>
                    <a:cxn ang="0">
                      <a:pos x="99" y="6"/>
                    </a:cxn>
                    <a:cxn ang="0">
                      <a:pos x="89" y="0"/>
                    </a:cxn>
                    <a:cxn ang="0">
                      <a:pos x="0" y="131"/>
                    </a:cxn>
                    <a:cxn ang="0">
                      <a:pos x="10" y="138"/>
                    </a:cxn>
                  </a:cxnLst>
                  <a:rect l="0" t="0" r="r" b="b"/>
                  <a:pathLst>
                    <a:path w="99" h="138">
                      <a:moveTo>
                        <a:pt x="10" y="138"/>
                      </a:moveTo>
                      <a:cubicBezTo>
                        <a:pt x="99" y="6"/>
                        <a:pt x="99" y="6"/>
                        <a:pt x="99" y="6"/>
                      </a:cubicBezTo>
                      <a:cubicBezTo>
                        <a:pt x="95" y="4"/>
                        <a:pt x="92" y="2"/>
                        <a:pt x="89" y="0"/>
                      </a:cubicBezTo>
                      <a:cubicBezTo>
                        <a:pt x="0" y="131"/>
                        <a:pt x="0" y="131"/>
                        <a:pt x="0" y="131"/>
                      </a:cubicBezTo>
                      <a:cubicBezTo>
                        <a:pt x="4" y="134"/>
                        <a:pt x="7" y="136"/>
                        <a:pt x="10" y="13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schemeClr val="tx2">
                        <a:lumMod val="50000"/>
                      </a:schemeClr>
                    </a:solidFill>
                  </a:endParaRPr>
                </a:p>
              </p:txBody>
            </p:sp>
            <p:sp>
              <p:nvSpPr>
                <p:cNvPr id="308" name="Freeform 1242"/>
                <p:cNvSpPr>
                  <a:spLocks/>
                </p:cNvSpPr>
                <p:nvPr/>
              </p:nvSpPr>
              <p:spPr bwMode="gray">
                <a:xfrm>
                  <a:off x="-2146295" y="4692655"/>
                  <a:ext cx="17461" cy="246062"/>
                </a:xfrm>
                <a:custGeom>
                  <a:avLst/>
                  <a:gdLst/>
                  <a:ahLst/>
                  <a:cxnLst>
                    <a:cxn ang="0">
                      <a:pos x="6" y="159"/>
                    </a:cxn>
                    <a:cxn ang="0">
                      <a:pos x="12" y="159"/>
                    </a:cxn>
                    <a:cxn ang="0">
                      <a:pos x="12" y="0"/>
                    </a:cxn>
                    <a:cxn ang="0">
                      <a:pos x="6" y="0"/>
                    </a:cxn>
                    <a:cxn ang="0">
                      <a:pos x="0" y="0"/>
                    </a:cxn>
                    <a:cxn ang="0">
                      <a:pos x="0" y="159"/>
                    </a:cxn>
                    <a:cxn ang="0">
                      <a:pos x="6" y="159"/>
                    </a:cxn>
                  </a:cxnLst>
                  <a:rect l="0" t="0" r="r" b="b"/>
                  <a:pathLst>
                    <a:path w="12" h="159">
                      <a:moveTo>
                        <a:pt x="6" y="159"/>
                      </a:moveTo>
                      <a:cubicBezTo>
                        <a:pt x="8" y="159"/>
                        <a:pt x="10" y="159"/>
                        <a:pt x="12" y="159"/>
                      </a:cubicBezTo>
                      <a:cubicBezTo>
                        <a:pt x="12" y="0"/>
                        <a:pt x="12" y="0"/>
                        <a:pt x="12" y="0"/>
                      </a:cubicBezTo>
                      <a:cubicBezTo>
                        <a:pt x="10" y="0"/>
                        <a:pt x="8" y="0"/>
                        <a:pt x="6" y="0"/>
                      </a:cubicBezTo>
                      <a:cubicBezTo>
                        <a:pt x="4" y="0"/>
                        <a:pt x="2" y="0"/>
                        <a:pt x="0" y="0"/>
                      </a:cubicBezTo>
                      <a:cubicBezTo>
                        <a:pt x="0" y="159"/>
                        <a:pt x="0" y="159"/>
                        <a:pt x="0" y="159"/>
                      </a:cubicBezTo>
                      <a:cubicBezTo>
                        <a:pt x="2" y="159"/>
                        <a:pt x="4" y="159"/>
                        <a:pt x="6" y="15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schemeClr val="tx2">
                        <a:lumMod val="50000"/>
                      </a:schemeClr>
                    </a:solidFill>
                  </a:endParaRPr>
                </a:p>
              </p:txBody>
            </p:sp>
            <p:sp>
              <p:nvSpPr>
                <p:cNvPr id="309" name="Freeform 1243"/>
                <p:cNvSpPr>
                  <a:spLocks/>
                </p:cNvSpPr>
                <p:nvPr/>
              </p:nvSpPr>
              <p:spPr bwMode="gray">
                <a:xfrm>
                  <a:off x="-2778118" y="4879979"/>
                  <a:ext cx="152400" cy="215900"/>
                </a:xfrm>
                <a:custGeom>
                  <a:avLst/>
                  <a:gdLst/>
                  <a:ahLst/>
                  <a:cxnLst>
                    <a:cxn ang="0">
                      <a:pos x="98" y="132"/>
                    </a:cxn>
                    <a:cxn ang="0">
                      <a:pos x="10" y="0"/>
                    </a:cxn>
                    <a:cxn ang="0">
                      <a:pos x="0" y="7"/>
                    </a:cxn>
                    <a:cxn ang="0">
                      <a:pos x="88" y="139"/>
                    </a:cxn>
                    <a:cxn ang="0">
                      <a:pos x="98" y="132"/>
                    </a:cxn>
                  </a:cxnLst>
                  <a:rect l="0" t="0" r="r" b="b"/>
                  <a:pathLst>
                    <a:path w="98" h="139">
                      <a:moveTo>
                        <a:pt x="98" y="132"/>
                      </a:moveTo>
                      <a:cubicBezTo>
                        <a:pt x="10" y="0"/>
                        <a:pt x="10" y="0"/>
                        <a:pt x="10" y="0"/>
                      </a:cubicBezTo>
                      <a:cubicBezTo>
                        <a:pt x="6" y="2"/>
                        <a:pt x="3" y="5"/>
                        <a:pt x="0" y="7"/>
                      </a:cubicBezTo>
                      <a:cubicBezTo>
                        <a:pt x="88" y="139"/>
                        <a:pt x="88" y="139"/>
                        <a:pt x="88" y="139"/>
                      </a:cubicBezTo>
                      <a:cubicBezTo>
                        <a:pt x="91" y="136"/>
                        <a:pt x="94" y="134"/>
                        <a:pt x="98" y="13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schemeClr val="tx2">
                        <a:lumMod val="50000"/>
                      </a:schemeClr>
                    </a:solidFill>
                  </a:endParaRPr>
                </a:p>
              </p:txBody>
            </p:sp>
            <p:sp>
              <p:nvSpPr>
                <p:cNvPr id="310" name="Freeform 1244"/>
                <p:cNvSpPr>
                  <a:spLocks/>
                </p:cNvSpPr>
                <p:nvPr/>
              </p:nvSpPr>
              <p:spPr bwMode="gray">
                <a:xfrm>
                  <a:off x="-3194042" y="5389567"/>
                  <a:ext cx="234950" cy="111126"/>
                </a:xfrm>
                <a:custGeom>
                  <a:avLst/>
                  <a:gdLst/>
                  <a:ahLst/>
                  <a:cxnLst>
                    <a:cxn ang="0">
                      <a:pos x="151" y="61"/>
                    </a:cxn>
                    <a:cxn ang="0">
                      <a:pos x="5" y="0"/>
                    </a:cxn>
                    <a:cxn ang="0">
                      <a:pos x="0" y="11"/>
                    </a:cxn>
                    <a:cxn ang="0">
                      <a:pos x="147" y="72"/>
                    </a:cxn>
                    <a:cxn ang="0">
                      <a:pos x="151" y="61"/>
                    </a:cxn>
                  </a:cxnLst>
                  <a:rect l="0" t="0" r="r" b="b"/>
                  <a:pathLst>
                    <a:path w="151" h="72">
                      <a:moveTo>
                        <a:pt x="151" y="61"/>
                      </a:moveTo>
                      <a:cubicBezTo>
                        <a:pt x="5" y="0"/>
                        <a:pt x="5" y="0"/>
                        <a:pt x="5" y="0"/>
                      </a:cubicBezTo>
                      <a:cubicBezTo>
                        <a:pt x="3" y="4"/>
                        <a:pt x="2" y="8"/>
                        <a:pt x="0" y="11"/>
                      </a:cubicBezTo>
                      <a:cubicBezTo>
                        <a:pt x="147" y="72"/>
                        <a:pt x="147" y="72"/>
                        <a:pt x="147" y="72"/>
                      </a:cubicBezTo>
                      <a:cubicBezTo>
                        <a:pt x="148" y="68"/>
                        <a:pt x="150" y="65"/>
                        <a:pt x="151" y="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schemeClr val="tx2">
                        <a:lumMod val="50000"/>
                      </a:schemeClr>
                    </a:solidFill>
                  </a:endParaRPr>
                </a:p>
              </p:txBody>
            </p:sp>
            <p:sp>
              <p:nvSpPr>
                <p:cNvPr id="311" name="Freeform 1245"/>
                <p:cNvSpPr>
                  <a:spLocks/>
                </p:cNvSpPr>
                <p:nvPr/>
              </p:nvSpPr>
              <p:spPr bwMode="gray">
                <a:xfrm>
                  <a:off x="-3255955" y="5999166"/>
                  <a:ext cx="244474" cy="66675"/>
                </a:xfrm>
                <a:custGeom>
                  <a:avLst/>
                  <a:gdLst/>
                  <a:ahLst/>
                  <a:cxnLst>
                    <a:cxn ang="0">
                      <a:pos x="155" y="0"/>
                    </a:cxn>
                    <a:cxn ang="0">
                      <a:pos x="0" y="31"/>
                    </a:cxn>
                    <a:cxn ang="0">
                      <a:pos x="2" y="43"/>
                    </a:cxn>
                    <a:cxn ang="0">
                      <a:pos x="158" y="12"/>
                    </a:cxn>
                    <a:cxn ang="0">
                      <a:pos x="155" y="0"/>
                    </a:cxn>
                  </a:cxnLst>
                  <a:rect l="0" t="0" r="r" b="b"/>
                  <a:pathLst>
                    <a:path w="158" h="43">
                      <a:moveTo>
                        <a:pt x="155" y="0"/>
                      </a:moveTo>
                      <a:cubicBezTo>
                        <a:pt x="0" y="31"/>
                        <a:pt x="0" y="31"/>
                        <a:pt x="0" y="31"/>
                      </a:cubicBezTo>
                      <a:cubicBezTo>
                        <a:pt x="1" y="35"/>
                        <a:pt x="2" y="39"/>
                        <a:pt x="2" y="43"/>
                      </a:cubicBezTo>
                      <a:cubicBezTo>
                        <a:pt x="158" y="12"/>
                        <a:pt x="158" y="12"/>
                        <a:pt x="158" y="12"/>
                      </a:cubicBezTo>
                      <a:cubicBezTo>
                        <a:pt x="157" y="8"/>
                        <a:pt x="156" y="4"/>
                        <a:pt x="155"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schemeClr val="tx2">
                        <a:lumMod val="50000"/>
                      </a:schemeClr>
                    </a:solidFill>
                  </a:endParaRPr>
                </a:p>
              </p:txBody>
            </p:sp>
            <p:sp>
              <p:nvSpPr>
                <p:cNvPr id="312" name="Freeform 1246"/>
                <p:cNvSpPr>
                  <a:spLocks/>
                </p:cNvSpPr>
                <p:nvPr/>
              </p:nvSpPr>
              <p:spPr bwMode="gray">
                <a:xfrm>
                  <a:off x="-2949575" y="6464300"/>
                  <a:ext cx="180974" cy="180975"/>
                </a:xfrm>
                <a:custGeom>
                  <a:avLst/>
                  <a:gdLst/>
                  <a:ahLst/>
                  <a:cxnLst>
                    <a:cxn ang="0">
                      <a:pos x="8" y="114"/>
                    </a:cxn>
                    <a:cxn ang="0">
                      <a:pos x="0" y="105"/>
                    </a:cxn>
                    <a:cxn ang="0">
                      <a:pos x="106" y="0"/>
                    </a:cxn>
                    <a:cxn ang="0">
                      <a:pos x="114" y="7"/>
                    </a:cxn>
                    <a:cxn ang="0">
                      <a:pos x="8" y="114"/>
                    </a:cxn>
                    <a:cxn ang="0">
                      <a:pos x="8" y="114"/>
                    </a:cxn>
                  </a:cxnLst>
                  <a:rect l="0" t="0" r="r" b="b"/>
                  <a:pathLst>
                    <a:path w="114" h="114">
                      <a:moveTo>
                        <a:pt x="8" y="114"/>
                      </a:moveTo>
                      <a:lnTo>
                        <a:pt x="0" y="105"/>
                      </a:lnTo>
                      <a:lnTo>
                        <a:pt x="106" y="0"/>
                      </a:lnTo>
                      <a:lnTo>
                        <a:pt x="114" y="7"/>
                      </a:lnTo>
                      <a:lnTo>
                        <a:pt x="8" y="114"/>
                      </a:lnTo>
                      <a:lnTo>
                        <a:pt x="8" y="11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schemeClr val="tx2">
                        <a:lumMod val="50000"/>
                      </a:schemeClr>
                    </a:solidFill>
                  </a:endParaRPr>
                </a:p>
              </p:txBody>
            </p:sp>
          </p:grpSp>
          <p:sp>
            <p:nvSpPr>
              <p:cNvPr id="293" name="Textfeld 292"/>
              <p:cNvSpPr txBox="1"/>
              <p:nvPr/>
            </p:nvSpPr>
            <p:spPr bwMode="gray">
              <a:xfrm>
                <a:off x="1133148" y="4194925"/>
                <a:ext cx="188903" cy="182000"/>
              </a:xfrm>
              <a:prstGeom prst="rect">
                <a:avLst/>
              </a:prstGeom>
              <a:noFill/>
              <a:ln>
                <a:noFill/>
              </a:ln>
            </p:spPr>
            <p:txBody>
              <a:bodyPr wrap="none" rtlCol="0">
                <a:spAutoFit/>
              </a:bodyPr>
              <a:lstStyle/>
              <a:p>
                <a:pPr algn="ctr"/>
                <a:r>
                  <a:rPr lang="tr-TR" sz="1100" b="1" dirty="0" smtClean="0">
                    <a:ln w="3175">
                      <a:solidFill>
                        <a:srgbClr val="FFFFFF"/>
                      </a:solidFill>
                    </a:ln>
                    <a:solidFill>
                      <a:schemeClr val="tx2">
                        <a:lumMod val="50000"/>
                      </a:schemeClr>
                    </a:solidFill>
                    <a:effectLst>
                      <a:innerShdw blurRad="63500" dist="50800" dir="13500000">
                        <a:prstClr val="black">
                          <a:alpha val="50000"/>
                        </a:prstClr>
                      </a:innerShdw>
                    </a:effectLst>
                    <a:latin typeface="Arial" pitchFamily="34" charset="0"/>
                    <a:cs typeface="Arial" pitchFamily="34" charset="0"/>
                  </a:rPr>
                  <a:t>2</a:t>
                </a:r>
                <a:endParaRPr lang="en-US" sz="1100" b="1" dirty="0" smtClean="0">
                  <a:ln w="3175">
                    <a:solidFill>
                      <a:srgbClr val="FFFFFF"/>
                    </a:solidFill>
                  </a:ln>
                  <a:solidFill>
                    <a:schemeClr val="tx2">
                      <a:lumMod val="50000"/>
                    </a:schemeClr>
                  </a:solidFill>
                  <a:effectLst>
                    <a:innerShdw blurRad="63500" dist="50800" dir="13500000">
                      <a:prstClr val="black">
                        <a:alpha val="50000"/>
                      </a:prstClr>
                    </a:innerShdw>
                  </a:effectLst>
                  <a:latin typeface="Arial" pitchFamily="34" charset="0"/>
                  <a:cs typeface="Arial" pitchFamily="34" charset="0"/>
                </a:endParaRPr>
              </a:p>
            </p:txBody>
          </p:sp>
          <p:sp>
            <p:nvSpPr>
              <p:cNvPr id="294" name="Textfeld 293"/>
              <p:cNvSpPr txBox="1"/>
              <p:nvPr/>
            </p:nvSpPr>
            <p:spPr bwMode="gray">
              <a:xfrm>
                <a:off x="1324880" y="3961741"/>
                <a:ext cx="188903" cy="182000"/>
              </a:xfrm>
              <a:prstGeom prst="rect">
                <a:avLst/>
              </a:prstGeom>
              <a:noFill/>
              <a:ln>
                <a:noFill/>
              </a:ln>
            </p:spPr>
            <p:txBody>
              <a:bodyPr wrap="none" rtlCol="0">
                <a:spAutoFit/>
              </a:bodyPr>
              <a:lstStyle/>
              <a:p>
                <a:pPr algn="ctr"/>
                <a:r>
                  <a:rPr lang="tr-TR" sz="1100" b="1" dirty="0" smtClean="0">
                    <a:ln w="3175">
                      <a:solidFill>
                        <a:srgbClr val="FFFFFF"/>
                      </a:solidFill>
                    </a:ln>
                    <a:solidFill>
                      <a:schemeClr val="tx2">
                        <a:lumMod val="50000"/>
                      </a:schemeClr>
                    </a:solidFill>
                    <a:effectLst>
                      <a:innerShdw blurRad="63500" dist="50800" dir="13500000">
                        <a:prstClr val="black">
                          <a:alpha val="50000"/>
                        </a:prstClr>
                      </a:innerShdw>
                    </a:effectLst>
                    <a:latin typeface="Arial" pitchFamily="34" charset="0"/>
                    <a:cs typeface="Arial" pitchFamily="34" charset="0"/>
                  </a:rPr>
                  <a:t>3</a:t>
                </a:r>
                <a:endParaRPr lang="en-US" sz="1100" b="1" dirty="0" smtClean="0">
                  <a:ln w="3175">
                    <a:solidFill>
                      <a:srgbClr val="FFFFFF"/>
                    </a:solidFill>
                  </a:ln>
                  <a:solidFill>
                    <a:schemeClr val="tx2">
                      <a:lumMod val="50000"/>
                    </a:schemeClr>
                  </a:solidFill>
                  <a:effectLst>
                    <a:innerShdw blurRad="63500" dist="50800" dir="13500000">
                      <a:prstClr val="black">
                        <a:alpha val="50000"/>
                      </a:prstClr>
                    </a:innerShdw>
                  </a:effectLst>
                  <a:latin typeface="Arial" pitchFamily="34" charset="0"/>
                  <a:cs typeface="Arial" pitchFamily="34" charset="0"/>
                </a:endParaRPr>
              </a:p>
            </p:txBody>
          </p:sp>
          <p:sp>
            <p:nvSpPr>
              <p:cNvPr id="295" name="Textfeld 294"/>
              <p:cNvSpPr txBox="1"/>
              <p:nvPr/>
            </p:nvSpPr>
            <p:spPr bwMode="gray">
              <a:xfrm>
                <a:off x="1615064" y="3877106"/>
                <a:ext cx="188903" cy="182000"/>
              </a:xfrm>
              <a:prstGeom prst="rect">
                <a:avLst/>
              </a:prstGeom>
              <a:noFill/>
              <a:ln>
                <a:noFill/>
              </a:ln>
            </p:spPr>
            <p:txBody>
              <a:bodyPr wrap="none" rtlCol="0">
                <a:spAutoFit/>
              </a:bodyPr>
              <a:lstStyle/>
              <a:p>
                <a:pPr algn="ctr"/>
                <a:r>
                  <a:rPr lang="tr-TR" sz="1100" b="1" dirty="0" smtClean="0">
                    <a:ln w="3175">
                      <a:solidFill>
                        <a:srgbClr val="FFFFFF"/>
                      </a:solidFill>
                    </a:ln>
                    <a:solidFill>
                      <a:schemeClr val="tx2">
                        <a:lumMod val="50000"/>
                      </a:schemeClr>
                    </a:solidFill>
                    <a:effectLst>
                      <a:innerShdw blurRad="63500" dist="50800" dir="13500000">
                        <a:prstClr val="black">
                          <a:alpha val="50000"/>
                        </a:prstClr>
                      </a:innerShdw>
                    </a:effectLst>
                    <a:latin typeface="Arial" pitchFamily="34" charset="0"/>
                    <a:cs typeface="Arial" pitchFamily="34" charset="0"/>
                  </a:rPr>
                  <a:t>5</a:t>
                </a:r>
                <a:endParaRPr lang="en-US" sz="1100" b="1" dirty="0" smtClean="0">
                  <a:ln w="3175">
                    <a:solidFill>
                      <a:srgbClr val="FFFFFF"/>
                    </a:solidFill>
                  </a:ln>
                  <a:solidFill>
                    <a:schemeClr val="tx2">
                      <a:lumMod val="50000"/>
                    </a:schemeClr>
                  </a:solidFill>
                  <a:effectLst>
                    <a:innerShdw blurRad="63500" dist="50800" dir="13500000">
                      <a:prstClr val="black">
                        <a:alpha val="50000"/>
                      </a:prstClr>
                    </a:innerShdw>
                  </a:effectLst>
                  <a:latin typeface="Arial" pitchFamily="34" charset="0"/>
                  <a:cs typeface="Arial" pitchFamily="34" charset="0"/>
                </a:endParaRPr>
              </a:p>
            </p:txBody>
          </p:sp>
          <p:sp>
            <p:nvSpPr>
              <p:cNvPr id="296" name="Textfeld 295"/>
              <p:cNvSpPr txBox="1"/>
              <p:nvPr/>
            </p:nvSpPr>
            <p:spPr bwMode="gray">
              <a:xfrm>
                <a:off x="1912157" y="3961741"/>
                <a:ext cx="188903" cy="182000"/>
              </a:xfrm>
              <a:prstGeom prst="rect">
                <a:avLst/>
              </a:prstGeom>
              <a:noFill/>
              <a:ln>
                <a:noFill/>
              </a:ln>
            </p:spPr>
            <p:txBody>
              <a:bodyPr wrap="none" rtlCol="0">
                <a:spAutoFit/>
              </a:bodyPr>
              <a:lstStyle/>
              <a:p>
                <a:pPr algn="ctr"/>
                <a:r>
                  <a:rPr lang="tr-TR" sz="1100" b="1" dirty="0">
                    <a:ln w="3175">
                      <a:solidFill>
                        <a:srgbClr val="FFFFFF"/>
                      </a:solidFill>
                    </a:ln>
                    <a:solidFill>
                      <a:schemeClr val="tx2">
                        <a:lumMod val="50000"/>
                      </a:schemeClr>
                    </a:solidFill>
                    <a:effectLst>
                      <a:innerShdw blurRad="63500" dist="50800" dir="13500000">
                        <a:prstClr val="black">
                          <a:alpha val="50000"/>
                        </a:prstClr>
                      </a:innerShdw>
                    </a:effectLst>
                    <a:latin typeface="Arial" pitchFamily="34" charset="0"/>
                    <a:cs typeface="Arial" pitchFamily="34" charset="0"/>
                  </a:rPr>
                  <a:t>7</a:t>
                </a:r>
                <a:endParaRPr lang="en-US" sz="1100" b="1" dirty="0" smtClean="0">
                  <a:ln w="3175">
                    <a:solidFill>
                      <a:srgbClr val="FFFFFF"/>
                    </a:solidFill>
                  </a:ln>
                  <a:solidFill>
                    <a:schemeClr val="tx2">
                      <a:lumMod val="50000"/>
                    </a:schemeClr>
                  </a:solidFill>
                  <a:effectLst>
                    <a:innerShdw blurRad="63500" dist="50800" dir="13500000">
                      <a:prstClr val="black">
                        <a:alpha val="50000"/>
                      </a:prstClr>
                    </a:innerShdw>
                  </a:effectLst>
                  <a:latin typeface="Arial" pitchFamily="34" charset="0"/>
                  <a:cs typeface="Arial" pitchFamily="34" charset="0"/>
                </a:endParaRPr>
              </a:p>
            </p:txBody>
          </p:sp>
          <p:sp>
            <p:nvSpPr>
              <p:cNvPr id="297" name="Textfeld 296"/>
              <p:cNvSpPr txBox="1"/>
              <p:nvPr/>
            </p:nvSpPr>
            <p:spPr bwMode="gray">
              <a:xfrm>
                <a:off x="2109065" y="4194925"/>
                <a:ext cx="188903" cy="182000"/>
              </a:xfrm>
              <a:prstGeom prst="rect">
                <a:avLst/>
              </a:prstGeom>
              <a:noFill/>
              <a:ln>
                <a:noFill/>
              </a:ln>
            </p:spPr>
            <p:txBody>
              <a:bodyPr wrap="none" rtlCol="0">
                <a:spAutoFit/>
              </a:bodyPr>
              <a:lstStyle/>
              <a:p>
                <a:pPr algn="ctr"/>
                <a:r>
                  <a:rPr lang="tr-TR" sz="1100" b="1" dirty="0">
                    <a:ln w="3175">
                      <a:solidFill>
                        <a:srgbClr val="FFFFFF"/>
                      </a:solidFill>
                    </a:ln>
                    <a:solidFill>
                      <a:schemeClr val="tx2">
                        <a:lumMod val="50000"/>
                      </a:schemeClr>
                    </a:solidFill>
                    <a:effectLst>
                      <a:innerShdw blurRad="63500" dist="50800" dir="13500000">
                        <a:prstClr val="black">
                          <a:alpha val="50000"/>
                        </a:prstClr>
                      </a:innerShdw>
                    </a:effectLst>
                    <a:latin typeface="Arial" pitchFamily="34" charset="0"/>
                    <a:cs typeface="Arial" pitchFamily="34" charset="0"/>
                  </a:rPr>
                  <a:t>9</a:t>
                </a:r>
                <a:endParaRPr lang="en-US" sz="1100" b="1" dirty="0" smtClean="0">
                  <a:ln w="3175">
                    <a:solidFill>
                      <a:srgbClr val="FFFFFF"/>
                    </a:solidFill>
                  </a:ln>
                  <a:solidFill>
                    <a:schemeClr val="tx2">
                      <a:lumMod val="50000"/>
                    </a:schemeClr>
                  </a:solidFill>
                  <a:effectLst>
                    <a:innerShdw blurRad="63500" dist="50800" dir="13500000">
                      <a:prstClr val="black">
                        <a:alpha val="50000"/>
                      </a:prstClr>
                    </a:innerShdw>
                  </a:effectLst>
                  <a:latin typeface="Arial" pitchFamily="34" charset="0"/>
                  <a:cs typeface="Arial" pitchFamily="34" charset="0"/>
                </a:endParaRPr>
              </a:p>
            </p:txBody>
          </p:sp>
          <p:sp>
            <p:nvSpPr>
              <p:cNvPr id="298" name="Textfeld 297"/>
              <p:cNvSpPr txBox="1"/>
              <p:nvPr/>
            </p:nvSpPr>
            <p:spPr bwMode="gray">
              <a:xfrm>
                <a:off x="2117149" y="4502382"/>
                <a:ext cx="245275" cy="182000"/>
              </a:xfrm>
              <a:prstGeom prst="rect">
                <a:avLst/>
              </a:prstGeom>
              <a:noFill/>
              <a:ln>
                <a:noFill/>
              </a:ln>
            </p:spPr>
            <p:txBody>
              <a:bodyPr wrap="none" rtlCol="0">
                <a:spAutoFit/>
              </a:bodyPr>
              <a:lstStyle/>
              <a:p>
                <a:pPr algn="ctr"/>
                <a:r>
                  <a:rPr lang="tr-TR" sz="1100" b="1" dirty="0" smtClean="0">
                    <a:ln w="3175">
                      <a:solidFill>
                        <a:srgbClr val="FFFFFF"/>
                      </a:solidFill>
                    </a:ln>
                    <a:solidFill>
                      <a:schemeClr val="tx2">
                        <a:lumMod val="50000"/>
                      </a:schemeClr>
                    </a:solidFill>
                    <a:effectLst>
                      <a:innerShdw blurRad="63500" dist="50800" dir="13500000">
                        <a:prstClr val="black">
                          <a:alpha val="50000"/>
                        </a:prstClr>
                      </a:innerShdw>
                    </a:effectLst>
                    <a:latin typeface="Arial" pitchFamily="34" charset="0"/>
                    <a:cs typeface="Arial" pitchFamily="34" charset="0"/>
                  </a:rPr>
                  <a:t>10</a:t>
                </a:r>
                <a:endParaRPr lang="en-US" sz="1100" b="1" dirty="0" smtClean="0">
                  <a:ln w="3175">
                    <a:solidFill>
                      <a:srgbClr val="FFFFFF"/>
                    </a:solidFill>
                  </a:ln>
                  <a:solidFill>
                    <a:schemeClr val="tx2">
                      <a:lumMod val="50000"/>
                    </a:schemeClr>
                  </a:solidFill>
                  <a:effectLst>
                    <a:innerShdw blurRad="63500" dist="50800" dir="13500000">
                      <a:prstClr val="black">
                        <a:alpha val="50000"/>
                      </a:prstClr>
                    </a:innerShdw>
                  </a:effectLst>
                  <a:latin typeface="Arial" pitchFamily="34" charset="0"/>
                  <a:cs typeface="Arial" pitchFamily="34" charset="0"/>
                </a:endParaRPr>
              </a:p>
            </p:txBody>
          </p:sp>
          <p:sp>
            <p:nvSpPr>
              <p:cNvPr id="299" name="Textfeld 298"/>
              <p:cNvSpPr txBox="1"/>
              <p:nvPr/>
            </p:nvSpPr>
            <p:spPr bwMode="gray">
              <a:xfrm>
                <a:off x="1948899" y="4768251"/>
                <a:ext cx="245275" cy="182000"/>
              </a:xfrm>
              <a:prstGeom prst="rect">
                <a:avLst/>
              </a:prstGeom>
              <a:noFill/>
              <a:ln>
                <a:noFill/>
              </a:ln>
            </p:spPr>
            <p:txBody>
              <a:bodyPr wrap="none" rtlCol="0">
                <a:spAutoFit/>
              </a:bodyPr>
              <a:lstStyle/>
              <a:p>
                <a:pPr algn="ctr"/>
                <a:r>
                  <a:rPr lang="tr-TR" sz="1100" b="1" dirty="0" smtClean="0">
                    <a:ln w="3175">
                      <a:solidFill>
                        <a:srgbClr val="FFFFFF"/>
                      </a:solidFill>
                    </a:ln>
                    <a:solidFill>
                      <a:schemeClr val="tx2">
                        <a:lumMod val="50000"/>
                      </a:schemeClr>
                    </a:solidFill>
                    <a:effectLst>
                      <a:innerShdw blurRad="63500" dist="50800" dir="13500000">
                        <a:prstClr val="black">
                          <a:alpha val="50000"/>
                        </a:prstClr>
                      </a:innerShdw>
                    </a:effectLst>
                    <a:latin typeface="Arial" pitchFamily="34" charset="0"/>
                    <a:cs typeface="Arial" pitchFamily="34" charset="0"/>
                  </a:rPr>
                  <a:t>12</a:t>
                </a:r>
                <a:endParaRPr lang="en-US" sz="1100" b="1" dirty="0" smtClean="0">
                  <a:ln w="3175">
                    <a:solidFill>
                      <a:srgbClr val="FFFFFF"/>
                    </a:solidFill>
                  </a:ln>
                  <a:solidFill>
                    <a:schemeClr val="tx2">
                      <a:lumMod val="50000"/>
                    </a:schemeClr>
                  </a:solidFill>
                  <a:effectLst>
                    <a:innerShdw blurRad="63500" dist="50800" dir="13500000">
                      <a:prstClr val="black">
                        <a:alpha val="50000"/>
                      </a:prstClr>
                    </a:innerShdw>
                  </a:effectLst>
                  <a:latin typeface="Arial" pitchFamily="34" charset="0"/>
                  <a:cs typeface="Arial" pitchFamily="34" charset="0"/>
                </a:endParaRPr>
              </a:p>
            </p:txBody>
          </p:sp>
          <p:sp>
            <p:nvSpPr>
              <p:cNvPr id="300" name="Halbbogen 299"/>
              <p:cNvSpPr/>
              <p:nvPr/>
            </p:nvSpPr>
            <p:spPr bwMode="gray">
              <a:xfrm>
                <a:off x="976511" y="3759518"/>
                <a:ext cx="1457830" cy="1457830"/>
              </a:xfrm>
              <a:prstGeom prst="blockArc">
                <a:avLst>
                  <a:gd name="adj1" fmla="val 20415260"/>
                  <a:gd name="adj2" fmla="val 579940"/>
                  <a:gd name="adj3" fmla="val 7195"/>
                </a:avLst>
              </a:prstGeom>
              <a:solidFill>
                <a:schemeClr val="accent5">
                  <a:lumMod val="60000"/>
                  <a:lumOff val="40000"/>
                </a:schemeClr>
              </a:solidFill>
              <a:ln w="12700">
                <a:solidFill>
                  <a:schemeClr val="accent5">
                    <a:lumMod val="40000"/>
                    <a:lumOff val="60000"/>
                  </a:schemeClr>
                </a:solidFill>
                <a:round/>
                <a:headEnd/>
                <a:tailEnd/>
              </a:ln>
            </p:spPr>
            <p:txBody>
              <a:bodyPr rtlCol="0" anchor="ctr"/>
              <a:lstStyle/>
              <a:p>
                <a:pPr algn="ctr"/>
                <a:endParaRPr lang="en-US" dirty="0">
                  <a:solidFill>
                    <a:schemeClr val="tx2">
                      <a:lumMod val="50000"/>
                    </a:schemeClr>
                  </a:solidFill>
                </a:endParaRPr>
              </a:p>
            </p:txBody>
          </p:sp>
          <p:sp>
            <p:nvSpPr>
              <p:cNvPr id="301" name="Halbbogen 300"/>
              <p:cNvSpPr/>
              <p:nvPr/>
            </p:nvSpPr>
            <p:spPr bwMode="gray">
              <a:xfrm rot="1987981">
                <a:off x="976511" y="3759518"/>
                <a:ext cx="1457830" cy="1457830"/>
              </a:xfrm>
              <a:prstGeom prst="blockArc">
                <a:avLst>
                  <a:gd name="adj1" fmla="val 20443763"/>
                  <a:gd name="adj2" fmla="val 579940"/>
                  <a:gd name="adj3" fmla="val 7195"/>
                </a:avLst>
              </a:prstGeom>
              <a:solidFill>
                <a:schemeClr val="accent5">
                  <a:lumMod val="60000"/>
                  <a:lumOff val="40000"/>
                </a:schemeClr>
              </a:solidFill>
              <a:ln w="12700">
                <a:noFill/>
                <a:round/>
                <a:headEnd/>
                <a:tailEnd/>
              </a:ln>
            </p:spPr>
            <p:txBody>
              <a:bodyPr rtlCol="0" anchor="ctr"/>
              <a:lstStyle/>
              <a:p>
                <a:pPr algn="ctr"/>
                <a:endParaRPr lang="en-US" dirty="0">
                  <a:solidFill>
                    <a:schemeClr val="tx2">
                      <a:lumMod val="50000"/>
                    </a:schemeClr>
                  </a:solidFill>
                </a:endParaRPr>
              </a:p>
            </p:txBody>
          </p:sp>
          <p:sp>
            <p:nvSpPr>
              <p:cNvPr id="303" name="Rad 302"/>
              <p:cNvSpPr/>
              <p:nvPr/>
            </p:nvSpPr>
            <p:spPr bwMode="gray">
              <a:xfrm>
                <a:off x="704913" y="3484697"/>
                <a:ext cx="2019010" cy="2019010"/>
              </a:xfrm>
              <a:prstGeom prst="donut">
                <a:avLst>
                  <a:gd name="adj" fmla="val 7291"/>
                </a:avLst>
              </a:prstGeom>
              <a:solidFill>
                <a:srgbClr val="A6A6A6"/>
              </a:solidFill>
              <a:ln w="12700">
                <a:noFill/>
                <a:round/>
                <a:headEnd/>
                <a:tailEnd/>
              </a:ln>
              <a:effectLst>
                <a:outerShdw blurRad="165100" dist="38100" dir="2700000" algn="tl" rotWithShape="0">
                  <a:prstClr val="black">
                    <a:alpha val="40000"/>
                  </a:prstClr>
                </a:outerShdw>
              </a:effectLst>
              <a:scene3d>
                <a:camera prst="orthographicFront"/>
                <a:lightRig rig="balanced" dir="t">
                  <a:rot lat="0" lon="0" rev="7800000"/>
                </a:lightRig>
              </a:scene3d>
              <a:sp3d>
                <a:bevelT w="101600" h="101600" prst="angle"/>
              </a:sp3d>
            </p:spPr>
            <p:txBody>
              <a:bodyPr rtlCol="0" anchor="ctr"/>
              <a:lstStyle/>
              <a:p>
                <a:pPr algn="ctr"/>
                <a:endParaRPr lang="en-US" sz="1400" dirty="0">
                  <a:solidFill>
                    <a:schemeClr val="tx2">
                      <a:lumMod val="50000"/>
                    </a:schemeClr>
                  </a:solidFill>
                </a:endParaRPr>
              </a:p>
            </p:txBody>
          </p:sp>
        </p:grpSp>
        <p:sp>
          <p:nvSpPr>
            <p:cNvPr id="316" name="Ellipse 315"/>
            <p:cNvSpPr/>
            <p:nvPr/>
          </p:nvSpPr>
          <p:spPr bwMode="gray">
            <a:xfrm>
              <a:off x="1918656" y="3382479"/>
              <a:ext cx="323275" cy="299903"/>
            </a:xfrm>
            <a:prstGeom prst="ellipse">
              <a:avLst/>
            </a:prstGeom>
            <a:solidFill>
              <a:srgbClr val="D9D9D9"/>
            </a:solidFill>
            <a:ln w="12700">
              <a:noFill/>
              <a:round/>
              <a:headEnd/>
              <a:tailEnd/>
            </a:ln>
            <a:effectLst>
              <a:outerShdw blurRad="50800" dist="38100" dir="2700000" algn="tl" rotWithShape="0">
                <a:prstClr val="black">
                  <a:alpha val="40000"/>
                </a:prstClr>
              </a:outerShdw>
            </a:effectLst>
            <a:scene3d>
              <a:camera prst="orthographicFront"/>
              <a:lightRig rig="threePt" dir="t"/>
            </a:scene3d>
            <a:sp3d>
              <a:bevelT w="107950" h="146050" prst="relaxedInset"/>
            </a:sp3d>
          </p:spPr>
          <p:txBody>
            <a:bodyPr rtlCol="0" anchor="ctr"/>
            <a:lstStyle/>
            <a:p>
              <a:pPr algn="ctr"/>
              <a:endParaRPr lang="en-US" dirty="0">
                <a:solidFill>
                  <a:schemeClr val="tx2">
                    <a:lumMod val="50000"/>
                  </a:schemeClr>
                </a:solidFill>
              </a:endParaRPr>
            </a:p>
          </p:txBody>
        </p:sp>
        <p:grpSp>
          <p:nvGrpSpPr>
            <p:cNvPr id="2" name="Grup 1"/>
            <p:cNvGrpSpPr/>
            <p:nvPr/>
          </p:nvGrpSpPr>
          <p:grpSpPr>
            <a:xfrm>
              <a:off x="3369246" y="2286462"/>
              <a:ext cx="2809763" cy="1790203"/>
              <a:chOff x="3369246" y="2286462"/>
              <a:chExt cx="2809763" cy="1790203"/>
            </a:xfrm>
          </p:grpSpPr>
          <p:sp>
            <p:nvSpPr>
              <p:cNvPr id="317" name="Textfeld 316"/>
              <p:cNvSpPr txBox="1"/>
              <p:nvPr/>
            </p:nvSpPr>
            <p:spPr bwMode="gray">
              <a:xfrm>
                <a:off x="3369246" y="2286462"/>
                <a:ext cx="1393138" cy="523220"/>
              </a:xfrm>
              <a:prstGeom prst="rect">
                <a:avLst/>
              </a:prstGeom>
              <a:noFill/>
            </p:spPr>
            <p:txBody>
              <a:bodyPr wrap="none" rtlCol="0">
                <a:spAutoFit/>
              </a:bodyPr>
              <a:lstStyle/>
              <a:p>
                <a:r>
                  <a:rPr lang="tr-TR" sz="2800" b="1" spc="-150" dirty="0" smtClean="0">
                    <a:solidFill>
                      <a:schemeClr val="tx2">
                        <a:lumMod val="50000"/>
                      </a:schemeClr>
                    </a:solidFill>
                    <a:latin typeface="+mj-lt"/>
                    <a:ea typeface="Dotum" pitchFamily="34" charset="-127"/>
                    <a:cs typeface="Calibri" pitchFamily="34" charset="0"/>
                  </a:rPr>
                  <a:t>e - Fatura</a:t>
                </a:r>
                <a:endParaRPr lang="en-US" sz="2800" b="1" spc="-150" dirty="0">
                  <a:solidFill>
                    <a:schemeClr val="tx2">
                      <a:lumMod val="50000"/>
                    </a:schemeClr>
                  </a:solidFill>
                  <a:effectLst/>
                  <a:latin typeface="+mj-lt"/>
                  <a:ea typeface="Dotum" pitchFamily="34" charset="-127"/>
                  <a:cs typeface="Calibri" pitchFamily="34" charset="0"/>
                </a:endParaRPr>
              </a:p>
            </p:txBody>
          </p:sp>
          <p:sp>
            <p:nvSpPr>
              <p:cNvPr id="318" name="Textfeld 317"/>
              <p:cNvSpPr txBox="1"/>
              <p:nvPr/>
            </p:nvSpPr>
            <p:spPr bwMode="gray">
              <a:xfrm>
                <a:off x="3596033" y="2931736"/>
                <a:ext cx="2582976" cy="1144929"/>
              </a:xfrm>
              <a:prstGeom prst="rect">
                <a:avLst/>
              </a:prstGeom>
              <a:noFill/>
            </p:spPr>
            <p:txBody>
              <a:bodyPr wrap="square" rtlCol="0">
                <a:spAutoFit/>
              </a:bodyPr>
              <a:lstStyle/>
              <a:p>
                <a:pPr lvl="0">
                  <a:lnSpc>
                    <a:spcPct val="95000"/>
                  </a:lnSpc>
                  <a:spcAft>
                    <a:spcPts val="800"/>
                  </a:spcAft>
                  <a:defRPr/>
                </a:pPr>
                <a:r>
                  <a:rPr lang="tr-TR" b="1" noProof="1" smtClean="0">
                    <a:solidFill>
                      <a:schemeClr val="tx2">
                        <a:lumMod val="50000"/>
                      </a:schemeClr>
                    </a:solidFill>
                  </a:rPr>
                  <a:t>01/09/2013 tarihine kadar Başvuru işlemlerinin tamamlanmış olması</a:t>
                </a:r>
                <a:endParaRPr lang="en-US" b="1" noProof="1" smtClean="0">
                  <a:solidFill>
                    <a:schemeClr val="tx2">
                      <a:lumMod val="50000"/>
                    </a:schemeClr>
                  </a:solidFill>
                </a:endParaRPr>
              </a:p>
            </p:txBody>
          </p:sp>
        </p:grpSp>
      </p:grpSp>
      <p:grpSp>
        <p:nvGrpSpPr>
          <p:cNvPr id="77" name="Gruppieren 76"/>
          <p:cNvGrpSpPr/>
          <p:nvPr/>
        </p:nvGrpSpPr>
        <p:grpSpPr>
          <a:xfrm>
            <a:off x="9159185" y="264462"/>
            <a:ext cx="297657" cy="962022"/>
            <a:chOff x="9144000" y="569121"/>
            <a:chExt cx="297657" cy="962022"/>
          </a:xfrm>
        </p:grpSpPr>
        <p:cxnSp>
          <p:nvCxnSpPr>
            <p:cNvPr id="78" name="Gerade Verbindung 77"/>
            <p:cNvCxnSpPr/>
            <p:nvPr/>
          </p:nvCxnSpPr>
          <p:spPr>
            <a:xfrm>
              <a:off x="9144000" y="569121"/>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79" name="Gerade Verbindung 78"/>
            <p:cNvCxnSpPr/>
            <p:nvPr/>
          </p:nvCxnSpPr>
          <p:spPr>
            <a:xfrm rot="5400000" flipH="1" flipV="1">
              <a:off x="8960646" y="1050133"/>
              <a:ext cx="962021"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80" name="Gerade Verbindung 79"/>
            <p:cNvCxnSpPr/>
            <p:nvPr/>
          </p:nvCxnSpPr>
          <p:spPr>
            <a:xfrm>
              <a:off x="9144000" y="1531143"/>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grpSp>
      <p:grpSp>
        <p:nvGrpSpPr>
          <p:cNvPr id="3" name="Grup 2"/>
          <p:cNvGrpSpPr/>
          <p:nvPr/>
        </p:nvGrpSpPr>
        <p:grpSpPr>
          <a:xfrm>
            <a:off x="3707904" y="3645024"/>
            <a:ext cx="5046167" cy="2024574"/>
            <a:chOff x="4189864" y="1226485"/>
            <a:chExt cx="5046167" cy="2024574"/>
          </a:xfrm>
        </p:grpSpPr>
        <p:sp>
          <p:nvSpPr>
            <p:cNvPr id="351" name="Textfeld 350"/>
            <p:cNvSpPr txBox="1"/>
            <p:nvPr/>
          </p:nvSpPr>
          <p:spPr bwMode="gray">
            <a:xfrm>
              <a:off x="6425038" y="1666883"/>
              <a:ext cx="1193340" cy="461665"/>
            </a:xfrm>
            <a:prstGeom prst="rect">
              <a:avLst/>
            </a:prstGeom>
            <a:noFill/>
          </p:spPr>
          <p:txBody>
            <a:bodyPr wrap="none" rtlCol="0">
              <a:spAutoFit/>
            </a:bodyPr>
            <a:lstStyle/>
            <a:p>
              <a:r>
                <a:rPr lang="tr-TR" sz="2400" b="1" spc="-150" dirty="0" smtClean="0">
                  <a:solidFill>
                    <a:schemeClr val="tx2">
                      <a:lumMod val="50000"/>
                    </a:schemeClr>
                  </a:solidFill>
                  <a:latin typeface="+mj-lt"/>
                  <a:ea typeface="Dotum" pitchFamily="34" charset="-127"/>
                  <a:cs typeface="Calibri" pitchFamily="34" charset="0"/>
                </a:rPr>
                <a:t>e - Defter</a:t>
              </a:r>
              <a:endParaRPr lang="en-US" sz="2400" b="1" spc="-150" dirty="0">
                <a:solidFill>
                  <a:schemeClr val="tx2">
                    <a:lumMod val="50000"/>
                  </a:schemeClr>
                </a:solidFill>
                <a:effectLst/>
                <a:latin typeface="+mj-lt"/>
                <a:ea typeface="Dotum" pitchFamily="34" charset="-127"/>
                <a:cs typeface="Calibri" pitchFamily="34" charset="0"/>
              </a:endParaRPr>
            </a:p>
          </p:txBody>
        </p:sp>
        <p:sp>
          <p:nvSpPr>
            <p:cNvPr id="352" name="Textfeld 351"/>
            <p:cNvSpPr txBox="1"/>
            <p:nvPr/>
          </p:nvSpPr>
          <p:spPr bwMode="gray">
            <a:xfrm>
              <a:off x="6306279" y="2106130"/>
              <a:ext cx="2929752" cy="1144929"/>
            </a:xfrm>
            <a:prstGeom prst="rect">
              <a:avLst/>
            </a:prstGeom>
            <a:noFill/>
          </p:spPr>
          <p:txBody>
            <a:bodyPr wrap="square" rtlCol="0">
              <a:spAutoFit/>
            </a:bodyPr>
            <a:lstStyle/>
            <a:p>
              <a:pPr lvl="0">
                <a:lnSpc>
                  <a:spcPct val="95000"/>
                </a:lnSpc>
                <a:spcAft>
                  <a:spcPts val="800"/>
                </a:spcAft>
                <a:defRPr/>
              </a:pPr>
              <a:r>
                <a:rPr lang="tr-TR" b="1" noProof="1" smtClean="0">
                  <a:solidFill>
                    <a:schemeClr val="tx2">
                      <a:lumMod val="50000"/>
                    </a:schemeClr>
                  </a:solidFill>
                </a:rPr>
                <a:t>Yazılımını kendi geliştiren mükelleflerin 01/09/2014 tarihine kadar testlerini tamamlamış olmaları</a:t>
              </a:r>
              <a:endParaRPr lang="en-US" b="1" noProof="1">
                <a:solidFill>
                  <a:schemeClr val="tx2">
                    <a:lumMod val="50000"/>
                  </a:schemeClr>
                </a:solidFill>
              </a:endParaRPr>
            </a:p>
          </p:txBody>
        </p:sp>
        <p:grpSp>
          <p:nvGrpSpPr>
            <p:cNvPr id="113" name="Gruppieren 54"/>
            <p:cNvGrpSpPr/>
            <p:nvPr/>
          </p:nvGrpSpPr>
          <p:grpSpPr bwMode="gray">
            <a:xfrm>
              <a:off x="4189864" y="1226485"/>
              <a:ext cx="2019010" cy="2019010"/>
              <a:chOff x="704913" y="3484697"/>
              <a:chExt cx="2019010" cy="2019010"/>
            </a:xfrm>
          </p:grpSpPr>
          <p:sp>
            <p:nvSpPr>
              <p:cNvPr id="114" name="Ellipse 286"/>
              <p:cNvSpPr/>
              <p:nvPr/>
            </p:nvSpPr>
            <p:spPr bwMode="gray">
              <a:xfrm>
                <a:off x="797692" y="3582493"/>
                <a:ext cx="1823417" cy="1823417"/>
              </a:xfrm>
              <a:prstGeom prst="ellipse">
                <a:avLst/>
              </a:prstGeom>
              <a:gradFill>
                <a:gsLst>
                  <a:gs pos="0">
                    <a:srgbClr val="404040"/>
                  </a:gs>
                  <a:gs pos="100000">
                    <a:srgbClr val="262626"/>
                  </a:gs>
                </a:gsLst>
                <a:lin ang="5400000" scaled="0"/>
              </a:gradFill>
              <a:ln w="12700">
                <a:noFill/>
                <a:round/>
                <a:headEnd/>
                <a:tailEnd/>
              </a:ln>
            </p:spPr>
            <p:txBody>
              <a:bodyPr rtlCol="0" anchor="ctr"/>
              <a:lstStyle/>
              <a:p>
                <a:pPr algn="ctr"/>
                <a:endParaRPr lang="en-US" sz="1400" dirty="0">
                  <a:solidFill>
                    <a:schemeClr val="tx2">
                      <a:lumMod val="50000"/>
                    </a:schemeClr>
                  </a:solidFill>
                </a:endParaRPr>
              </a:p>
            </p:txBody>
          </p:sp>
          <p:sp>
            <p:nvSpPr>
              <p:cNvPr id="115" name="Textfeld 287"/>
              <p:cNvSpPr txBox="1"/>
              <p:nvPr/>
            </p:nvSpPr>
            <p:spPr bwMode="gray">
              <a:xfrm>
                <a:off x="1059719" y="4502382"/>
                <a:ext cx="263214" cy="261610"/>
              </a:xfrm>
              <a:prstGeom prst="rect">
                <a:avLst/>
              </a:prstGeom>
              <a:noFill/>
              <a:ln>
                <a:noFill/>
              </a:ln>
            </p:spPr>
            <p:txBody>
              <a:bodyPr wrap="none" rtlCol="0">
                <a:spAutoFit/>
              </a:bodyPr>
              <a:lstStyle/>
              <a:p>
                <a:pPr algn="ctr"/>
                <a:r>
                  <a:rPr lang="tr-TR" sz="1100" b="1" dirty="0" smtClean="0">
                    <a:ln w="3175">
                      <a:solidFill>
                        <a:srgbClr val="FFFFFF"/>
                      </a:solidFill>
                    </a:ln>
                    <a:solidFill>
                      <a:schemeClr val="tx2">
                        <a:lumMod val="50000"/>
                      </a:schemeClr>
                    </a:solidFill>
                    <a:effectLst>
                      <a:innerShdw blurRad="63500" dist="50800" dir="13500000">
                        <a:prstClr val="black">
                          <a:alpha val="50000"/>
                        </a:prstClr>
                      </a:innerShdw>
                    </a:effectLst>
                    <a:latin typeface="Arial" pitchFamily="34" charset="0"/>
                    <a:cs typeface="Arial" pitchFamily="34" charset="0"/>
                  </a:rPr>
                  <a:t>1</a:t>
                </a:r>
                <a:endParaRPr lang="en-US" sz="1100" b="1" dirty="0" smtClean="0">
                  <a:ln w="3175">
                    <a:solidFill>
                      <a:srgbClr val="FFFFFF"/>
                    </a:solidFill>
                  </a:ln>
                  <a:solidFill>
                    <a:schemeClr val="tx2">
                      <a:lumMod val="50000"/>
                    </a:schemeClr>
                  </a:solidFill>
                  <a:effectLst>
                    <a:innerShdw blurRad="63500" dist="50800" dir="13500000">
                      <a:prstClr val="black">
                        <a:alpha val="50000"/>
                      </a:prstClr>
                    </a:innerShdw>
                  </a:effectLst>
                  <a:latin typeface="Arial" pitchFamily="34" charset="0"/>
                  <a:cs typeface="Arial" pitchFamily="34" charset="0"/>
                </a:endParaRPr>
              </a:p>
            </p:txBody>
          </p:sp>
          <p:sp>
            <p:nvSpPr>
              <p:cNvPr id="116" name="Textfeld 288"/>
              <p:cNvSpPr txBox="1"/>
              <p:nvPr/>
            </p:nvSpPr>
            <p:spPr bwMode="gray">
              <a:xfrm>
                <a:off x="1211017" y="4768251"/>
                <a:ext cx="263214" cy="261610"/>
              </a:xfrm>
              <a:prstGeom prst="rect">
                <a:avLst/>
              </a:prstGeom>
              <a:noFill/>
              <a:ln>
                <a:noFill/>
              </a:ln>
            </p:spPr>
            <p:txBody>
              <a:bodyPr wrap="none" rtlCol="0">
                <a:spAutoFit/>
              </a:bodyPr>
              <a:lstStyle/>
              <a:p>
                <a:pPr algn="ctr"/>
                <a:r>
                  <a:rPr lang="en-US" sz="1100" b="1" smtClean="0">
                    <a:ln w="3175">
                      <a:solidFill>
                        <a:srgbClr val="FFFFFF"/>
                      </a:solidFill>
                    </a:ln>
                    <a:solidFill>
                      <a:schemeClr val="tx2">
                        <a:lumMod val="50000"/>
                      </a:schemeClr>
                    </a:solidFill>
                    <a:effectLst>
                      <a:innerShdw blurRad="63500" dist="50800" dir="13500000">
                        <a:prstClr val="black">
                          <a:alpha val="50000"/>
                        </a:prstClr>
                      </a:innerShdw>
                    </a:effectLst>
                    <a:latin typeface="Arial" pitchFamily="34" charset="0"/>
                    <a:cs typeface="Arial" pitchFamily="34" charset="0"/>
                  </a:rPr>
                  <a:t>0</a:t>
                </a:r>
                <a:endParaRPr lang="en-US" sz="1100" b="1" dirty="0" smtClean="0">
                  <a:ln w="3175">
                    <a:solidFill>
                      <a:srgbClr val="FFFFFF"/>
                    </a:solidFill>
                  </a:ln>
                  <a:solidFill>
                    <a:schemeClr val="tx2">
                      <a:lumMod val="50000"/>
                    </a:schemeClr>
                  </a:solidFill>
                  <a:effectLst>
                    <a:innerShdw blurRad="63500" dist="50800" dir="13500000">
                      <a:prstClr val="black">
                        <a:alpha val="50000"/>
                      </a:prstClr>
                    </a:innerShdw>
                  </a:effectLst>
                  <a:latin typeface="Arial" pitchFamily="34" charset="0"/>
                  <a:cs typeface="Arial" pitchFamily="34" charset="0"/>
                </a:endParaRPr>
              </a:p>
            </p:txBody>
          </p:sp>
          <p:sp>
            <p:nvSpPr>
              <p:cNvPr id="117" name="Ellipse 289"/>
              <p:cNvSpPr/>
              <p:nvPr/>
            </p:nvSpPr>
            <p:spPr bwMode="gray">
              <a:xfrm>
                <a:off x="1053894" y="3660755"/>
                <a:ext cx="1331443" cy="810208"/>
              </a:xfrm>
              <a:prstGeom prst="ellipse">
                <a:avLst/>
              </a:prstGeom>
              <a:gradFill>
                <a:gsLst>
                  <a:gs pos="0">
                    <a:srgbClr val="FFFFFF">
                      <a:alpha val="35686"/>
                    </a:srgbClr>
                  </a:gs>
                  <a:gs pos="100000">
                    <a:srgbClr val="FFFFFF">
                      <a:alpha val="0"/>
                    </a:srgbClr>
                  </a:gs>
                </a:gsLst>
                <a:lin ang="5400000" scaled="1"/>
              </a:gradFill>
              <a:ln w="12700">
                <a:noFill/>
                <a:round/>
                <a:headEnd/>
                <a:tailEnd/>
              </a:ln>
              <a:effectLst>
                <a:softEdge rad="127000"/>
              </a:effectLst>
            </p:spPr>
            <p:txBody>
              <a:bodyPr rtlCol="0" anchor="ctr"/>
              <a:lstStyle/>
              <a:p>
                <a:pPr algn="ctr"/>
                <a:endParaRPr lang="en-US" sz="1400" dirty="0">
                  <a:solidFill>
                    <a:schemeClr val="tx2">
                      <a:lumMod val="50000"/>
                    </a:schemeClr>
                  </a:solidFill>
                </a:endParaRPr>
              </a:p>
            </p:txBody>
          </p:sp>
          <p:sp>
            <p:nvSpPr>
              <p:cNvPr id="118" name="Bogen 290"/>
              <p:cNvSpPr/>
              <p:nvPr/>
            </p:nvSpPr>
            <p:spPr bwMode="gray">
              <a:xfrm>
                <a:off x="928968" y="3714835"/>
                <a:ext cx="1558281" cy="1558281"/>
              </a:xfrm>
              <a:prstGeom prst="arc">
                <a:avLst>
                  <a:gd name="adj1" fmla="val 8056550"/>
                  <a:gd name="adj2" fmla="val 2753751"/>
                </a:avLst>
              </a:prstGeom>
              <a:ln w="12700">
                <a:solidFill>
                  <a:srgbClr val="FFFFFF"/>
                </a:solidFill>
              </a:ln>
              <a:effectLst>
                <a:outerShdw blurRad="50800" dist="38100" dir="2700000" algn="tl" rotWithShape="0">
                  <a:prstClr val="black">
                    <a:alpha val="40000"/>
                  </a:prstClr>
                </a:outerShdw>
              </a:effectLst>
              <a:scene3d>
                <a:camera prst="perspectiveRelaxed" fov="4200000">
                  <a:rot lat="0" lon="0" rev="0"/>
                </a:camera>
                <a:lightRig rig="balanced" dir="t"/>
              </a:scene3d>
              <a:sp3d extrusionH="635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solidFill>
                    <a:schemeClr val="tx2">
                      <a:lumMod val="50000"/>
                    </a:schemeClr>
                  </a:solidFill>
                </a:endParaRPr>
              </a:p>
            </p:txBody>
          </p:sp>
          <p:grpSp>
            <p:nvGrpSpPr>
              <p:cNvPr id="119" name="Gruppieren 1360"/>
              <p:cNvGrpSpPr/>
              <p:nvPr/>
            </p:nvGrpSpPr>
            <p:grpSpPr bwMode="gray">
              <a:xfrm>
                <a:off x="974249" y="3743979"/>
                <a:ext cx="1470290" cy="1284412"/>
                <a:chOff x="-3255955" y="4692655"/>
                <a:chExt cx="2235194" cy="1952629"/>
              </a:xfrm>
              <a:solidFill>
                <a:srgbClr val="FFFFFF"/>
              </a:solidFill>
            </p:grpSpPr>
            <p:sp>
              <p:nvSpPr>
                <p:cNvPr id="131" name="Freeform 1238"/>
                <p:cNvSpPr>
                  <a:spLocks/>
                </p:cNvSpPr>
                <p:nvPr/>
              </p:nvSpPr>
              <p:spPr bwMode="gray">
                <a:xfrm>
                  <a:off x="-1512886" y="6457959"/>
                  <a:ext cx="187324" cy="187325"/>
                </a:xfrm>
                <a:custGeom>
                  <a:avLst/>
                  <a:gdLst/>
                  <a:ahLst/>
                  <a:cxnLst>
                    <a:cxn ang="0">
                      <a:pos x="0" y="9"/>
                    </a:cxn>
                    <a:cxn ang="0">
                      <a:pos x="112" y="121"/>
                    </a:cxn>
                    <a:cxn ang="0">
                      <a:pos x="120" y="112"/>
                    </a:cxn>
                    <a:cxn ang="0">
                      <a:pos x="8" y="0"/>
                    </a:cxn>
                    <a:cxn ang="0">
                      <a:pos x="0" y="9"/>
                    </a:cxn>
                  </a:cxnLst>
                  <a:rect l="0" t="0" r="r" b="b"/>
                  <a:pathLst>
                    <a:path w="120" h="121">
                      <a:moveTo>
                        <a:pt x="0" y="9"/>
                      </a:moveTo>
                      <a:cubicBezTo>
                        <a:pt x="112" y="121"/>
                        <a:pt x="112" y="121"/>
                        <a:pt x="112" y="121"/>
                      </a:cubicBezTo>
                      <a:cubicBezTo>
                        <a:pt x="115" y="118"/>
                        <a:pt x="118" y="115"/>
                        <a:pt x="120" y="112"/>
                      </a:cubicBezTo>
                      <a:cubicBezTo>
                        <a:pt x="8" y="0"/>
                        <a:pt x="8" y="0"/>
                        <a:pt x="8" y="0"/>
                      </a:cubicBezTo>
                      <a:cubicBezTo>
                        <a:pt x="5" y="3"/>
                        <a:pt x="3" y="6"/>
                        <a:pt x="0" y="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schemeClr val="tx2">
                        <a:lumMod val="50000"/>
                      </a:schemeClr>
                    </a:solidFill>
                  </a:endParaRPr>
                </a:p>
              </p:txBody>
            </p:sp>
            <p:sp>
              <p:nvSpPr>
                <p:cNvPr id="132" name="Freeform 1239"/>
                <p:cNvSpPr>
                  <a:spLocks/>
                </p:cNvSpPr>
                <p:nvPr/>
              </p:nvSpPr>
              <p:spPr bwMode="gray">
                <a:xfrm>
                  <a:off x="-1263647" y="5999172"/>
                  <a:ext cx="242886" cy="66675"/>
                </a:xfrm>
                <a:custGeom>
                  <a:avLst/>
                  <a:gdLst/>
                  <a:ahLst/>
                  <a:cxnLst>
                    <a:cxn ang="0">
                      <a:pos x="0" y="12"/>
                    </a:cxn>
                    <a:cxn ang="0">
                      <a:pos x="155" y="43"/>
                    </a:cxn>
                    <a:cxn ang="0">
                      <a:pos x="157" y="31"/>
                    </a:cxn>
                    <a:cxn ang="0">
                      <a:pos x="2" y="0"/>
                    </a:cxn>
                    <a:cxn ang="0">
                      <a:pos x="0" y="12"/>
                    </a:cxn>
                  </a:cxnLst>
                  <a:rect l="0" t="0" r="r" b="b"/>
                  <a:pathLst>
                    <a:path w="157" h="43">
                      <a:moveTo>
                        <a:pt x="0" y="12"/>
                      </a:moveTo>
                      <a:cubicBezTo>
                        <a:pt x="155" y="43"/>
                        <a:pt x="155" y="43"/>
                        <a:pt x="155" y="43"/>
                      </a:cubicBezTo>
                      <a:cubicBezTo>
                        <a:pt x="156" y="39"/>
                        <a:pt x="157" y="35"/>
                        <a:pt x="157" y="31"/>
                      </a:cubicBezTo>
                      <a:cubicBezTo>
                        <a:pt x="2" y="0"/>
                        <a:pt x="2" y="0"/>
                        <a:pt x="2" y="0"/>
                      </a:cubicBezTo>
                      <a:cubicBezTo>
                        <a:pt x="1" y="4"/>
                        <a:pt x="1" y="8"/>
                        <a:pt x="0"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schemeClr val="tx2">
                        <a:lumMod val="50000"/>
                      </a:schemeClr>
                    </a:solidFill>
                  </a:endParaRPr>
                </a:p>
              </p:txBody>
            </p:sp>
            <p:sp>
              <p:nvSpPr>
                <p:cNvPr id="133" name="Freeform 1240"/>
                <p:cNvSpPr>
                  <a:spLocks/>
                </p:cNvSpPr>
                <p:nvPr/>
              </p:nvSpPr>
              <p:spPr bwMode="gray">
                <a:xfrm>
                  <a:off x="-1317623" y="5391157"/>
                  <a:ext cx="234950" cy="109537"/>
                </a:xfrm>
                <a:custGeom>
                  <a:avLst/>
                  <a:gdLst/>
                  <a:ahLst/>
                  <a:cxnLst>
                    <a:cxn ang="0">
                      <a:pos x="5" y="71"/>
                    </a:cxn>
                    <a:cxn ang="0">
                      <a:pos x="151" y="11"/>
                    </a:cxn>
                    <a:cxn ang="0">
                      <a:pos x="147" y="0"/>
                    </a:cxn>
                    <a:cxn ang="0">
                      <a:pos x="0" y="60"/>
                    </a:cxn>
                    <a:cxn ang="0">
                      <a:pos x="5" y="71"/>
                    </a:cxn>
                  </a:cxnLst>
                  <a:rect l="0" t="0" r="r" b="b"/>
                  <a:pathLst>
                    <a:path w="151" h="71">
                      <a:moveTo>
                        <a:pt x="5" y="71"/>
                      </a:moveTo>
                      <a:cubicBezTo>
                        <a:pt x="151" y="11"/>
                        <a:pt x="151" y="11"/>
                        <a:pt x="151" y="11"/>
                      </a:cubicBezTo>
                      <a:cubicBezTo>
                        <a:pt x="150" y="7"/>
                        <a:pt x="148" y="3"/>
                        <a:pt x="147" y="0"/>
                      </a:cubicBezTo>
                      <a:cubicBezTo>
                        <a:pt x="0" y="60"/>
                        <a:pt x="0" y="60"/>
                        <a:pt x="0" y="60"/>
                      </a:cubicBezTo>
                      <a:cubicBezTo>
                        <a:pt x="2" y="64"/>
                        <a:pt x="4" y="68"/>
                        <a:pt x="5" y="7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schemeClr val="tx2">
                        <a:lumMod val="50000"/>
                      </a:schemeClr>
                    </a:solidFill>
                  </a:endParaRPr>
                </a:p>
              </p:txBody>
            </p:sp>
            <p:sp>
              <p:nvSpPr>
                <p:cNvPr id="134" name="Freeform 1241"/>
                <p:cNvSpPr>
                  <a:spLocks/>
                </p:cNvSpPr>
                <p:nvPr/>
              </p:nvSpPr>
              <p:spPr bwMode="gray">
                <a:xfrm>
                  <a:off x="-1649408" y="4881570"/>
                  <a:ext cx="153987" cy="214313"/>
                </a:xfrm>
                <a:custGeom>
                  <a:avLst/>
                  <a:gdLst/>
                  <a:ahLst/>
                  <a:cxnLst>
                    <a:cxn ang="0">
                      <a:pos x="10" y="138"/>
                    </a:cxn>
                    <a:cxn ang="0">
                      <a:pos x="99" y="6"/>
                    </a:cxn>
                    <a:cxn ang="0">
                      <a:pos x="89" y="0"/>
                    </a:cxn>
                    <a:cxn ang="0">
                      <a:pos x="0" y="131"/>
                    </a:cxn>
                    <a:cxn ang="0">
                      <a:pos x="10" y="138"/>
                    </a:cxn>
                  </a:cxnLst>
                  <a:rect l="0" t="0" r="r" b="b"/>
                  <a:pathLst>
                    <a:path w="99" h="138">
                      <a:moveTo>
                        <a:pt x="10" y="138"/>
                      </a:moveTo>
                      <a:cubicBezTo>
                        <a:pt x="99" y="6"/>
                        <a:pt x="99" y="6"/>
                        <a:pt x="99" y="6"/>
                      </a:cubicBezTo>
                      <a:cubicBezTo>
                        <a:pt x="95" y="4"/>
                        <a:pt x="92" y="2"/>
                        <a:pt x="89" y="0"/>
                      </a:cubicBezTo>
                      <a:cubicBezTo>
                        <a:pt x="0" y="131"/>
                        <a:pt x="0" y="131"/>
                        <a:pt x="0" y="131"/>
                      </a:cubicBezTo>
                      <a:cubicBezTo>
                        <a:pt x="4" y="134"/>
                        <a:pt x="7" y="136"/>
                        <a:pt x="10" y="13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schemeClr val="tx2">
                        <a:lumMod val="50000"/>
                      </a:schemeClr>
                    </a:solidFill>
                  </a:endParaRPr>
                </a:p>
              </p:txBody>
            </p:sp>
            <p:sp>
              <p:nvSpPr>
                <p:cNvPr id="135" name="Freeform 1242"/>
                <p:cNvSpPr>
                  <a:spLocks/>
                </p:cNvSpPr>
                <p:nvPr/>
              </p:nvSpPr>
              <p:spPr bwMode="gray">
                <a:xfrm>
                  <a:off x="-2146295" y="4692655"/>
                  <a:ext cx="17461" cy="246062"/>
                </a:xfrm>
                <a:custGeom>
                  <a:avLst/>
                  <a:gdLst/>
                  <a:ahLst/>
                  <a:cxnLst>
                    <a:cxn ang="0">
                      <a:pos x="6" y="159"/>
                    </a:cxn>
                    <a:cxn ang="0">
                      <a:pos x="12" y="159"/>
                    </a:cxn>
                    <a:cxn ang="0">
                      <a:pos x="12" y="0"/>
                    </a:cxn>
                    <a:cxn ang="0">
                      <a:pos x="6" y="0"/>
                    </a:cxn>
                    <a:cxn ang="0">
                      <a:pos x="0" y="0"/>
                    </a:cxn>
                    <a:cxn ang="0">
                      <a:pos x="0" y="159"/>
                    </a:cxn>
                    <a:cxn ang="0">
                      <a:pos x="6" y="159"/>
                    </a:cxn>
                  </a:cxnLst>
                  <a:rect l="0" t="0" r="r" b="b"/>
                  <a:pathLst>
                    <a:path w="12" h="159">
                      <a:moveTo>
                        <a:pt x="6" y="159"/>
                      </a:moveTo>
                      <a:cubicBezTo>
                        <a:pt x="8" y="159"/>
                        <a:pt x="10" y="159"/>
                        <a:pt x="12" y="159"/>
                      </a:cubicBezTo>
                      <a:cubicBezTo>
                        <a:pt x="12" y="0"/>
                        <a:pt x="12" y="0"/>
                        <a:pt x="12" y="0"/>
                      </a:cubicBezTo>
                      <a:cubicBezTo>
                        <a:pt x="10" y="0"/>
                        <a:pt x="8" y="0"/>
                        <a:pt x="6" y="0"/>
                      </a:cubicBezTo>
                      <a:cubicBezTo>
                        <a:pt x="4" y="0"/>
                        <a:pt x="2" y="0"/>
                        <a:pt x="0" y="0"/>
                      </a:cubicBezTo>
                      <a:cubicBezTo>
                        <a:pt x="0" y="159"/>
                        <a:pt x="0" y="159"/>
                        <a:pt x="0" y="159"/>
                      </a:cubicBezTo>
                      <a:cubicBezTo>
                        <a:pt x="2" y="159"/>
                        <a:pt x="4" y="159"/>
                        <a:pt x="6" y="15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schemeClr val="tx2">
                        <a:lumMod val="50000"/>
                      </a:schemeClr>
                    </a:solidFill>
                  </a:endParaRPr>
                </a:p>
              </p:txBody>
            </p:sp>
            <p:sp>
              <p:nvSpPr>
                <p:cNvPr id="136" name="Freeform 1243"/>
                <p:cNvSpPr>
                  <a:spLocks/>
                </p:cNvSpPr>
                <p:nvPr/>
              </p:nvSpPr>
              <p:spPr bwMode="gray">
                <a:xfrm>
                  <a:off x="-2778118" y="4879979"/>
                  <a:ext cx="152400" cy="215900"/>
                </a:xfrm>
                <a:custGeom>
                  <a:avLst/>
                  <a:gdLst/>
                  <a:ahLst/>
                  <a:cxnLst>
                    <a:cxn ang="0">
                      <a:pos x="98" y="132"/>
                    </a:cxn>
                    <a:cxn ang="0">
                      <a:pos x="10" y="0"/>
                    </a:cxn>
                    <a:cxn ang="0">
                      <a:pos x="0" y="7"/>
                    </a:cxn>
                    <a:cxn ang="0">
                      <a:pos x="88" y="139"/>
                    </a:cxn>
                    <a:cxn ang="0">
                      <a:pos x="98" y="132"/>
                    </a:cxn>
                  </a:cxnLst>
                  <a:rect l="0" t="0" r="r" b="b"/>
                  <a:pathLst>
                    <a:path w="98" h="139">
                      <a:moveTo>
                        <a:pt x="98" y="132"/>
                      </a:moveTo>
                      <a:cubicBezTo>
                        <a:pt x="10" y="0"/>
                        <a:pt x="10" y="0"/>
                        <a:pt x="10" y="0"/>
                      </a:cubicBezTo>
                      <a:cubicBezTo>
                        <a:pt x="6" y="2"/>
                        <a:pt x="3" y="5"/>
                        <a:pt x="0" y="7"/>
                      </a:cubicBezTo>
                      <a:cubicBezTo>
                        <a:pt x="88" y="139"/>
                        <a:pt x="88" y="139"/>
                        <a:pt x="88" y="139"/>
                      </a:cubicBezTo>
                      <a:cubicBezTo>
                        <a:pt x="91" y="136"/>
                        <a:pt x="94" y="134"/>
                        <a:pt x="98" y="13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schemeClr val="tx2">
                        <a:lumMod val="50000"/>
                      </a:schemeClr>
                    </a:solidFill>
                  </a:endParaRPr>
                </a:p>
              </p:txBody>
            </p:sp>
            <p:sp>
              <p:nvSpPr>
                <p:cNvPr id="137" name="Freeform 1244"/>
                <p:cNvSpPr>
                  <a:spLocks/>
                </p:cNvSpPr>
                <p:nvPr/>
              </p:nvSpPr>
              <p:spPr bwMode="gray">
                <a:xfrm>
                  <a:off x="-3194042" y="5389567"/>
                  <a:ext cx="234950" cy="111126"/>
                </a:xfrm>
                <a:custGeom>
                  <a:avLst/>
                  <a:gdLst/>
                  <a:ahLst/>
                  <a:cxnLst>
                    <a:cxn ang="0">
                      <a:pos x="151" y="61"/>
                    </a:cxn>
                    <a:cxn ang="0">
                      <a:pos x="5" y="0"/>
                    </a:cxn>
                    <a:cxn ang="0">
                      <a:pos x="0" y="11"/>
                    </a:cxn>
                    <a:cxn ang="0">
                      <a:pos x="147" y="72"/>
                    </a:cxn>
                    <a:cxn ang="0">
                      <a:pos x="151" y="61"/>
                    </a:cxn>
                  </a:cxnLst>
                  <a:rect l="0" t="0" r="r" b="b"/>
                  <a:pathLst>
                    <a:path w="151" h="72">
                      <a:moveTo>
                        <a:pt x="151" y="61"/>
                      </a:moveTo>
                      <a:cubicBezTo>
                        <a:pt x="5" y="0"/>
                        <a:pt x="5" y="0"/>
                        <a:pt x="5" y="0"/>
                      </a:cubicBezTo>
                      <a:cubicBezTo>
                        <a:pt x="3" y="4"/>
                        <a:pt x="2" y="8"/>
                        <a:pt x="0" y="11"/>
                      </a:cubicBezTo>
                      <a:cubicBezTo>
                        <a:pt x="147" y="72"/>
                        <a:pt x="147" y="72"/>
                        <a:pt x="147" y="72"/>
                      </a:cubicBezTo>
                      <a:cubicBezTo>
                        <a:pt x="148" y="68"/>
                        <a:pt x="150" y="65"/>
                        <a:pt x="151" y="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schemeClr val="tx2">
                        <a:lumMod val="50000"/>
                      </a:schemeClr>
                    </a:solidFill>
                  </a:endParaRPr>
                </a:p>
              </p:txBody>
            </p:sp>
            <p:sp>
              <p:nvSpPr>
                <p:cNvPr id="138" name="Freeform 1245"/>
                <p:cNvSpPr>
                  <a:spLocks/>
                </p:cNvSpPr>
                <p:nvPr/>
              </p:nvSpPr>
              <p:spPr bwMode="gray">
                <a:xfrm>
                  <a:off x="-3255955" y="5999166"/>
                  <a:ext cx="244474" cy="66675"/>
                </a:xfrm>
                <a:custGeom>
                  <a:avLst/>
                  <a:gdLst/>
                  <a:ahLst/>
                  <a:cxnLst>
                    <a:cxn ang="0">
                      <a:pos x="155" y="0"/>
                    </a:cxn>
                    <a:cxn ang="0">
                      <a:pos x="0" y="31"/>
                    </a:cxn>
                    <a:cxn ang="0">
                      <a:pos x="2" y="43"/>
                    </a:cxn>
                    <a:cxn ang="0">
                      <a:pos x="158" y="12"/>
                    </a:cxn>
                    <a:cxn ang="0">
                      <a:pos x="155" y="0"/>
                    </a:cxn>
                  </a:cxnLst>
                  <a:rect l="0" t="0" r="r" b="b"/>
                  <a:pathLst>
                    <a:path w="158" h="43">
                      <a:moveTo>
                        <a:pt x="155" y="0"/>
                      </a:moveTo>
                      <a:cubicBezTo>
                        <a:pt x="0" y="31"/>
                        <a:pt x="0" y="31"/>
                        <a:pt x="0" y="31"/>
                      </a:cubicBezTo>
                      <a:cubicBezTo>
                        <a:pt x="1" y="35"/>
                        <a:pt x="2" y="39"/>
                        <a:pt x="2" y="43"/>
                      </a:cubicBezTo>
                      <a:cubicBezTo>
                        <a:pt x="158" y="12"/>
                        <a:pt x="158" y="12"/>
                        <a:pt x="158" y="12"/>
                      </a:cubicBezTo>
                      <a:cubicBezTo>
                        <a:pt x="157" y="8"/>
                        <a:pt x="156" y="4"/>
                        <a:pt x="155"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schemeClr val="tx2">
                        <a:lumMod val="50000"/>
                      </a:schemeClr>
                    </a:solidFill>
                  </a:endParaRPr>
                </a:p>
              </p:txBody>
            </p:sp>
            <p:sp>
              <p:nvSpPr>
                <p:cNvPr id="139" name="Freeform 1246"/>
                <p:cNvSpPr>
                  <a:spLocks/>
                </p:cNvSpPr>
                <p:nvPr/>
              </p:nvSpPr>
              <p:spPr bwMode="gray">
                <a:xfrm>
                  <a:off x="-2949575" y="6464300"/>
                  <a:ext cx="180974" cy="180975"/>
                </a:xfrm>
                <a:custGeom>
                  <a:avLst/>
                  <a:gdLst/>
                  <a:ahLst/>
                  <a:cxnLst>
                    <a:cxn ang="0">
                      <a:pos x="8" y="114"/>
                    </a:cxn>
                    <a:cxn ang="0">
                      <a:pos x="0" y="105"/>
                    </a:cxn>
                    <a:cxn ang="0">
                      <a:pos x="106" y="0"/>
                    </a:cxn>
                    <a:cxn ang="0">
                      <a:pos x="114" y="7"/>
                    </a:cxn>
                    <a:cxn ang="0">
                      <a:pos x="8" y="114"/>
                    </a:cxn>
                    <a:cxn ang="0">
                      <a:pos x="8" y="114"/>
                    </a:cxn>
                  </a:cxnLst>
                  <a:rect l="0" t="0" r="r" b="b"/>
                  <a:pathLst>
                    <a:path w="114" h="114">
                      <a:moveTo>
                        <a:pt x="8" y="114"/>
                      </a:moveTo>
                      <a:lnTo>
                        <a:pt x="0" y="105"/>
                      </a:lnTo>
                      <a:lnTo>
                        <a:pt x="106" y="0"/>
                      </a:lnTo>
                      <a:lnTo>
                        <a:pt x="114" y="7"/>
                      </a:lnTo>
                      <a:lnTo>
                        <a:pt x="8" y="114"/>
                      </a:lnTo>
                      <a:lnTo>
                        <a:pt x="8" y="11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schemeClr val="tx2">
                        <a:lumMod val="50000"/>
                      </a:schemeClr>
                    </a:solidFill>
                  </a:endParaRPr>
                </a:p>
              </p:txBody>
            </p:sp>
          </p:grpSp>
          <p:sp>
            <p:nvSpPr>
              <p:cNvPr id="120" name="Textfeld 292"/>
              <p:cNvSpPr txBox="1"/>
              <p:nvPr/>
            </p:nvSpPr>
            <p:spPr bwMode="gray">
              <a:xfrm>
                <a:off x="1095993" y="4194925"/>
                <a:ext cx="263214" cy="261610"/>
              </a:xfrm>
              <a:prstGeom prst="rect">
                <a:avLst/>
              </a:prstGeom>
              <a:noFill/>
              <a:ln>
                <a:noFill/>
              </a:ln>
            </p:spPr>
            <p:txBody>
              <a:bodyPr wrap="none" rtlCol="0">
                <a:spAutoFit/>
              </a:bodyPr>
              <a:lstStyle/>
              <a:p>
                <a:pPr algn="ctr"/>
                <a:r>
                  <a:rPr lang="tr-TR" sz="1100" b="1" dirty="0" smtClean="0">
                    <a:ln w="3175">
                      <a:solidFill>
                        <a:srgbClr val="FFFFFF"/>
                      </a:solidFill>
                    </a:ln>
                    <a:solidFill>
                      <a:schemeClr val="tx2">
                        <a:lumMod val="50000"/>
                      </a:schemeClr>
                    </a:solidFill>
                    <a:effectLst>
                      <a:innerShdw blurRad="63500" dist="50800" dir="13500000">
                        <a:prstClr val="black">
                          <a:alpha val="50000"/>
                        </a:prstClr>
                      </a:innerShdw>
                    </a:effectLst>
                    <a:latin typeface="Arial" pitchFamily="34" charset="0"/>
                    <a:cs typeface="Arial" pitchFamily="34" charset="0"/>
                  </a:rPr>
                  <a:t>2</a:t>
                </a:r>
                <a:endParaRPr lang="en-US" sz="1100" b="1" dirty="0" smtClean="0">
                  <a:ln w="3175">
                    <a:solidFill>
                      <a:srgbClr val="FFFFFF"/>
                    </a:solidFill>
                  </a:ln>
                  <a:solidFill>
                    <a:schemeClr val="tx2">
                      <a:lumMod val="50000"/>
                    </a:schemeClr>
                  </a:solidFill>
                  <a:effectLst>
                    <a:innerShdw blurRad="63500" dist="50800" dir="13500000">
                      <a:prstClr val="black">
                        <a:alpha val="50000"/>
                      </a:prstClr>
                    </a:innerShdw>
                  </a:effectLst>
                  <a:latin typeface="Arial" pitchFamily="34" charset="0"/>
                  <a:cs typeface="Arial" pitchFamily="34" charset="0"/>
                </a:endParaRPr>
              </a:p>
            </p:txBody>
          </p:sp>
          <p:sp>
            <p:nvSpPr>
              <p:cNvPr id="121" name="Textfeld 293"/>
              <p:cNvSpPr txBox="1"/>
              <p:nvPr/>
            </p:nvSpPr>
            <p:spPr bwMode="gray">
              <a:xfrm>
                <a:off x="1287725" y="3961741"/>
                <a:ext cx="263214" cy="261610"/>
              </a:xfrm>
              <a:prstGeom prst="rect">
                <a:avLst/>
              </a:prstGeom>
              <a:noFill/>
              <a:ln>
                <a:noFill/>
              </a:ln>
            </p:spPr>
            <p:txBody>
              <a:bodyPr wrap="none" rtlCol="0">
                <a:spAutoFit/>
              </a:bodyPr>
              <a:lstStyle/>
              <a:p>
                <a:pPr algn="ctr"/>
                <a:r>
                  <a:rPr lang="tr-TR" sz="1100" b="1" dirty="0" smtClean="0">
                    <a:ln w="3175">
                      <a:solidFill>
                        <a:srgbClr val="FFFFFF"/>
                      </a:solidFill>
                    </a:ln>
                    <a:solidFill>
                      <a:schemeClr val="tx2">
                        <a:lumMod val="50000"/>
                      </a:schemeClr>
                    </a:solidFill>
                    <a:effectLst>
                      <a:innerShdw blurRad="63500" dist="50800" dir="13500000">
                        <a:prstClr val="black">
                          <a:alpha val="50000"/>
                        </a:prstClr>
                      </a:innerShdw>
                    </a:effectLst>
                    <a:latin typeface="Arial" pitchFamily="34" charset="0"/>
                    <a:cs typeface="Arial" pitchFamily="34" charset="0"/>
                  </a:rPr>
                  <a:t>3</a:t>
                </a:r>
                <a:endParaRPr lang="en-US" sz="1100" b="1" dirty="0" smtClean="0">
                  <a:ln w="3175">
                    <a:solidFill>
                      <a:srgbClr val="FFFFFF"/>
                    </a:solidFill>
                  </a:ln>
                  <a:solidFill>
                    <a:schemeClr val="tx2">
                      <a:lumMod val="50000"/>
                    </a:schemeClr>
                  </a:solidFill>
                  <a:effectLst>
                    <a:innerShdw blurRad="63500" dist="50800" dir="13500000">
                      <a:prstClr val="black">
                        <a:alpha val="50000"/>
                      </a:prstClr>
                    </a:innerShdw>
                  </a:effectLst>
                  <a:latin typeface="Arial" pitchFamily="34" charset="0"/>
                  <a:cs typeface="Arial" pitchFamily="34" charset="0"/>
                </a:endParaRPr>
              </a:p>
            </p:txBody>
          </p:sp>
          <p:sp>
            <p:nvSpPr>
              <p:cNvPr id="122" name="Textfeld 294"/>
              <p:cNvSpPr txBox="1"/>
              <p:nvPr/>
            </p:nvSpPr>
            <p:spPr bwMode="gray">
              <a:xfrm>
                <a:off x="1577909" y="3877106"/>
                <a:ext cx="263214" cy="261610"/>
              </a:xfrm>
              <a:prstGeom prst="rect">
                <a:avLst/>
              </a:prstGeom>
              <a:noFill/>
              <a:ln>
                <a:noFill/>
              </a:ln>
            </p:spPr>
            <p:txBody>
              <a:bodyPr wrap="none" rtlCol="0">
                <a:spAutoFit/>
              </a:bodyPr>
              <a:lstStyle/>
              <a:p>
                <a:pPr algn="ctr"/>
                <a:r>
                  <a:rPr lang="tr-TR" sz="1100" b="1" dirty="0" smtClean="0">
                    <a:ln w="3175">
                      <a:solidFill>
                        <a:srgbClr val="FFFFFF"/>
                      </a:solidFill>
                    </a:ln>
                    <a:solidFill>
                      <a:schemeClr val="tx2">
                        <a:lumMod val="50000"/>
                      </a:schemeClr>
                    </a:solidFill>
                    <a:effectLst>
                      <a:innerShdw blurRad="63500" dist="50800" dir="13500000">
                        <a:prstClr val="black">
                          <a:alpha val="50000"/>
                        </a:prstClr>
                      </a:innerShdw>
                    </a:effectLst>
                    <a:latin typeface="Arial" pitchFamily="34" charset="0"/>
                    <a:cs typeface="Arial" pitchFamily="34" charset="0"/>
                  </a:rPr>
                  <a:t>5</a:t>
                </a:r>
                <a:endParaRPr lang="en-US" sz="1100" b="1" dirty="0" smtClean="0">
                  <a:ln w="3175">
                    <a:solidFill>
                      <a:srgbClr val="FFFFFF"/>
                    </a:solidFill>
                  </a:ln>
                  <a:solidFill>
                    <a:schemeClr val="tx2">
                      <a:lumMod val="50000"/>
                    </a:schemeClr>
                  </a:solidFill>
                  <a:effectLst>
                    <a:innerShdw blurRad="63500" dist="50800" dir="13500000">
                      <a:prstClr val="black">
                        <a:alpha val="50000"/>
                      </a:prstClr>
                    </a:innerShdw>
                  </a:effectLst>
                  <a:latin typeface="Arial" pitchFamily="34" charset="0"/>
                  <a:cs typeface="Arial" pitchFamily="34" charset="0"/>
                </a:endParaRPr>
              </a:p>
            </p:txBody>
          </p:sp>
          <p:sp>
            <p:nvSpPr>
              <p:cNvPr id="123" name="Textfeld 295"/>
              <p:cNvSpPr txBox="1"/>
              <p:nvPr/>
            </p:nvSpPr>
            <p:spPr bwMode="gray">
              <a:xfrm>
                <a:off x="1875002" y="3961741"/>
                <a:ext cx="263214" cy="261610"/>
              </a:xfrm>
              <a:prstGeom prst="rect">
                <a:avLst/>
              </a:prstGeom>
              <a:noFill/>
              <a:ln>
                <a:noFill/>
              </a:ln>
            </p:spPr>
            <p:txBody>
              <a:bodyPr wrap="none" rtlCol="0">
                <a:spAutoFit/>
              </a:bodyPr>
              <a:lstStyle/>
              <a:p>
                <a:pPr algn="ctr"/>
                <a:r>
                  <a:rPr lang="tr-TR" sz="1100" b="1" dirty="0">
                    <a:ln w="3175">
                      <a:solidFill>
                        <a:srgbClr val="FFFFFF"/>
                      </a:solidFill>
                    </a:ln>
                    <a:solidFill>
                      <a:schemeClr val="tx2">
                        <a:lumMod val="50000"/>
                      </a:schemeClr>
                    </a:solidFill>
                    <a:effectLst>
                      <a:innerShdw blurRad="63500" dist="50800" dir="13500000">
                        <a:prstClr val="black">
                          <a:alpha val="50000"/>
                        </a:prstClr>
                      </a:innerShdw>
                    </a:effectLst>
                    <a:latin typeface="Arial" pitchFamily="34" charset="0"/>
                    <a:cs typeface="Arial" pitchFamily="34" charset="0"/>
                  </a:rPr>
                  <a:t>7</a:t>
                </a:r>
                <a:endParaRPr lang="en-US" sz="1100" b="1" dirty="0" smtClean="0">
                  <a:ln w="3175">
                    <a:solidFill>
                      <a:srgbClr val="FFFFFF"/>
                    </a:solidFill>
                  </a:ln>
                  <a:solidFill>
                    <a:schemeClr val="tx2">
                      <a:lumMod val="50000"/>
                    </a:schemeClr>
                  </a:solidFill>
                  <a:effectLst>
                    <a:innerShdw blurRad="63500" dist="50800" dir="13500000">
                      <a:prstClr val="black">
                        <a:alpha val="50000"/>
                      </a:prstClr>
                    </a:innerShdw>
                  </a:effectLst>
                  <a:latin typeface="Arial" pitchFamily="34" charset="0"/>
                  <a:cs typeface="Arial" pitchFamily="34" charset="0"/>
                </a:endParaRPr>
              </a:p>
            </p:txBody>
          </p:sp>
          <p:sp>
            <p:nvSpPr>
              <p:cNvPr id="124" name="Textfeld 296"/>
              <p:cNvSpPr txBox="1"/>
              <p:nvPr/>
            </p:nvSpPr>
            <p:spPr bwMode="gray">
              <a:xfrm>
                <a:off x="2071910" y="4194925"/>
                <a:ext cx="263214" cy="261610"/>
              </a:xfrm>
              <a:prstGeom prst="rect">
                <a:avLst/>
              </a:prstGeom>
              <a:noFill/>
              <a:ln>
                <a:noFill/>
              </a:ln>
            </p:spPr>
            <p:txBody>
              <a:bodyPr wrap="none" rtlCol="0">
                <a:spAutoFit/>
              </a:bodyPr>
              <a:lstStyle/>
              <a:p>
                <a:pPr algn="ctr"/>
                <a:r>
                  <a:rPr lang="tr-TR" sz="1100" b="1" dirty="0">
                    <a:ln w="3175">
                      <a:solidFill>
                        <a:srgbClr val="FFFFFF"/>
                      </a:solidFill>
                    </a:ln>
                    <a:solidFill>
                      <a:schemeClr val="tx2">
                        <a:lumMod val="50000"/>
                      </a:schemeClr>
                    </a:solidFill>
                    <a:effectLst>
                      <a:innerShdw blurRad="63500" dist="50800" dir="13500000">
                        <a:prstClr val="black">
                          <a:alpha val="50000"/>
                        </a:prstClr>
                      </a:innerShdw>
                    </a:effectLst>
                    <a:latin typeface="Arial" pitchFamily="34" charset="0"/>
                    <a:cs typeface="Arial" pitchFamily="34" charset="0"/>
                  </a:rPr>
                  <a:t>9</a:t>
                </a:r>
                <a:endParaRPr lang="en-US" sz="1100" b="1" dirty="0" smtClean="0">
                  <a:ln w="3175">
                    <a:solidFill>
                      <a:srgbClr val="FFFFFF"/>
                    </a:solidFill>
                  </a:ln>
                  <a:solidFill>
                    <a:schemeClr val="tx2">
                      <a:lumMod val="50000"/>
                    </a:schemeClr>
                  </a:solidFill>
                  <a:effectLst>
                    <a:innerShdw blurRad="63500" dist="50800" dir="13500000">
                      <a:prstClr val="black">
                        <a:alpha val="50000"/>
                      </a:prstClr>
                    </a:innerShdw>
                  </a:effectLst>
                  <a:latin typeface="Arial" pitchFamily="34" charset="0"/>
                  <a:cs typeface="Arial" pitchFamily="34" charset="0"/>
                </a:endParaRPr>
              </a:p>
            </p:txBody>
          </p:sp>
          <p:sp>
            <p:nvSpPr>
              <p:cNvPr id="125" name="Textfeld 297"/>
              <p:cNvSpPr txBox="1"/>
              <p:nvPr/>
            </p:nvSpPr>
            <p:spPr bwMode="gray">
              <a:xfrm>
                <a:off x="2068907" y="4502382"/>
                <a:ext cx="341760" cy="261610"/>
              </a:xfrm>
              <a:prstGeom prst="rect">
                <a:avLst/>
              </a:prstGeom>
              <a:noFill/>
              <a:ln>
                <a:noFill/>
              </a:ln>
            </p:spPr>
            <p:txBody>
              <a:bodyPr wrap="none" rtlCol="0">
                <a:spAutoFit/>
              </a:bodyPr>
              <a:lstStyle/>
              <a:p>
                <a:pPr algn="ctr"/>
                <a:r>
                  <a:rPr lang="tr-TR" sz="1100" b="1" dirty="0" smtClean="0">
                    <a:ln w="3175">
                      <a:solidFill>
                        <a:srgbClr val="FFFFFF"/>
                      </a:solidFill>
                    </a:ln>
                    <a:solidFill>
                      <a:schemeClr val="tx2">
                        <a:lumMod val="50000"/>
                      </a:schemeClr>
                    </a:solidFill>
                    <a:effectLst>
                      <a:innerShdw blurRad="63500" dist="50800" dir="13500000">
                        <a:prstClr val="black">
                          <a:alpha val="50000"/>
                        </a:prstClr>
                      </a:innerShdw>
                    </a:effectLst>
                    <a:latin typeface="Arial" pitchFamily="34" charset="0"/>
                    <a:cs typeface="Arial" pitchFamily="34" charset="0"/>
                  </a:rPr>
                  <a:t>10</a:t>
                </a:r>
                <a:endParaRPr lang="en-US" sz="1100" b="1" dirty="0" smtClean="0">
                  <a:ln w="3175">
                    <a:solidFill>
                      <a:srgbClr val="FFFFFF"/>
                    </a:solidFill>
                  </a:ln>
                  <a:solidFill>
                    <a:schemeClr val="tx2">
                      <a:lumMod val="50000"/>
                    </a:schemeClr>
                  </a:solidFill>
                  <a:effectLst>
                    <a:innerShdw blurRad="63500" dist="50800" dir="13500000">
                      <a:prstClr val="black">
                        <a:alpha val="50000"/>
                      </a:prstClr>
                    </a:innerShdw>
                  </a:effectLst>
                  <a:latin typeface="Arial" pitchFamily="34" charset="0"/>
                  <a:cs typeface="Arial" pitchFamily="34" charset="0"/>
                </a:endParaRPr>
              </a:p>
            </p:txBody>
          </p:sp>
          <p:sp>
            <p:nvSpPr>
              <p:cNvPr id="126" name="Textfeld 298"/>
              <p:cNvSpPr txBox="1"/>
              <p:nvPr/>
            </p:nvSpPr>
            <p:spPr bwMode="gray">
              <a:xfrm>
                <a:off x="1900656" y="4768251"/>
                <a:ext cx="341760" cy="261610"/>
              </a:xfrm>
              <a:prstGeom prst="rect">
                <a:avLst/>
              </a:prstGeom>
              <a:noFill/>
              <a:ln>
                <a:noFill/>
              </a:ln>
            </p:spPr>
            <p:txBody>
              <a:bodyPr wrap="none" rtlCol="0">
                <a:spAutoFit/>
              </a:bodyPr>
              <a:lstStyle/>
              <a:p>
                <a:pPr algn="ctr"/>
                <a:r>
                  <a:rPr lang="tr-TR" sz="1100" b="1" dirty="0" smtClean="0">
                    <a:ln w="3175">
                      <a:solidFill>
                        <a:srgbClr val="FFFFFF"/>
                      </a:solidFill>
                    </a:ln>
                    <a:solidFill>
                      <a:schemeClr val="tx2">
                        <a:lumMod val="50000"/>
                      </a:schemeClr>
                    </a:solidFill>
                    <a:effectLst>
                      <a:innerShdw blurRad="63500" dist="50800" dir="13500000">
                        <a:prstClr val="black">
                          <a:alpha val="50000"/>
                        </a:prstClr>
                      </a:innerShdw>
                    </a:effectLst>
                    <a:latin typeface="Arial" pitchFamily="34" charset="0"/>
                    <a:cs typeface="Arial" pitchFamily="34" charset="0"/>
                  </a:rPr>
                  <a:t>12</a:t>
                </a:r>
                <a:endParaRPr lang="en-US" sz="1100" b="1" dirty="0" smtClean="0">
                  <a:ln w="3175">
                    <a:solidFill>
                      <a:srgbClr val="FFFFFF"/>
                    </a:solidFill>
                  </a:ln>
                  <a:solidFill>
                    <a:schemeClr val="tx2">
                      <a:lumMod val="50000"/>
                    </a:schemeClr>
                  </a:solidFill>
                  <a:effectLst>
                    <a:innerShdw blurRad="63500" dist="50800" dir="13500000">
                      <a:prstClr val="black">
                        <a:alpha val="50000"/>
                      </a:prstClr>
                    </a:innerShdw>
                  </a:effectLst>
                  <a:latin typeface="Arial" pitchFamily="34" charset="0"/>
                  <a:cs typeface="Arial" pitchFamily="34" charset="0"/>
                </a:endParaRPr>
              </a:p>
            </p:txBody>
          </p:sp>
          <p:sp>
            <p:nvSpPr>
              <p:cNvPr id="127" name="Halbbogen 299"/>
              <p:cNvSpPr/>
              <p:nvPr/>
            </p:nvSpPr>
            <p:spPr bwMode="gray">
              <a:xfrm>
                <a:off x="976511" y="3759518"/>
                <a:ext cx="1457830" cy="1457830"/>
              </a:xfrm>
              <a:prstGeom prst="blockArc">
                <a:avLst>
                  <a:gd name="adj1" fmla="val 20415260"/>
                  <a:gd name="adj2" fmla="val 579940"/>
                  <a:gd name="adj3" fmla="val 7195"/>
                </a:avLst>
              </a:prstGeom>
              <a:solidFill>
                <a:schemeClr val="accent5">
                  <a:lumMod val="60000"/>
                  <a:lumOff val="40000"/>
                </a:schemeClr>
              </a:solidFill>
              <a:ln w="12700">
                <a:noFill/>
                <a:round/>
                <a:headEnd/>
                <a:tailEnd/>
              </a:ln>
            </p:spPr>
            <p:txBody>
              <a:bodyPr rtlCol="0" anchor="ctr"/>
              <a:lstStyle/>
              <a:p>
                <a:pPr algn="ctr"/>
                <a:endParaRPr lang="en-US" dirty="0">
                  <a:solidFill>
                    <a:schemeClr val="tx2">
                      <a:lumMod val="50000"/>
                    </a:schemeClr>
                  </a:solidFill>
                </a:endParaRPr>
              </a:p>
            </p:txBody>
          </p:sp>
          <p:sp>
            <p:nvSpPr>
              <p:cNvPr id="128" name="Halbbogen 300"/>
              <p:cNvSpPr/>
              <p:nvPr/>
            </p:nvSpPr>
            <p:spPr bwMode="gray">
              <a:xfrm rot="1987981">
                <a:off x="976511" y="3759518"/>
                <a:ext cx="1457830" cy="1457830"/>
              </a:xfrm>
              <a:prstGeom prst="blockArc">
                <a:avLst>
                  <a:gd name="adj1" fmla="val 20443763"/>
                  <a:gd name="adj2" fmla="val 579940"/>
                  <a:gd name="adj3" fmla="val 7195"/>
                </a:avLst>
              </a:prstGeom>
              <a:solidFill>
                <a:schemeClr val="accent5">
                  <a:lumMod val="60000"/>
                  <a:lumOff val="40000"/>
                </a:schemeClr>
              </a:solidFill>
              <a:ln w="12700">
                <a:noFill/>
                <a:round/>
                <a:headEnd/>
                <a:tailEnd/>
              </a:ln>
            </p:spPr>
            <p:txBody>
              <a:bodyPr rtlCol="0" anchor="ctr"/>
              <a:lstStyle/>
              <a:p>
                <a:pPr algn="ctr"/>
                <a:endParaRPr lang="en-US" dirty="0">
                  <a:solidFill>
                    <a:schemeClr val="tx2">
                      <a:lumMod val="50000"/>
                    </a:schemeClr>
                  </a:solidFill>
                </a:endParaRPr>
              </a:p>
            </p:txBody>
          </p:sp>
          <p:sp>
            <p:nvSpPr>
              <p:cNvPr id="130" name="Rad 302"/>
              <p:cNvSpPr/>
              <p:nvPr/>
            </p:nvSpPr>
            <p:spPr bwMode="gray">
              <a:xfrm>
                <a:off x="704913" y="3484697"/>
                <a:ext cx="2019010" cy="2019010"/>
              </a:xfrm>
              <a:prstGeom prst="donut">
                <a:avLst>
                  <a:gd name="adj" fmla="val 7291"/>
                </a:avLst>
              </a:prstGeom>
              <a:solidFill>
                <a:srgbClr val="A6A6A6"/>
              </a:solidFill>
              <a:ln w="12700">
                <a:noFill/>
                <a:round/>
                <a:headEnd/>
                <a:tailEnd/>
              </a:ln>
              <a:effectLst>
                <a:outerShdw blurRad="165100" dist="38100" dir="2700000" algn="tl" rotWithShape="0">
                  <a:prstClr val="black">
                    <a:alpha val="40000"/>
                  </a:prstClr>
                </a:outerShdw>
              </a:effectLst>
              <a:scene3d>
                <a:camera prst="orthographicFront"/>
                <a:lightRig rig="balanced" dir="t">
                  <a:rot lat="0" lon="0" rev="7800000"/>
                </a:lightRig>
              </a:scene3d>
              <a:sp3d>
                <a:bevelT w="101600" h="101600" prst="angle"/>
              </a:sp3d>
            </p:spPr>
            <p:txBody>
              <a:bodyPr rtlCol="0" anchor="ctr"/>
              <a:lstStyle/>
              <a:p>
                <a:pPr algn="ctr"/>
                <a:endParaRPr lang="en-US" sz="1400" dirty="0">
                  <a:solidFill>
                    <a:schemeClr val="tx2">
                      <a:lumMod val="50000"/>
                    </a:schemeClr>
                  </a:solidFill>
                </a:endParaRPr>
              </a:p>
            </p:txBody>
          </p:sp>
        </p:grpSp>
        <p:sp>
          <p:nvSpPr>
            <p:cNvPr id="152" name="Ellipse 315"/>
            <p:cNvSpPr/>
            <p:nvPr/>
          </p:nvSpPr>
          <p:spPr bwMode="gray">
            <a:xfrm>
              <a:off x="5044882" y="2107264"/>
              <a:ext cx="284922" cy="284921"/>
            </a:xfrm>
            <a:prstGeom prst="ellipse">
              <a:avLst/>
            </a:prstGeom>
            <a:solidFill>
              <a:srgbClr val="D9D9D9"/>
            </a:solidFill>
            <a:ln w="12700">
              <a:noFill/>
              <a:round/>
              <a:headEnd/>
              <a:tailEnd/>
            </a:ln>
            <a:effectLst>
              <a:outerShdw blurRad="50800" dist="38100" dir="2700000" algn="tl" rotWithShape="0">
                <a:prstClr val="black">
                  <a:alpha val="40000"/>
                </a:prstClr>
              </a:outerShdw>
            </a:effectLst>
            <a:scene3d>
              <a:camera prst="orthographicFront"/>
              <a:lightRig rig="threePt" dir="t"/>
            </a:scene3d>
            <a:sp3d>
              <a:bevelT w="107950" h="146050" prst="relaxedInset"/>
            </a:sp3d>
          </p:spPr>
          <p:txBody>
            <a:bodyPr rtlCol="0" anchor="ctr"/>
            <a:lstStyle/>
            <a:p>
              <a:pPr algn="ctr"/>
              <a:endParaRPr lang="en-US" dirty="0">
                <a:solidFill>
                  <a:schemeClr val="tx2">
                    <a:lumMod val="50000"/>
                  </a:schemeClr>
                </a:solidFill>
              </a:endParaRPr>
            </a:p>
          </p:txBody>
        </p:sp>
      </p:grpSp>
      <p:grpSp>
        <p:nvGrpSpPr>
          <p:cNvPr id="313" name="vbaPointer Zeiger vorne" descr="ValuePointer.5/ValuePointer.AngleStart.-45/AngleStart.AngleEnd.225/AngleEnd.ValueStart.0/ValueStart.ValueEnd.8/ValueEnd.Step.1/Step."/>
          <p:cNvGrpSpPr/>
          <p:nvPr/>
        </p:nvGrpSpPr>
        <p:grpSpPr bwMode="gray">
          <a:xfrm rot="18900000">
            <a:off x="924164" y="2419001"/>
            <a:ext cx="2003836" cy="184546"/>
            <a:chOff x="3292874" y="3573202"/>
            <a:chExt cx="2551121" cy="306892"/>
          </a:xfrm>
          <a:solidFill>
            <a:schemeClr val="accent5">
              <a:lumMod val="40000"/>
              <a:lumOff val="60000"/>
            </a:schemeClr>
          </a:solidFill>
        </p:grpSpPr>
        <p:sp>
          <p:nvSpPr>
            <p:cNvPr id="314" name="Freeform 41"/>
            <p:cNvSpPr>
              <a:spLocks/>
            </p:cNvSpPr>
            <p:nvPr/>
          </p:nvSpPr>
          <p:spPr bwMode="gray">
            <a:xfrm>
              <a:off x="3292874" y="3573202"/>
              <a:ext cx="1127452" cy="306890"/>
            </a:xfrm>
            <a:custGeom>
              <a:avLst/>
              <a:gdLst/>
              <a:ahLst/>
              <a:cxnLst>
                <a:cxn ang="0">
                  <a:pos x="477" y="49"/>
                </a:cxn>
                <a:cxn ang="0">
                  <a:pos x="13" y="56"/>
                </a:cxn>
                <a:cxn ang="0">
                  <a:pos x="0" y="69"/>
                </a:cxn>
                <a:cxn ang="0">
                  <a:pos x="13" y="82"/>
                </a:cxn>
                <a:cxn ang="0">
                  <a:pos x="477" y="90"/>
                </a:cxn>
                <a:cxn ang="0">
                  <a:pos x="509" y="114"/>
                </a:cxn>
                <a:cxn ang="0">
                  <a:pos x="509" y="24"/>
                </a:cxn>
                <a:cxn ang="0">
                  <a:pos x="477" y="49"/>
                </a:cxn>
              </a:cxnLst>
              <a:rect l="0" t="0" r="r" b="b"/>
              <a:pathLst>
                <a:path w="510" h="139">
                  <a:moveTo>
                    <a:pt x="477" y="49"/>
                  </a:moveTo>
                  <a:cubicBezTo>
                    <a:pt x="13" y="56"/>
                    <a:pt x="13" y="56"/>
                    <a:pt x="13" y="56"/>
                  </a:cubicBezTo>
                  <a:cubicBezTo>
                    <a:pt x="6" y="56"/>
                    <a:pt x="0" y="62"/>
                    <a:pt x="0" y="69"/>
                  </a:cubicBezTo>
                  <a:cubicBezTo>
                    <a:pt x="0" y="77"/>
                    <a:pt x="6" y="82"/>
                    <a:pt x="13" y="82"/>
                  </a:cubicBezTo>
                  <a:cubicBezTo>
                    <a:pt x="477" y="90"/>
                    <a:pt x="477" y="90"/>
                    <a:pt x="477" y="90"/>
                  </a:cubicBezTo>
                  <a:cubicBezTo>
                    <a:pt x="477" y="90"/>
                    <a:pt x="509" y="90"/>
                    <a:pt x="509" y="114"/>
                  </a:cubicBezTo>
                  <a:cubicBezTo>
                    <a:pt x="509" y="139"/>
                    <a:pt x="510" y="0"/>
                    <a:pt x="509" y="24"/>
                  </a:cubicBezTo>
                  <a:cubicBezTo>
                    <a:pt x="509" y="49"/>
                    <a:pt x="477" y="49"/>
                    <a:pt x="477" y="49"/>
                  </a:cubicBezTo>
                  <a:close/>
                </a:path>
              </a:pathLst>
            </a:custGeom>
            <a:grpFill/>
            <a:ln w="19050">
              <a:solidFill>
                <a:schemeClr val="accent5">
                  <a:lumMod val="40000"/>
                  <a:lumOff val="60000"/>
                </a:schemeClr>
              </a:solidFill>
              <a:round/>
              <a:headEnd/>
              <a:tailEnd/>
            </a:ln>
            <a:effectLst>
              <a:outerShdw blurRad="76200" dir="2700000" sx="104000" sy="104000" algn="tl" rotWithShape="0">
                <a:srgbClr val="FF3300">
                  <a:alpha val="40000"/>
                </a:srgbClr>
              </a:outerShdw>
            </a:effectLst>
            <a:scene3d>
              <a:camera prst="orthographicFront"/>
              <a:lightRig rig="soft" dir="t"/>
            </a:scene3d>
            <a:sp3d>
              <a:bevelT w="31750" h="19050" prst="relaxedInset"/>
            </a:sp3d>
          </p:spPr>
          <p:txBody>
            <a:bodyPr rtlCol="0" anchor="ctr"/>
            <a:lstStyle/>
            <a:p>
              <a:pPr algn="ctr"/>
              <a:endParaRPr lang="en-US" sz="1400" dirty="0">
                <a:solidFill>
                  <a:schemeClr val="tx2">
                    <a:lumMod val="50000"/>
                  </a:schemeClr>
                </a:solidFill>
              </a:endParaRPr>
            </a:p>
          </p:txBody>
        </p:sp>
        <p:sp>
          <p:nvSpPr>
            <p:cNvPr id="315" name="Freeform 41"/>
            <p:cNvSpPr>
              <a:spLocks/>
            </p:cNvSpPr>
            <p:nvPr/>
          </p:nvSpPr>
          <p:spPr bwMode="gray">
            <a:xfrm flipH="1">
              <a:off x="4716543" y="3573204"/>
              <a:ext cx="1127452" cy="306890"/>
            </a:xfrm>
            <a:custGeom>
              <a:avLst/>
              <a:gdLst/>
              <a:ahLst/>
              <a:cxnLst>
                <a:cxn ang="0">
                  <a:pos x="477" y="49"/>
                </a:cxn>
                <a:cxn ang="0">
                  <a:pos x="13" y="56"/>
                </a:cxn>
                <a:cxn ang="0">
                  <a:pos x="0" y="69"/>
                </a:cxn>
                <a:cxn ang="0">
                  <a:pos x="13" y="82"/>
                </a:cxn>
                <a:cxn ang="0">
                  <a:pos x="477" y="90"/>
                </a:cxn>
                <a:cxn ang="0">
                  <a:pos x="509" y="114"/>
                </a:cxn>
                <a:cxn ang="0">
                  <a:pos x="509" y="24"/>
                </a:cxn>
                <a:cxn ang="0">
                  <a:pos x="477" y="49"/>
                </a:cxn>
              </a:cxnLst>
              <a:rect l="0" t="0" r="r" b="b"/>
              <a:pathLst>
                <a:path w="510" h="139">
                  <a:moveTo>
                    <a:pt x="477" y="49"/>
                  </a:moveTo>
                  <a:cubicBezTo>
                    <a:pt x="13" y="56"/>
                    <a:pt x="13" y="56"/>
                    <a:pt x="13" y="56"/>
                  </a:cubicBezTo>
                  <a:cubicBezTo>
                    <a:pt x="6" y="56"/>
                    <a:pt x="0" y="62"/>
                    <a:pt x="0" y="69"/>
                  </a:cubicBezTo>
                  <a:cubicBezTo>
                    <a:pt x="0" y="77"/>
                    <a:pt x="6" y="82"/>
                    <a:pt x="13" y="82"/>
                  </a:cubicBezTo>
                  <a:cubicBezTo>
                    <a:pt x="477" y="90"/>
                    <a:pt x="477" y="90"/>
                    <a:pt x="477" y="90"/>
                  </a:cubicBezTo>
                  <a:cubicBezTo>
                    <a:pt x="477" y="90"/>
                    <a:pt x="509" y="90"/>
                    <a:pt x="509" y="114"/>
                  </a:cubicBezTo>
                  <a:cubicBezTo>
                    <a:pt x="509" y="139"/>
                    <a:pt x="510" y="0"/>
                    <a:pt x="509" y="24"/>
                  </a:cubicBezTo>
                  <a:cubicBezTo>
                    <a:pt x="509" y="49"/>
                    <a:pt x="477" y="49"/>
                    <a:pt x="477" y="49"/>
                  </a:cubicBezTo>
                  <a:close/>
                </a:path>
              </a:pathLst>
            </a:custGeom>
            <a:grpFill/>
            <a:ln w="19050">
              <a:solidFill>
                <a:schemeClr val="accent5">
                  <a:lumMod val="40000"/>
                  <a:lumOff val="60000"/>
                </a:schemeClr>
              </a:solidFill>
              <a:round/>
              <a:headEnd/>
              <a:tailEnd/>
            </a:ln>
            <a:scene3d>
              <a:camera prst="orthographicFront"/>
              <a:lightRig rig="soft" dir="t"/>
            </a:scene3d>
            <a:sp3d/>
          </p:spPr>
          <p:txBody>
            <a:bodyPr rtlCol="0" anchor="ctr"/>
            <a:lstStyle/>
            <a:p>
              <a:pPr algn="ctr"/>
              <a:endParaRPr lang="en-US" sz="1400" dirty="0">
                <a:solidFill>
                  <a:schemeClr val="tx2">
                    <a:lumMod val="50000"/>
                  </a:schemeClr>
                </a:solidFill>
              </a:endParaRPr>
            </a:p>
          </p:txBody>
        </p:sp>
      </p:grpSp>
      <p:grpSp>
        <p:nvGrpSpPr>
          <p:cNvPr id="149" name="vbaPointer Zeiger vorne" descr="ValuePointer.5/ValuePointer.AngleStart.-45/AngleStart.AngleEnd.225/AngleEnd.ValueStart.0/ValueStart.ValueEnd.8/ValueEnd.Step.1/Step."/>
          <p:cNvGrpSpPr/>
          <p:nvPr/>
        </p:nvGrpSpPr>
        <p:grpSpPr bwMode="gray">
          <a:xfrm rot="18900000">
            <a:off x="3968727" y="4586443"/>
            <a:ext cx="1495561" cy="132403"/>
            <a:chOff x="3292874" y="3573202"/>
            <a:chExt cx="2551121" cy="306892"/>
          </a:xfrm>
          <a:solidFill>
            <a:schemeClr val="accent5">
              <a:lumMod val="40000"/>
              <a:lumOff val="60000"/>
            </a:schemeClr>
          </a:solidFill>
        </p:grpSpPr>
        <p:sp>
          <p:nvSpPr>
            <p:cNvPr id="150" name="Freeform 41"/>
            <p:cNvSpPr>
              <a:spLocks/>
            </p:cNvSpPr>
            <p:nvPr/>
          </p:nvSpPr>
          <p:spPr bwMode="gray">
            <a:xfrm>
              <a:off x="3292874" y="3573202"/>
              <a:ext cx="1127452" cy="306890"/>
            </a:xfrm>
            <a:custGeom>
              <a:avLst/>
              <a:gdLst/>
              <a:ahLst/>
              <a:cxnLst>
                <a:cxn ang="0">
                  <a:pos x="477" y="49"/>
                </a:cxn>
                <a:cxn ang="0">
                  <a:pos x="13" y="56"/>
                </a:cxn>
                <a:cxn ang="0">
                  <a:pos x="0" y="69"/>
                </a:cxn>
                <a:cxn ang="0">
                  <a:pos x="13" y="82"/>
                </a:cxn>
                <a:cxn ang="0">
                  <a:pos x="477" y="90"/>
                </a:cxn>
                <a:cxn ang="0">
                  <a:pos x="509" y="114"/>
                </a:cxn>
                <a:cxn ang="0">
                  <a:pos x="509" y="24"/>
                </a:cxn>
                <a:cxn ang="0">
                  <a:pos x="477" y="49"/>
                </a:cxn>
              </a:cxnLst>
              <a:rect l="0" t="0" r="r" b="b"/>
              <a:pathLst>
                <a:path w="510" h="139">
                  <a:moveTo>
                    <a:pt x="477" y="49"/>
                  </a:moveTo>
                  <a:cubicBezTo>
                    <a:pt x="13" y="56"/>
                    <a:pt x="13" y="56"/>
                    <a:pt x="13" y="56"/>
                  </a:cubicBezTo>
                  <a:cubicBezTo>
                    <a:pt x="6" y="56"/>
                    <a:pt x="0" y="62"/>
                    <a:pt x="0" y="69"/>
                  </a:cubicBezTo>
                  <a:cubicBezTo>
                    <a:pt x="0" y="77"/>
                    <a:pt x="6" y="82"/>
                    <a:pt x="13" y="82"/>
                  </a:cubicBezTo>
                  <a:cubicBezTo>
                    <a:pt x="477" y="90"/>
                    <a:pt x="477" y="90"/>
                    <a:pt x="477" y="90"/>
                  </a:cubicBezTo>
                  <a:cubicBezTo>
                    <a:pt x="477" y="90"/>
                    <a:pt x="509" y="90"/>
                    <a:pt x="509" y="114"/>
                  </a:cubicBezTo>
                  <a:cubicBezTo>
                    <a:pt x="509" y="139"/>
                    <a:pt x="510" y="0"/>
                    <a:pt x="509" y="24"/>
                  </a:cubicBezTo>
                  <a:cubicBezTo>
                    <a:pt x="509" y="49"/>
                    <a:pt x="477" y="49"/>
                    <a:pt x="477" y="49"/>
                  </a:cubicBezTo>
                  <a:close/>
                </a:path>
              </a:pathLst>
            </a:custGeom>
            <a:grpFill/>
            <a:ln w="19050">
              <a:solidFill>
                <a:schemeClr val="accent5">
                  <a:lumMod val="60000"/>
                  <a:lumOff val="40000"/>
                </a:schemeClr>
              </a:solidFill>
              <a:round/>
              <a:headEnd/>
              <a:tailEnd/>
            </a:ln>
            <a:effectLst>
              <a:outerShdw blurRad="76200" dir="2700000" sx="104000" sy="104000" algn="tl" rotWithShape="0">
                <a:srgbClr val="FF3300">
                  <a:alpha val="40000"/>
                </a:srgbClr>
              </a:outerShdw>
            </a:effectLst>
            <a:scene3d>
              <a:camera prst="orthographicFront"/>
              <a:lightRig rig="soft" dir="t"/>
            </a:scene3d>
            <a:sp3d>
              <a:bevelT w="31750" h="19050" prst="relaxedInset"/>
            </a:sp3d>
          </p:spPr>
          <p:txBody>
            <a:bodyPr rtlCol="0" anchor="ctr"/>
            <a:lstStyle/>
            <a:p>
              <a:pPr algn="ctr"/>
              <a:endParaRPr lang="en-US" sz="1400" dirty="0">
                <a:solidFill>
                  <a:schemeClr val="tx2">
                    <a:lumMod val="50000"/>
                  </a:schemeClr>
                </a:solidFill>
              </a:endParaRPr>
            </a:p>
          </p:txBody>
        </p:sp>
        <p:sp>
          <p:nvSpPr>
            <p:cNvPr id="151" name="Freeform 41"/>
            <p:cNvSpPr>
              <a:spLocks/>
            </p:cNvSpPr>
            <p:nvPr/>
          </p:nvSpPr>
          <p:spPr bwMode="gray">
            <a:xfrm flipH="1">
              <a:off x="4716543" y="3573204"/>
              <a:ext cx="1127452" cy="306890"/>
            </a:xfrm>
            <a:custGeom>
              <a:avLst/>
              <a:gdLst/>
              <a:ahLst/>
              <a:cxnLst>
                <a:cxn ang="0">
                  <a:pos x="477" y="49"/>
                </a:cxn>
                <a:cxn ang="0">
                  <a:pos x="13" y="56"/>
                </a:cxn>
                <a:cxn ang="0">
                  <a:pos x="0" y="69"/>
                </a:cxn>
                <a:cxn ang="0">
                  <a:pos x="13" y="82"/>
                </a:cxn>
                <a:cxn ang="0">
                  <a:pos x="477" y="90"/>
                </a:cxn>
                <a:cxn ang="0">
                  <a:pos x="509" y="114"/>
                </a:cxn>
                <a:cxn ang="0">
                  <a:pos x="509" y="24"/>
                </a:cxn>
                <a:cxn ang="0">
                  <a:pos x="477" y="49"/>
                </a:cxn>
              </a:cxnLst>
              <a:rect l="0" t="0" r="r" b="b"/>
              <a:pathLst>
                <a:path w="510" h="139">
                  <a:moveTo>
                    <a:pt x="477" y="49"/>
                  </a:moveTo>
                  <a:cubicBezTo>
                    <a:pt x="13" y="56"/>
                    <a:pt x="13" y="56"/>
                    <a:pt x="13" y="56"/>
                  </a:cubicBezTo>
                  <a:cubicBezTo>
                    <a:pt x="6" y="56"/>
                    <a:pt x="0" y="62"/>
                    <a:pt x="0" y="69"/>
                  </a:cubicBezTo>
                  <a:cubicBezTo>
                    <a:pt x="0" y="77"/>
                    <a:pt x="6" y="82"/>
                    <a:pt x="13" y="82"/>
                  </a:cubicBezTo>
                  <a:cubicBezTo>
                    <a:pt x="477" y="90"/>
                    <a:pt x="477" y="90"/>
                    <a:pt x="477" y="90"/>
                  </a:cubicBezTo>
                  <a:cubicBezTo>
                    <a:pt x="477" y="90"/>
                    <a:pt x="509" y="90"/>
                    <a:pt x="509" y="114"/>
                  </a:cubicBezTo>
                  <a:cubicBezTo>
                    <a:pt x="509" y="139"/>
                    <a:pt x="510" y="0"/>
                    <a:pt x="509" y="24"/>
                  </a:cubicBezTo>
                  <a:cubicBezTo>
                    <a:pt x="509" y="49"/>
                    <a:pt x="477" y="49"/>
                    <a:pt x="477" y="49"/>
                  </a:cubicBezTo>
                  <a:close/>
                </a:path>
              </a:pathLst>
            </a:custGeom>
            <a:grpFill/>
            <a:ln w="19050">
              <a:solidFill>
                <a:schemeClr val="accent5">
                  <a:lumMod val="60000"/>
                  <a:lumOff val="40000"/>
                </a:schemeClr>
              </a:solidFill>
              <a:round/>
              <a:headEnd/>
              <a:tailEnd/>
            </a:ln>
            <a:scene3d>
              <a:camera prst="orthographicFront"/>
              <a:lightRig rig="soft" dir="t"/>
            </a:scene3d>
            <a:sp3d/>
          </p:spPr>
          <p:txBody>
            <a:bodyPr rtlCol="0" anchor="ctr"/>
            <a:lstStyle/>
            <a:p>
              <a:pPr algn="ctr"/>
              <a:endParaRPr lang="en-US" sz="1400" dirty="0">
                <a:solidFill>
                  <a:schemeClr val="tx2">
                    <a:lumMod val="50000"/>
                  </a:schemeClr>
                </a:solidFill>
              </a:endParaRPr>
            </a:p>
          </p:txBody>
        </p:sp>
      </p:grpSp>
    </p:spTree>
    <p:extLst>
      <p:ext uri="{BB962C8B-B14F-4D97-AF65-F5344CB8AC3E}">
        <p14:creationId xmlns:p14="http://schemas.microsoft.com/office/powerpoint/2010/main" val="753009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accel="50000" decel="50000" fill="hold" nodeType="withEffect">
                                  <p:stCondLst>
                                    <p:cond delay="0"/>
                                  </p:stCondLst>
                                  <p:childTnLst>
                                    <p:animRot by="12600000">
                                      <p:cBhvr>
                                        <p:cTn id="6" dur="800" fill="hold"/>
                                        <p:tgtEl>
                                          <p:spTgt spid="313"/>
                                        </p:tgtEl>
                                        <p:attrNameLst>
                                          <p:attrName>r</p:attrName>
                                        </p:attrNameLst>
                                      </p:cBhvr>
                                    </p:animRot>
                                  </p:childTnLst>
                                </p:cTn>
                              </p:par>
                              <p:par>
                                <p:cTn id="7" presetID="8" presetClass="emph" presetSubtype="0" accel="50000" decel="50000" fill="hold" nodeType="withEffect">
                                  <p:stCondLst>
                                    <p:cond delay="700"/>
                                  </p:stCondLst>
                                  <p:childTnLst>
                                    <p:animRot by="-1200000">
                                      <p:cBhvr>
                                        <p:cTn id="8" dur="400" fill="hold"/>
                                        <p:tgtEl>
                                          <p:spTgt spid="313"/>
                                        </p:tgtEl>
                                        <p:attrNameLst>
                                          <p:attrName>r</p:attrName>
                                        </p:attrNameLst>
                                      </p:cBhvr>
                                    </p:animRot>
                                  </p:childTnLst>
                                </p:cTn>
                              </p:par>
                              <p:par>
                                <p:cTn id="9" presetID="8" presetClass="emph" presetSubtype="0" repeatCount="indefinite" accel="50000" decel="50000" autoRev="1" fill="hold" nodeType="withEffect">
                                  <p:stCondLst>
                                    <p:cond delay="1100"/>
                                  </p:stCondLst>
                                  <p:childTnLst>
                                    <p:animRot by="180000">
                                      <p:cBhvr>
                                        <p:cTn id="10" dur="200" fill="hold"/>
                                        <p:tgtEl>
                                          <p:spTgt spid="313"/>
                                        </p:tgtEl>
                                        <p:attrNameLst>
                                          <p:attrName>r</p:attrName>
                                        </p:attrNameLst>
                                      </p:cBhvr>
                                    </p:animRot>
                                  </p:childTnLst>
                                </p:cTn>
                              </p:par>
                              <p:par>
                                <p:cTn id="11" presetID="8" presetClass="emph" presetSubtype="0" accel="50000" decel="50000" fill="hold" nodeType="withEffect">
                                  <p:stCondLst>
                                    <p:cond delay="0"/>
                                  </p:stCondLst>
                                  <p:childTnLst>
                                    <p:animRot by="12600000">
                                      <p:cBhvr>
                                        <p:cTn id="12" dur="800" fill="hold"/>
                                        <p:tgtEl>
                                          <p:spTgt spid="149"/>
                                        </p:tgtEl>
                                        <p:attrNameLst>
                                          <p:attrName>r</p:attrName>
                                        </p:attrNameLst>
                                      </p:cBhvr>
                                    </p:animRot>
                                  </p:childTnLst>
                                </p:cTn>
                              </p:par>
                              <p:par>
                                <p:cTn id="13" presetID="8" presetClass="emph" presetSubtype="0" accel="50000" decel="50000" fill="hold" nodeType="withEffect">
                                  <p:stCondLst>
                                    <p:cond delay="700"/>
                                  </p:stCondLst>
                                  <p:childTnLst>
                                    <p:animRot by="-1200000">
                                      <p:cBhvr>
                                        <p:cTn id="14" dur="400" fill="hold"/>
                                        <p:tgtEl>
                                          <p:spTgt spid="149"/>
                                        </p:tgtEl>
                                        <p:attrNameLst>
                                          <p:attrName>r</p:attrName>
                                        </p:attrNameLst>
                                      </p:cBhvr>
                                    </p:animRot>
                                  </p:childTnLst>
                                </p:cTn>
                              </p:par>
                              <p:par>
                                <p:cTn id="15" presetID="8" presetClass="emph" presetSubtype="0" repeatCount="indefinite" accel="50000" decel="50000" autoRev="1" fill="hold" nodeType="withEffect">
                                  <p:stCondLst>
                                    <p:cond delay="1100"/>
                                  </p:stCondLst>
                                  <p:childTnLst>
                                    <p:animRot by="180000">
                                      <p:cBhvr>
                                        <p:cTn id="16" dur="200" fill="hold"/>
                                        <p:tgtEl>
                                          <p:spTgt spid="149"/>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p:cNvSpPr>
            <a:spLocks noGrp="1"/>
          </p:cNvSpPr>
          <p:nvPr>
            <p:ph type="title"/>
          </p:nvPr>
        </p:nvSpPr>
        <p:spPr>
          <a:xfrm>
            <a:off x="1067397" y="908720"/>
            <a:ext cx="6965245" cy="1202485"/>
          </a:xfrm>
        </p:spPr>
        <p:txBody>
          <a:bodyPr/>
          <a:lstStyle/>
          <a:p>
            <a:endParaRPr lang="tr-TR"/>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14043" y="592510"/>
            <a:ext cx="7715914" cy="567034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Metin kutusu 4"/>
          <p:cNvSpPr txBox="1"/>
          <p:nvPr/>
        </p:nvSpPr>
        <p:spPr>
          <a:xfrm>
            <a:off x="551545" y="620688"/>
            <a:ext cx="4968552" cy="954107"/>
          </a:xfrm>
          <a:prstGeom prst="rect">
            <a:avLst/>
          </a:prstGeom>
          <a:noFill/>
        </p:spPr>
        <p:txBody>
          <a:bodyPr wrap="square" rtlCol="0">
            <a:spAutoFit/>
          </a:bodyPr>
          <a:lstStyle/>
          <a:p>
            <a:pPr algn="ctr"/>
            <a:r>
              <a:rPr lang="tr-TR" sz="2800" b="1" dirty="0">
                <a:solidFill>
                  <a:schemeClr val="tx2">
                    <a:lumMod val="50000"/>
                  </a:schemeClr>
                </a:solidFill>
                <a:latin typeface="+mj-lt"/>
              </a:rPr>
              <a:t>E-FATURA UYGULAMASINDAN FAYDALANMA YÖNTEMLERİ</a:t>
            </a:r>
          </a:p>
        </p:txBody>
      </p:sp>
    </p:spTree>
    <p:extLst>
      <p:ext uri="{BB962C8B-B14F-4D97-AF65-F5344CB8AC3E}">
        <p14:creationId xmlns:p14="http://schemas.microsoft.com/office/powerpoint/2010/main" val="383566558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Billede 32" descr="Blue sky Corner.jpg"/>
          <p:cNvPicPr>
            <a:picLocks noChangeAspect="1"/>
          </p:cNvPicPr>
          <p:nvPr/>
        </p:nvPicPr>
        <p:blipFill>
          <a:blip r:embed="rId3"/>
          <a:srcRect/>
          <a:stretch>
            <a:fillRect/>
          </a:stretch>
        </p:blipFill>
        <p:spPr bwMode="auto">
          <a:xfrm>
            <a:off x="6341" y="-2020"/>
            <a:ext cx="9144000" cy="5255060"/>
          </a:xfrm>
          <a:prstGeom prst="rect">
            <a:avLst/>
          </a:prstGeom>
          <a:noFill/>
          <a:ln w="9525">
            <a:noFill/>
            <a:miter lim="800000"/>
            <a:headEnd/>
            <a:tailEnd/>
          </a:ln>
        </p:spPr>
      </p:pic>
      <p:grpSp>
        <p:nvGrpSpPr>
          <p:cNvPr id="147" name="Grup 146"/>
          <p:cNvGrpSpPr/>
          <p:nvPr/>
        </p:nvGrpSpPr>
        <p:grpSpPr>
          <a:xfrm>
            <a:off x="4638276" y="3592945"/>
            <a:ext cx="4502199" cy="3265055"/>
            <a:chOff x="4638276" y="3025959"/>
            <a:chExt cx="4502199" cy="3832041"/>
          </a:xfrm>
        </p:grpSpPr>
        <p:sp>
          <p:nvSpPr>
            <p:cNvPr id="150" name="Freeform 69"/>
            <p:cNvSpPr>
              <a:spLocks/>
            </p:cNvSpPr>
            <p:nvPr/>
          </p:nvSpPr>
          <p:spPr bwMode="auto">
            <a:xfrm>
              <a:off x="4666480" y="3025959"/>
              <a:ext cx="4473994" cy="2342048"/>
            </a:xfrm>
            <a:custGeom>
              <a:avLst/>
              <a:gdLst/>
              <a:ahLst/>
              <a:cxnLst>
                <a:cxn ang="0">
                  <a:pos x="2538" y="1530"/>
                </a:cxn>
                <a:cxn ang="0">
                  <a:pos x="2538" y="0"/>
                </a:cxn>
                <a:cxn ang="0">
                  <a:pos x="0" y="0"/>
                </a:cxn>
                <a:cxn ang="0">
                  <a:pos x="2538" y="1530"/>
                </a:cxn>
              </a:cxnLst>
              <a:rect l="0" t="0" r="r" b="b"/>
              <a:pathLst>
                <a:path w="2538" h="1530">
                  <a:moveTo>
                    <a:pt x="2538" y="1530"/>
                  </a:moveTo>
                  <a:lnTo>
                    <a:pt x="2538" y="0"/>
                  </a:lnTo>
                  <a:lnTo>
                    <a:pt x="0" y="0"/>
                  </a:lnTo>
                  <a:lnTo>
                    <a:pt x="2538" y="1530"/>
                  </a:lnTo>
                  <a:close/>
                </a:path>
              </a:pathLst>
            </a:custGeom>
            <a:solidFill>
              <a:schemeClr val="bg1">
                <a:lumMod val="95000"/>
              </a:schemeClr>
            </a:solidFill>
            <a:ln w="28575" cap="flat" cmpd="sng" algn="ctr">
              <a:noFill/>
              <a:prstDash val="solid"/>
            </a:ln>
            <a:effectLst/>
          </p:spPr>
          <p:txBody>
            <a:bodyPr anchor="ctr"/>
            <a:lstStyle/>
            <a:p>
              <a:pPr algn="ctr" fontAlgn="auto">
                <a:spcBef>
                  <a:spcPts val="0"/>
                </a:spcBef>
                <a:spcAft>
                  <a:spcPts val="0"/>
                </a:spcAft>
                <a:defRPr/>
              </a:pPr>
              <a:endParaRPr lang="da-DK" kern="0">
                <a:solidFill>
                  <a:sysClr val="window" lastClr="FFFFFF"/>
                </a:solidFill>
                <a:latin typeface="Calibri"/>
              </a:endParaRPr>
            </a:p>
          </p:txBody>
        </p:sp>
        <p:sp>
          <p:nvSpPr>
            <p:cNvPr id="151" name="Freeform 71"/>
            <p:cNvSpPr>
              <a:spLocks/>
            </p:cNvSpPr>
            <p:nvPr/>
          </p:nvSpPr>
          <p:spPr bwMode="auto">
            <a:xfrm>
              <a:off x="4638276" y="3028900"/>
              <a:ext cx="4502199" cy="3829100"/>
            </a:xfrm>
            <a:custGeom>
              <a:avLst/>
              <a:gdLst/>
              <a:ahLst/>
              <a:cxnLst>
                <a:cxn ang="0">
                  <a:pos x="1230" y="2604"/>
                </a:cxn>
                <a:cxn ang="0">
                  <a:pos x="1230" y="2604"/>
                </a:cxn>
                <a:cxn ang="0">
                  <a:pos x="2554" y="2604"/>
                </a:cxn>
                <a:cxn ang="0">
                  <a:pos x="2554" y="1540"/>
                </a:cxn>
                <a:cxn ang="0">
                  <a:pos x="0" y="0"/>
                </a:cxn>
                <a:cxn ang="0">
                  <a:pos x="1230" y="2604"/>
                </a:cxn>
              </a:cxnLst>
              <a:rect l="0" t="0" r="r" b="b"/>
              <a:pathLst>
                <a:path w="2554" h="2604">
                  <a:moveTo>
                    <a:pt x="1230" y="2604"/>
                  </a:moveTo>
                  <a:lnTo>
                    <a:pt x="1230" y="2604"/>
                  </a:lnTo>
                  <a:lnTo>
                    <a:pt x="2554" y="2604"/>
                  </a:lnTo>
                  <a:lnTo>
                    <a:pt x="2554" y="1540"/>
                  </a:lnTo>
                  <a:lnTo>
                    <a:pt x="0" y="0"/>
                  </a:lnTo>
                  <a:lnTo>
                    <a:pt x="1230" y="2604"/>
                  </a:lnTo>
                  <a:close/>
                </a:path>
              </a:pathLst>
            </a:custGeom>
            <a:solidFill>
              <a:schemeClr val="bg1">
                <a:lumMod val="95000"/>
              </a:schemeClr>
            </a:solidFill>
            <a:ln w="28575" cap="flat" cmpd="sng" algn="ctr">
              <a:noFill/>
              <a:prstDash val="solid"/>
            </a:ln>
            <a:effectLst/>
          </p:spPr>
          <p:txBody>
            <a:bodyPr anchor="ctr"/>
            <a:lstStyle/>
            <a:p>
              <a:pPr algn="ctr" fontAlgn="auto">
                <a:spcBef>
                  <a:spcPts val="0"/>
                </a:spcBef>
                <a:spcAft>
                  <a:spcPts val="0"/>
                </a:spcAft>
                <a:defRPr/>
              </a:pPr>
              <a:endParaRPr lang="da-DK" kern="0">
                <a:solidFill>
                  <a:sysClr val="window" lastClr="FFFFFF"/>
                </a:solidFill>
                <a:latin typeface="Calibri"/>
              </a:endParaRPr>
            </a:p>
          </p:txBody>
        </p:sp>
      </p:grpSp>
      <p:grpSp>
        <p:nvGrpSpPr>
          <p:cNvPr id="159" name="Grup 158"/>
          <p:cNvGrpSpPr/>
          <p:nvPr/>
        </p:nvGrpSpPr>
        <p:grpSpPr>
          <a:xfrm>
            <a:off x="2104" y="3592945"/>
            <a:ext cx="4604441" cy="3265055"/>
            <a:chOff x="2104" y="3025959"/>
            <a:chExt cx="4604441" cy="3832041"/>
          </a:xfrm>
          <a:solidFill>
            <a:schemeClr val="tx2">
              <a:lumMod val="50000"/>
            </a:schemeClr>
          </a:solidFill>
        </p:grpSpPr>
        <p:sp>
          <p:nvSpPr>
            <p:cNvPr id="160" name="Freeform 68"/>
            <p:cNvSpPr>
              <a:spLocks/>
            </p:cNvSpPr>
            <p:nvPr/>
          </p:nvSpPr>
          <p:spPr bwMode="auto">
            <a:xfrm>
              <a:off x="2104" y="3028900"/>
              <a:ext cx="4604441" cy="3829100"/>
            </a:xfrm>
            <a:custGeom>
              <a:avLst/>
              <a:gdLst/>
              <a:ahLst/>
              <a:cxnLst>
                <a:cxn ang="0">
                  <a:pos x="0" y="1562"/>
                </a:cxn>
                <a:cxn ang="0">
                  <a:pos x="0" y="2604"/>
                </a:cxn>
                <a:cxn ang="0">
                  <a:pos x="1272" y="2604"/>
                </a:cxn>
                <a:cxn ang="0">
                  <a:pos x="2612" y="0"/>
                </a:cxn>
                <a:cxn ang="0">
                  <a:pos x="0" y="1562"/>
                </a:cxn>
              </a:cxnLst>
              <a:rect l="0" t="0" r="r" b="b"/>
              <a:pathLst>
                <a:path w="2612" h="2604">
                  <a:moveTo>
                    <a:pt x="0" y="1562"/>
                  </a:moveTo>
                  <a:lnTo>
                    <a:pt x="0" y="2604"/>
                  </a:lnTo>
                  <a:lnTo>
                    <a:pt x="1272" y="2604"/>
                  </a:lnTo>
                  <a:lnTo>
                    <a:pt x="2612" y="0"/>
                  </a:lnTo>
                  <a:lnTo>
                    <a:pt x="0" y="1562"/>
                  </a:lnTo>
                  <a:close/>
                </a:path>
              </a:pathLst>
            </a:custGeom>
            <a:solidFill>
              <a:schemeClr val="bg1">
                <a:lumMod val="95000"/>
              </a:schemeClr>
            </a:solidFill>
            <a:ln w="28575" cap="flat" cmpd="sng" algn="ctr">
              <a:noFill/>
              <a:prstDash val="solid"/>
            </a:ln>
            <a:effectLst/>
          </p:spPr>
          <p:txBody>
            <a:bodyPr anchor="ctr"/>
            <a:lstStyle/>
            <a:p>
              <a:pPr algn="ctr" fontAlgn="auto">
                <a:spcBef>
                  <a:spcPts val="0"/>
                </a:spcBef>
                <a:spcAft>
                  <a:spcPts val="0"/>
                </a:spcAft>
              </a:pPr>
              <a:endParaRPr lang="da-DK" kern="0">
                <a:solidFill>
                  <a:sysClr val="window" lastClr="FFFFFF"/>
                </a:solidFill>
                <a:latin typeface="Calibri"/>
              </a:endParaRPr>
            </a:p>
          </p:txBody>
        </p:sp>
        <p:sp>
          <p:nvSpPr>
            <p:cNvPr id="161" name="Freeform 72"/>
            <p:cNvSpPr>
              <a:spLocks/>
            </p:cNvSpPr>
            <p:nvPr/>
          </p:nvSpPr>
          <p:spPr bwMode="auto">
            <a:xfrm>
              <a:off x="2104" y="3025959"/>
              <a:ext cx="4576237" cy="2342048"/>
            </a:xfrm>
            <a:custGeom>
              <a:avLst/>
              <a:gdLst/>
              <a:ahLst/>
              <a:cxnLst>
                <a:cxn ang="0">
                  <a:pos x="2592" y="0"/>
                </a:cxn>
                <a:cxn ang="0">
                  <a:pos x="0" y="0"/>
                </a:cxn>
                <a:cxn ang="0">
                  <a:pos x="0" y="1552"/>
                </a:cxn>
                <a:cxn ang="0">
                  <a:pos x="2596" y="0"/>
                </a:cxn>
                <a:cxn ang="0">
                  <a:pos x="2592" y="0"/>
                </a:cxn>
              </a:cxnLst>
              <a:rect l="0" t="0" r="r" b="b"/>
              <a:pathLst>
                <a:path w="2596" h="1552">
                  <a:moveTo>
                    <a:pt x="2592" y="0"/>
                  </a:moveTo>
                  <a:lnTo>
                    <a:pt x="0" y="0"/>
                  </a:lnTo>
                  <a:lnTo>
                    <a:pt x="0" y="1552"/>
                  </a:lnTo>
                  <a:lnTo>
                    <a:pt x="2596" y="0"/>
                  </a:lnTo>
                  <a:lnTo>
                    <a:pt x="2592" y="0"/>
                  </a:lnTo>
                  <a:close/>
                </a:path>
              </a:pathLst>
            </a:custGeom>
            <a:solidFill>
              <a:schemeClr val="bg1">
                <a:lumMod val="95000"/>
              </a:schemeClr>
            </a:solidFill>
            <a:ln w="28575" cap="flat" cmpd="sng" algn="ctr">
              <a:noFill/>
              <a:prstDash val="solid"/>
            </a:ln>
            <a:effectLst/>
          </p:spPr>
          <p:txBody>
            <a:bodyPr anchor="ctr"/>
            <a:lstStyle/>
            <a:p>
              <a:pPr algn="ctr" fontAlgn="auto">
                <a:spcBef>
                  <a:spcPts val="0"/>
                </a:spcBef>
                <a:spcAft>
                  <a:spcPts val="0"/>
                </a:spcAft>
              </a:pPr>
              <a:endParaRPr lang="da-DK" kern="0">
                <a:solidFill>
                  <a:sysClr val="window" lastClr="FFFFFF"/>
                </a:solidFill>
                <a:latin typeface="Calibri"/>
              </a:endParaRPr>
            </a:p>
          </p:txBody>
        </p:sp>
      </p:grpSp>
      <p:sp>
        <p:nvSpPr>
          <p:cNvPr id="146" name="Freeform 70"/>
          <p:cNvSpPr>
            <a:spLocks/>
          </p:cNvSpPr>
          <p:nvPr/>
        </p:nvSpPr>
        <p:spPr bwMode="auto">
          <a:xfrm>
            <a:off x="2262017" y="3597956"/>
            <a:ext cx="4526878" cy="3260044"/>
          </a:xfrm>
          <a:custGeom>
            <a:avLst/>
            <a:gdLst/>
            <a:ahLst/>
            <a:cxnLst>
              <a:cxn ang="0">
                <a:pos x="0" y="2602"/>
              </a:cxn>
              <a:cxn ang="0">
                <a:pos x="2568" y="2602"/>
              </a:cxn>
              <a:cxn ang="0">
                <a:pos x="1338" y="0"/>
              </a:cxn>
              <a:cxn ang="0">
                <a:pos x="0" y="2602"/>
              </a:cxn>
            </a:cxnLst>
            <a:rect l="0" t="0" r="r" b="b"/>
            <a:pathLst>
              <a:path w="2568" h="2602">
                <a:moveTo>
                  <a:pt x="0" y="2602"/>
                </a:moveTo>
                <a:lnTo>
                  <a:pt x="2568" y="2602"/>
                </a:lnTo>
                <a:lnTo>
                  <a:pt x="1338" y="0"/>
                </a:lnTo>
                <a:lnTo>
                  <a:pt x="0" y="2602"/>
                </a:lnTo>
                <a:close/>
              </a:path>
            </a:pathLst>
          </a:custGeom>
          <a:gradFill rotWithShape="1">
            <a:gsLst>
              <a:gs pos="0">
                <a:srgbClr val="E6E6E6">
                  <a:tint val="100000"/>
                  <a:shade val="100000"/>
                  <a:satMod val="130000"/>
                </a:srgbClr>
              </a:gs>
              <a:gs pos="100000">
                <a:srgbClr val="E6E6E6">
                  <a:tint val="50000"/>
                  <a:shade val="100000"/>
                  <a:satMod val="350000"/>
                </a:srgbClr>
              </a:gs>
            </a:gsLst>
            <a:lin ang="16200000" scaled="0"/>
          </a:gradFill>
          <a:ln w="28575" cap="flat" cmpd="sng" algn="ctr">
            <a:gradFill flip="none" rotWithShape="1">
              <a:gsLst>
                <a:gs pos="50000">
                  <a:schemeClr val="accent5">
                    <a:lumMod val="60000"/>
                    <a:lumOff val="40000"/>
                  </a:schemeClr>
                </a:gs>
                <a:gs pos="100000">
                  <a:srgbClr val="002060"/>
                </a:gs>
              </a:gsLst>
              <a:lin ang="5400000" scaled="1"/>
              <a:tileRect/>
            </a:gradFill>
            <a:prstDash val="solid"/>
          </a:ln>
          <a:effectLst/>
        </p:spPr>
        <p:txBody>
          <a:bodyPr anchor="ctr"/>
          <a:lstStyle/>
          <a:p>
            <a:pPr algn="ctr" fontAlgn="auto">
              <a:spcBef>
                <a:spcPts val="0"/>
              </a:spcBef>
              <a:spcAft>
                <a:spcPts val="0"/>
              </a:spcAft>
              <a:defRPr/>
            </a:pPr>
            <a:endParaRPr lang="da-DK" kern="0" dirty="0">
              <a:solidFill>
                <a:sysClr val="window" lastClr="FFFFFF"/>
              </a:solidFill>
              <a:latin typeface="Calibri"/>
            </a:endParaRPr>
          </a:p>
        </p:txBody>
      </p:sp>
      <p:sp>
        <p:nvSpPr>
          <p:cNvPr id="15" name="Rektangel 14"/>
          <p:cNvSpPr/>
          <p:nvPr/>
        </p:nvSpPr>
        <p:spPr bwMode="auto">
          <a:xfrm>
            <a:off x="3563888" y="5099682"/>
            <a:ext cx="1977579" cy="461665"/>
          </a:xfrm>
          <a:prstGeom prst="rect">
            <a:avLst/>
          </a:prstGeom>
        </p:spPr>
        <p:txBody>
          <a:bodyPr wrap="square">
            <a:spAutoFit/>
          </a:bodyPr>
          <a:lstStyle/>
          <a:p>
            <a:pPr algn="ctr" fontAlgn="auto">
              <a:spcBef>
                <a:spcPts val="0"/>
              </a:spcBef>
              <a:spcAft>
                <a:spcPts val="0"/>
              </a:spcAft>
              <a:defRPr/>
            </a:pPr>
            <a:r>
              <a:rPr lang="tr-TR" sz="2400" b="1" kern="0" noProof="1" smtClean="0">
                <a:solidFill>
                  <a:schemeClr val="tx2">
                    <a:lumMod val="50000"/>
                  </a:schemeClr>
                </a:solidFill>
                <a:latin typeface="Calibri" pitchFamily="34" charset="0"/>
                <a:cs typeface="Arial" charset="0"/>
              </a:rPr>
              <a:t>Entegrasyon</a:t>
            </a:r>
            <a:endParaRPr lang="da-DK" sz="2800" kern="0" dirty="0">
              <a:solidFill>
                <a:schemeClr val="tx2">
                  <a:lumMod val="50000"/>
                </a:schemeClr>
              </a:solidFill>
              <a:latin typeface="Arial" pitchFamily="34" charset="0"/>
            </a:endParaRPr>
          </a:p>
        </p:txBody>
      </p:sp>
      <p:grpSp>
        <p:nvGrpSpPr>
          <p:cNvPr id="3099" name="Gruppe 158"/>
          <p:cNvGrpSpPr>
            <a:grpSpLocks/>
          </p:cNvGrpSpPr>
          <p:nvPr/>
        </p:nvGrpSpPr>
        <p:grpSpPr bwMode="auto">
          <a:xfrm>
            <a:off x="4791868" y="5703248"/>
            <a:ext cx="1376362" cy="1143000"/>
            <a:chOff x="1957594" y="3932767"/>
            <a:chExt cx="1651328" cy="1371122"/>
          </a:xfrm>
        </p:grpSpPr>
        <p:grpSp>
          <p:nvGrpSpPr>
            <p:cNvPr id="20" name="Gruppe 376"/>
            <p:cNvGrpSpPr/>
            <p:nvPr/>
          </p:nvGrpSpPr>
          <p:grpSpPr>
            <a:xfrm>
              <a:off x="2620111" y="3932767"/>
              <a:ext cx="988811" cy="971071"/>
              <a:chOff x="2360448" y="750203"/>
              <a:chExt cx="4325435" cy="4247827"/>
            </a:xfrm>
            <a:solidFill>
              <a:schemeClr val="tx1"/>
            </a:solidFill>
            <a:effectLst>
              <a:outerShdw blurRad="50800" dist="38100" dir="2700000" algn="tl" rotWithShape="0">
                <a:prstClr val="black">
                  <a:alpha val="40000"/>
                </a:prstClr>
              </a:outerShdw>
            </a:effectLst>
          </p:grpSpPr>
          <p:sp>
            <p:nvSpPr>
              <p:cNvPr id="126" name="Blokbue 125"/>
              <p:cNvSpPr/>
              <p:nvPr/>
            </p:nvSpPr>
            <p:spPr bwMode="auto">
              <a:xfrm rot="10843925">
                <a:off x="2516174" y="1020923"/>
                <a:ext cx="3842697" cy="3842328"/>
              </a:xfrm>
              <a:prstGeom prst="blockArc">
                <a:avLst>
                  <a:gd name="adj1" fmla="val 12299351"/>
                  <a:gd name="adj2" fmla="val 15897654"/>
                  <a:gd name="adj3" fmla="val 26577"/>
                </a:avLst>
              </a:prstGeom>
              <a:solidFill>
                <a:schemeClr val="accent1">
                  <a:lumMod val="20000"/>
                  <a:lumOff val="80000"/>
                </a:schemeClr>
              </a:solidFill>
              <a:ln w="3175" cap="flat" cmpd="sng">
                <a:solidFill>
                  <a:schemeClr val="bg1">
                    <a:lumMod val="50000"/>
                  </a:schemeClr>
                </a:solidFill>
                <a:prstDash val="solid"/>
                <a:round/>
                <a:headEnd type="none" w="med" len="med"/>
                <a:tailEnd type="none" w="med" len="med"/>
              </a:ln>
              <a:effectLst/>
            </p:spPr>
            <p:txBody>
              <a:bodyPr/>
              <a:lstStyle/>
              <a:p>
                <a:pPr fontAlgn="auto">
                  <a:spcBef>
                    <a:spcPts val="0"/>
                  </a:spcBef>
                  <a:spcAft>
                    <a:spcPts val="0"/>
                  </a:spcAft>
                  <a:defRPr/>
                </a:pPr>
                <a:endParaRPr lang="da-DK" kern="0">
                  <a:solidFill>
                    <a:sysClr val="windowText" lastClr="000000">
                      <a:lumMod val="95000"/>
                      <a:lumOff val="5000"/>
                    </a:sysClr>
                  </a:solidFill>
                  <a:latin typeface="Calibri"/>
                </a:endParaRPr>
              </a:p>
            </p:txBody>
          </p:sp>
          <p:sp>
            <p:nvSpPr>
              <p:cNvPr id="127" name="Blokbue 126"/>
              <p:cNvSpPr/>
              <p:nvPr/>
            </p:nvSpPr>
            <p:spPr bwMode="auto">
              <a:xfrm rot="14446858">
                <a:off x="2411090" y="1028057"/>
                <a:ext cx="3842697" cy="3842328"/>
              </a:xfrm>
              <a:prstGeom prst="blockArc">
                <a:avLst>
                  <a:gd name="adj1" fmla="val 12299351"/>
                  <a:gd name="adj2" fmla="val 15897654"/>
                  <a:gd name="adj3" fmla="val 26577"/>
                </a:avLst>
              </a:prstGeom>
              <a:solidFill>
                <a:schemeClr val="accent1">
                  <a:lumMod val="20000"/>
                  <a:lumOff val="80000"/>
                </a:schemeClr>
              </a:solidFill>
              <a:ln w="3175" cap="flat" cmpd="sng">
                <a:solidFill>
                  <a:schemeClr val="bg1">
                    <a:lumMod val="50000"/>
                  </a:schemeClr>
                </a:solidFill>
                <a:prstDash val="solid"/>
                <a:round/>
                <a:headEnd type="none" w="med" len="med"/>
                <a:tailEnd type="none" w="med" len="med"/>
              </a:ln>
              <a:effectLst/>
            </p:spPr>
            <p:txBody>
              <a:bodyPr/>
              <a:lstStyle/>
              <a:p>
                <a:pPr fontAlgn="auto">
                  <a:spcBef>
                    <a:spcPts val="0"/>
                  </a:spcBef>
                  <a:spcAft>
                    <a:spcPts val="0"/>
                  </a:spcAft>
                  <a:defRPr/>
                </a:pPr>
                <a:endParaRPr lang="da-DK" kern="0">
                  <a:solidFill>
                    <a:sysClr val="windowText" lastClr="000000">
                      <a:lumMod val="95000"/>
                      <a:lumOff val="5000"/>
                    </a:sysClr>
                  </a:solidFill>
                  <a:latin typeface="Calibri"/>
                </a:endParaRPr>
              </a:p>
            </p:txBody>
          </p:sp>
          <p:sp>
            <p:nvSpPr>
              <p:cNvPr id="128" name="Blokbue 127"/>
              <p:cNvSpPr/>
              <p:nvPr/>
            </p:nvSpPr>
            <p:spPr bwMode="auto">
              <a:xfrm rot="18033862">
                <a:off x="2382907" y="921207"/>
                <a:ext cx="3842328" cy="3842697"/>
              </a:xfrm>
              <a:prstGeom prst="blockArc">
                <a:avLst>
                  <a:gd name="adj1" fmla="val 12299351"/>
                  <a:gd name="adj2" fmla="val 15897654"/>
                  <a:gd name="adj3" fmla="val 26577"/>
                </a:avLst>
              </a:prstGeom>
              <a:solidFill>
                <a:schemeClr val="accent1">
                  <a:lumMod val="20000"/>
                  <a:lumOff val="80000"/>
                </a:schemeClr>
              </a:solidFill>
              <a:ln w="3175" cap="flat" cmpd="sng">
                <a:solidFill>
                  <a:schemeClr val="bg1">
                    <a:lumMod val="50000"/>
                  </a:schemeClr>
                </a:solidFill>
                <a:prstDash val="solid"/>
                <a:round/>
                <a:headEnd type="none" w="med" len="med"/>
                <a:tailEnd type="none" w="med" len="med"/>
              </a:ln>
              <a:effectLst/>
            </p:spPr>
            <p:txBody>
              <a:bodyPr/>
              <a:lstStyle/>
              <a:p>
                <a:pPr fontAlgn="auto">
                  <a:spcBef>
                    <a:spcPts val="0"/>
                  </a:spcBef>
                  <a:spcAft>
                    <a:spcPts val="0"/>
                  </a:spcAft>
                  <a:defRPr/>
                </a:pPr>
                <a:endParaRPr lang="da-DK" kern="0">
                  <a:solidFill>
                    <a:sysClr val="windowText" lastClr="000000">
                      <a:lumMod val="95000"/>
                      <a:lumOff val="5000"/>
                    </a:sysClr>
                  </a:solidFill>
                  <a:latin typeface="Calibri"/>
                </a:endParaRPr>
              </a:p>
            </p:txBody>
          </p:sp>
          <p:sp>
            <p:nvSpPr>
              <p:cNvPr id="129" name="Blokbue 128"/>
              <p:cNvSpPr/>
              <p:nvPr/>
            </p:nvSpPr>
            <p:spPr bwMode="auto">
              <a:xfrm rot="14285">
                <a:off x="2443889" y="844858"/>
                <a:ext cx="3842697" cy="3842328"/>
              </a:xfrm>
              <a:prstGeom prst="blockArc">
                <a:avLst>
                  <a:gd name="adj1" fmla="val 12299351"/>
                  <a:gd name="adj2" fmla="val 15897654"/>
                  <a:gd name="adj3" fmla="val 26577"/>
                </a:avLst>
              </a:prstGeom>
              <a:solidFill>
                <a:schemeClr val="accent1">
                  <a:lumMod val="20000"/>
                  <a:lumOff val="80000"/>
                </a:schemeClr>
              </a:solidFill>
              <a:ln w="3175" cap="flat" cmpd="sng">
                <a:solidFill>
                  <a:schemeClr val="bg1">
                    <a:lumMod val="50000"/>
                  </a:schemeClr>
                </a:solidFill>
                <a:prstDash val="solid"/>
                <a:round/>
                <a:headEnd type="none" w="med" len="med"/>
                <a:tailEnd type="none" w="med" len="med"/>
              </a:ln>
              <a:effectLst/>
            </p:spPr>
            <p:txBody>
              <a:bodyPr/>
              <a:lstStyle/>
              <a:p>
                <a:pPr fontAlgn="auto">
                  <a:spcBef>
                    <a:spcPts val="0"/>
                  </a:spcBef>
                  <a:spcAft>
                    <a:spcPts val="0"/>
                  </a:spcAft>
                  <a:defRPr/>
                </a:pPr>
                <a:endParaRPr lang="da-DK" kern="0">
                  <a:solidFill>
                    <a:sysClr val="windowText" lastClr="000000">
                      <a:lumMod val="95000"/>
                      <a:lumOff val="5000"/>
                    </a:sysClr>
                  </a:solidFill>
                  <a:latin typeface="Calibri"/>
                </a:endParaRPr>
              </a:p>
            </p:txBody>
          </p:sp>
          <p:sp>
            <p:nvSpPr>
              <p:cNvPr id="130" name="Blokbue 129"/>
              <p:cNvSpPr/>
              <p:nvPr/>
            </p:nvSpPr>
            <p:spPr bwMode="auto">
              <a:xfrm rot="3730573">
                <a:off x="2518962" y="839770"/>
                <a:ext cx="3842697" cy="3842328"/>
              </a:xfrm>
              <a:prstGeom prst="blockArc">
                <a:avLst>
                  <a:gd name="adj1" fmla="val 12299351"/>
                  <a:gd name="adj2" fmla="val 15897654"/>
                  <a:gd name="adj3" fmla="val 26577"/>
                </a:avLst>
              </a:prstGeom>
              <a:solidFill>
                <a:schemeClr val="accent1">
                  <a:lumMod val="20000"/>
                  <a:lumOff val="80000"/>
                </a:schemeClr>
              </a:solidFill>
              <a:ln w="3175" cap="flat" cmpd="sng">
                <a:solidFill>
                  <a:schemeClr val="bg1">
                    <a:lumMod val="50000"/>
                  </a:schemeClr>
                </a:solidFill>
                <a:prstDash val="solid"/>
                <a:round/>
                <a:headEnd type="none" w="med" len="med"/>
                <a:tailEnd type="none" w="med" len="med"/>
              </a:ln>
              <a:effectLst/>
            </p:spPr>
            <p:txBody>
              <a:bodyPr/>
              <a:lstStyle/>
              <a:p>
                <a:pPr fontAlgn="auto">
                  <a:spcBef>
                    <a:spcPts val="0"/>
                  </a:spcBef>
                  <a:spcAft>
                    <a:spcPts val="0"/>
                  </a:spcAft>
                  <a:defRPr/>
                </a:pPr>
                <a:endParaRPr lang="da-DK" kern="0">
                  <a:solidFill>
                    <a:sysClr val="windowText" lastClr="000000">
                      <a:lumMod val="95000"/>
                      <a:lumOff val="5000"/>
                    </a:sysClr>
                  </a:solidFill>
                  <a:latin typeface="Calibri"/>
                </a:endParaRPr>
              </a:p>
            </p:txBody>
          </p:sp>
          <p:sp>
            <p:nvSpPr>
              <p:cNvPr id="131" name="Cirkulær pil 130"/>
              <p:cNvSpPr/>
              <p:nvPr/>
            </p:nvSpPr>
            <p:spPr>
              <a:xfrm rot="14216451" flipH="1" flipV="1">
                <a:off x="2399252" y="711399"/>
                <a:ext cx="4247827" cy="4325435"/>
              </a:xfrm>
              <a:prstGeom prst="circularArrow">
                <a:avLst>
                  <a:gd name="adj1" fmla="val 25269"/>
                  <a:gd name="adj2" fmla="val 1142319"/>
                  <a:gd name="adj3" fmla="val 20391973"/>
                  <a:gd name="adj4" fmla="val 16090810"/>
                  <a:gd name="adj5" fmla="val 17581"/>
                </a:avLst>
              </a:prstGeom>
              <a:solidFill>
                <a:schemeClr val="bg2">
                  <a:lumMod val="75000"/>
                </a:schemeClr>
              </a:solidFill>
              <a:ln w="9525" cap="flat" cmpd="sng" algn="ctr">
                <a:solidFill>
                  <a:schemeClr val="bg1">
                    <a:lumMod val="50000"/>
                  </a:schemeClr>
                </a:solidFill>
                <a:prstDash val="solid"/>
              </a:ln>
              <a:effectLst/>
            </p:spPr>
            <p:txBody>
              <a:bodyPr anchor="ctr"/>
              <a:lstStyle/>
              <a:p>
                <a:pPr algn="ctr" fontAlgn="auto">
                  <a:spcBef>
                    <a:spcPts val="0"/>
                  </a:spcBef>
                  <a:spcAft>
                    <a:spcPts val="0"/>
                  </a:spcAft>
                  <a:defRPr/>
                </a:pPr>
                <a:endParaRPr lang="da-DK" kern="0">
                  <a:solidFill>
                    <a:sysClr val="window" lastClr="FFFFFF"/>
                  </a:solidFill>
                  <a:latin typeface="Calibri"/>
                </a:endParaRPr>
              </a:p>
            </p:txBody>
          </p:sp>
        </p:grpSp>
        <p:grpSp>
          <p:nvGrpSpPr>
            <p:cNvPr id="21" name="Gruppe 376"/>
            <p:cNvGrpSpPr/>
            <p:nvPr/>
          </p:nvGrpSpPr>
          <p:grpSpPr>
            <a:xfrm>
              <a:off x="1957594" y="4332818"/>
              <a:ext cx="988811" cy="971071"/>
              <a:chOff x="2360449" y="750202"/>
              <a:chExt cx="4325434" cy="4247827"/>
            </a:xfrm>
            <a:solidFill>
              <a:schemeClr val="tx1"/>
            </a:solidFill>
            <a:effectLst>
              <a:outerShdw blurRad="50800" dist="38100" dir="2700000" algn="tl" rotWithShape="0">
                <a:prstClr val="black">
                  <a:alpha val="40000"/>
                </a:prstClr>
              </a:outerShdw>
            </a:effectLst>
          </p:grpSpPr>
          <p:sp>
            <p:nvSpPr>
              <p:cNvPr id="133" name="Blokbue 132"/>
              <p:cNvSpPr/>
              <p:nvPr/>
            </p:nvSpPr>
            <p:spPr bwMode="auto">
              <a:xfrm rot="10843925">
                <a:off x="2516174" y="1020923"/>
                <a:ext cx="3842697" cy="3842328"/>
              </a:xfrm>
              <a:prstGeom prst="blockArc">
                <a:avLst>
                  <a:gd name="adj1" fmla="val 12299351"/>
                  <a:gd name="adj2" fmla="val 15897654"/>
                  <a:gd name="adj3" fmla="val 26577"/>
                </a:avLst>
              </a:prstGeom>
              <a:solidFill>
                <a:schemeClr val="accent1">
                  <a:lumMod val="20000"/>
                  <a:lumOff val="80000"/>
                </a:schemeClr>
              </a:solidFill>
              <a:ln w="3175" cap="flat" cmpd="sng">
                <a:solidFill>
                  <a:schemeClr val="bg1">
                    <a:lumMod val="50000"/>
                  </a:schemeClr>
                </a:solidFill>
                <a:prstDash val="solid"/>
                <a:round/>
                <a:headEnd type="none" w="med" len="med"/>
                <a:tailEnd type="none" w="med" len="med"/>
              </a:ln>
              <a:effectLst/>
            </p:spPr>
            <p:txBody>
              <a:bodyPr/>
              <a:lstStyle/>
              <a:p>
                <a:pPr fontAlgn="auto">
                  <a:spcBef>
                    <a:spcPts val="0"/>
                  </a:spcBef>
                  <a:spcAft>
                    <a:spcPts val="0"/>
                  </a:spcAft>
                  <a:defRPr/>
                </a:pPr>
                <a:endParaRPr lang="da-DK" kern="0">
                  <a:solidFill>
                    <a:sysClr val="windowText" lastClr="000000">
                      <a:lumMod val="95000"/>
                      <a:lumOff val="5000"/>
                    </a:sysClr>
                  </a:solidFill>
                  <a:latin typeface="Calibri"/>
                </a:endParaRPr>
              </a:p>
            </p:txBody>
          </p:sp>
          <p:sp>
            <p:nvSpPr>
              <p:cNvPr id="134" name="Blokbue 133"/>
              <p:cNvSpPr/>
              <p:nvPr/>
            </p:nvSpPr>
            <p:spPr bwMode="auto">
              <a:xfrm rot="14446858">
                <a:off x="2411090" y="1028057"/>
                <a:ext cx="3842697" cy="3842328"/>
              </a:xfrm>
              <a:prstGeom prst="blockArc">
                <a:avLst>
                  <a:gd name="adj1" fmla="val 12299351"/>
                  <a:gd name="adj2" fmla="val 15897654"/>
                  <a:gd name="adj3" fmla="val 26577"/>
                </a:avLst>
              </a:prstGeom>
              <a:solidFill>
                <a:schemeClr val="accent1">
                  <a:lumMod val="20000"/>
                  <a:lumOff val="80000"/>
                </a:schemeClr>
              </a:solidFill>
              <a:ln w="3175" cap="flat" cmpd="sng">
                <a:solidFill>
                  <a:schemeClr val="bg1">
                    <a:lumMod val="50000"/>
                  </a:schemeClr>
                </a:solidFill>
                <a:prstDash val="solid"/>
                <a:round/>
                <a:headEnd type="none" w="med" len="med"/>
                <a:tailEnd type="none" w="med" len="med"/>
              </a:ln>
              <a:effectLst/>
            </p:spPr>
            <p:txBody>
              <a:bodyPr/>
              <a:lstStyle/>
              <a:p>
                <a:pPr fontAlgn="auto">
                  <a:spcBef>
                    <a:spcPts val="0"/>
                  </a:spcBef>
                  <a:spcAft>
                    <a:spcPts val="0"/>
                  </a:spcAft>
                  <a:defRPr/>
                </a:pPr>
                <a:endParaRPr lang="da-DK" kern="0">
                  <a:solidFill>
                    <a:sysClr val="windowText" lastClr="000000">
                      <a:lumMod val="95000"/>
                      <a:lumOff val="5000"/>
                    </a:sysClr>
                  </a:solidFill>
                  <a:latin typeface="Calibri"/>
                </a:endParaRPr>
              </a:p>
            </p:txBody>
          </p:sp>
          <p:sp>
            <p:nvSpPr>
              <p:cNvPr id="135" name="Blokbue 134"/>
              <p:cNvSpPr/>
              <p:nvPr/>
            </p:nvSpPr>
            <p:spPr bwMode="auto">
              <a:xfrm rot="18033862">
                <a:off x="2382907" y="921207"/>
                <a:ext cx="3842328" cy="3842697"/>
              </a:xfrm>
              <a:prstGeom prst="blockArc">
                <a:avLst>
                  <a:gd name="adj1" fmla="val 12299351"/>
                  <a:gd name="adj2" fmla="val 15897654"/>
                  <a:gd name="adj3" fmla="val 26577"/>
                </a:avLst>
              </a:prstGeom>
              <a:solidFill>
                <a:schemeClr val="accent1">
                  <a:lumMod val="20000"/>
                  <a:lumOff val="80000"/>
                </a:schemeClr>
              </a:solidFill>
              <a:ln w="3175" cap="flat" cmpd="sng">
                <a:solidFill>
                  <a:schemeClr val="bg1">
                    <a:lumMod val="50000"/>
                  </a:schemeClr>
                </a:solidFill>
                <a:prstDash val="solid"/>
                <a:round/>
                <a:headEnd type="none" w="med" len="med"/>
                <a:tailEnd type="none" w="med" len="med"/>
              </a:ln>
              <a:effectLst/>
            </p:spPr>
            <p:txBody>
              <a:bodyPr/>
              <a:lstStyle/>
              <a:p>
                <a:pPr fontAlgn="auto">
                  <a:spcBef>
                    <a:spcPts val="0"/>
                  </a:spcBef>
                  <a:spcAft>
                    <a:spcPts val="0"/>
                  </a:spcAft>
                  <a:defRPr/>
                </a:pPr>
                <a:endParaRPr lang="da-DK" kern="0">
                  <a:solidFill>
                    <a:sysClr val="windowText" lastClr="000000">
                      <a:lumMod val="95000"/>
                      <a:lumOff val="5000"/>
                    </a:sysClr>
                  </a:solidFill>
                  <a:latin typeface="Calibri"/>
                </a:endParaRPr>
              </a:p>
            </p:txBody>
          </p:sp>
          <p:sp>
            <p:nvSpPr>
              <p:cNvPr id="136" name="Blokbue 135"/>
              <p:cNvSpPr/>
              <p:nvPr/>
            </p:nvSpPr>
            <p:spPr bwMode="auto">
              <a:xfrm rot="14285">
                <a:off x="2443889" y="844858"/>
                <a:ext cx="3842697" cy="3842328"/>
              </a:xfrm>
              <a:prstGeom prst="blockArc">
                <a:avLst>
                  <a:gd name="adj1" fmla="val 12299351"/>
                  <a:gd name="adj2" fmla="val 15897654"/>
                  <a:gd name="adj3" fmla="val 26577"/>
                </a:avLst>
              </a:prstGeom>
              <a:solidFill>
                <a:schemeClr val="accent1">
                  <a:lumMod val="20000"/>
                  <a:lumOff val="80000"/>
                </a:schemeClr>
              </a:solidFill>
              <a:ln w="3175" cap="flat" cmpd="sng">
                <a:solidFill>
                  <a:schemeClr val="bg1">
                    <a:lumMod val="50000"/>
                  </a:schemeClr>
                </a:solidFill>
                <a:prstDash val="solid"/>
                <a:round/>
                <a:headEnd type="none" w="med" len="med"/>
                <a:tailEnd type="none" w="med" len="med"/>
              </a:ln>
              <a:effectLst/>
            </p:spPr>
            <p:txBody>
              <a:bodyPr/>
              <a:lstStyle/>
              <a:p>
                <a:pPr fontAlgn="auto">
                  <a:spcBef>
                    <a:spcPts val="0"/>
                  </a:spcBef>
                  <a:spcAft>
                    <a:spcPts val="0"/>
                  </a:spcAft>
                  <a:defRPr/>
                </a:pPr>
                <a:endParaRPr lang="da-DK" kern="0">
                  <a:solidFill>
                    <a:sysClr val="windowText" lastClr="000000">
                      <a:lumMod val="95000"/>
                      <a:lumOff val="5000"/>
                    </a:sysClr>
                  </a:solidFill>
                  <a:latin typeface="Calibri"/>
                </a:endParaRPr>
              </a:p>
            </p:txBody>
          </p:sp>
          <p:sp>
            <p:nvSpPr>
              <p:cNvPr id="137" name="Blokbue 136"/>
              <p:cNvSpPr/>
              <p:nvPr/>
            </p:nvSpPr>
            <p:spPr bwMode="auto">
              <a:xfrm rot="3730573">
                <a:off x="2518962" y="839770"/>
                <a:ext cx="3842697" cy="3842328"/>
              </a:xfrm>
              <a:prstGeom prst="blockArc">
                <a:avLst>
                  <a:gd name="adj1" fmla="val 12299351"/>
                  <a:gd name="adj2" fmla="val 15897654"/>
                  <a:gd name="adj3" fmla="val 26577"/>
                </a:avLst>
              </a:prstGeom>
              <a:solidFill>
                <a:schemeClr val="accent1">
                  <a:lumMod val="20000"/>
                  <a:lumOff val="80000"/>
                </a:schemeClr>
              </a:solidFill>
              <a:ln w="3175" cap="flat" cmpd="sng">
                <a:solidFill>
                  <a:schemeClr val="bg1">
                    <a:lumMod val="50000"/>
                  </a:schemeClr>
                </a:solidFill>
                <a:prstDash val="solid"/>
                <a:round/>
                <a:headEnd type="none" w="med" len="med"/>
                <a:tailEnd type="none" w="med" len="med"/>
              </a:ln>
              <a:effectLst/>
            </p:spPr>
            <p:txBody>
              <a:bodyPr/>
              <a:lstStyle/>
              <a:p>
                <a:pPr fontAlgn="auto">
                  <a:spcBef>
                    <a:spcPts val="0"/>
                  </a:spcBef>
                  <a:spcAft>
                    <a:spcPts val="0"/>
                  </a:spcAft>
                  <a:defRPr/>
                </a:pPr>
                <a:endParaRPr lang="da-DK" kern="0">
                  <a:solidFill>
                    <a:sysClr val="windowText" lastClr="000000">
                      <a:lumMod val="95000"/>
                      <a:lumOff val="5000"/>
                    </a:sysClr>
                  </a:solidFill>
                  <a:latin typeface="Calibri"/>
                </a:endParaRPr>
              </a:p>
            </p:txBody>
          </p:sp>
          <p:sp>
            <p:nvSpPr>
              <p:cNvPr id="138" name="Cirkulær pil 137"/>
              <p:cNvSpPr/>
              <p:nvPr/>
            </p:nvSpPr>
            <p:spPr>
              <a:xfrm rot="14216451" flipH="1" flipV="1">
                <a:off x="2399252" y="711399"/>
                <a:ext cx="4247827" cy="4325434"/>
              </a:xfrm>
              <a:prstGeom prst="circularArrow">
                <a:avLst>
                  <a:gd name="adj1" fmla="val 25269"/>
                  <a:gd name="adj2" fmla="val 1142319"/>
                  <a:gd name="adj3" fmla="val 20391973"/>
                  <a:gd name="adj4" fmla="val 16090810"/>
                  <a:gd name="adj5" fmla="val 17581"/>
                </a:avLst>
              </a:prstGeom>
              <a:solidFill>
                <a:schemeClr val="bg2">
                  <a:lumMod val="75000"/>
                </a:schemeClr>
              </a:solidFill>
              <a:ln w="9525" cap="flat" cmpd="sng" algn="ctr">
                <a:solidFill>
                  <a:schemeClr val="bg1">
                    <a:lumMod val="50000"/>
                  </a:schemeClr>
                </a:solidFill>
                <a:prstDash val="solid"/>
              </a:ln>
              <a:effectLst/>
            </p:spPr>
            <p:txBody>
              <a:bodyPr anchor="ctr"/>
              <a:lstStyle/>
              <a:p>
                <a:pPr algn="ctr" fontAlgn="auto">
                  <a:spcBef>
                    <a:spcPts val="0"/>
                  </a:spcBef>
                  <a:spcAft>
                    <a:spcPts val="0"/>
                  </a:spcAft>
                  <a:defRPr/>
                </a:pPr>
                <a:endParaRPr lang="da-DK" kern="0">
                  <a:solidFill>
                    <a:sysClr val="window" lastClr="FFFFFF"/>
                  </a:solidFill>
                  <a:latin typeface="Calibri"/>
                </a:endParaRPr>
              </a:p>
            </p:txBody>
          </p:sp>
        </p:grpSp>
      </p:grpSp>
      <p:grpSp>
        <p:nvGrpSpPr>
          <p:cNvPr id="22" name="Gruppe 230"/>
          <p:cNvGrpSpPr/>
          <p:nvPr/>
        </p:nvGrpSpPr>
        <p:grpSpPr>
          <a:xfrm>
            <a:off x="7852992" y="5021792"/>
            <a:ext cx="750088" cy="912281"/>
            <a:chOff x="544185" y="1026430"/>
            <a:chExt cx="5195568" cy="4987350"/>
          </a:xfrm>
          <a:effectLst>
            <a:outerShdw blurRad="50800" dist="38100" dir="2700000" algn="tl" rotWithShape="0">
              <a:prstClr val="black">
                <a:alpha val="40000"/>
              </a:prstClr>
            </a:outerShdw>
          </a:effectLst>
        </p:grpSpPr>
        <p:grpSp>
          <p:nvGrpSpPr>
            <p:cNvPr id="23" name="Gruppe 56"/>
            <p:cNvGrpSpPr>
              <a:grpSpLocks/>
            </p:cNvGrpSpPr>
            <p:nvPr/>
          </p:nvGrpSpPr>
          <p:grpSpPr bwMode="auto">
            <a:xfrm>
              <a:off x="544185" y="1026430"/>
              <a:ext cx="5195568" cy="4987349"/>
              <a:chOff x="543539" y="1027095"/>
              <a:chExt cx="5196840" cy="4986342"/>
            </a:xfrm>
          </p:grpSpPr>
          <p:grpSp>
            <p:nvGrpSpPr>
              <p:cNvPr id="24" name="Gruppe 25"/>
              <p:cNvGrpSpPr>
                <a:grpSpLocks/>
              </p:cNvGrpSpPr>
              <p:nvPr/>
            </p:nvGrpSpPr>
            <p:grpSpPr bwMode="auto">
              <a:xfrm>
                <a:off x="543539" y="1027095"/>
                <a:ext cx="5196840" cy="4986342"/>
                <a:chOff x="543539" y="1027095"/>
                <a:chExt cx="5196840" cy="4986342"/>
              </a:xfrm>
            </p:grpSpPr>
            <p:sp>
              <p:nvSpPr>
                <p:cNvPr id="155" name="Rektangel 154"/>
                <p:cNvSpPr/>
                <p:nvPr/>
              </p:nvSpPr>
              <p:spPr>
                <a:xfrm rot="16200000">
                  <a:off x="2619785" y="2821356"/>
                  <a:ext cx="4137778" cy="1391816"/>
                </a:xfrm>
                <a:prstGeom prst="rect">
                  <a:avLst/>
                </a:prstGeom>
                <a:solidFill>
                  <a:schemeClr val="accent1">
                    <a:lumMod val="20000"/>
                    <a:lumOff val="80000"/>
                  </a:schemeClr>
                </a:solidFill>
                <a:ln w="9525" cap="flat" cmpd="sng" algn="ctr">
                  <a:solidFill>
                    <a:sysClr val="window" lastClr="FFFFFF">
                      <a:lumMod val="95000"/>
                    </a:sysClr>
                  </a:solidFill>
                  <a:prstDash val="solid"/>
                </a:ln>
                <a:effectLst/>
              </p:spPr>
              <p:txBody>
                <a:bodyPr anchor="ctr"/>
                <a:lstStyle/>
                <a:p>
                  <a:pPr algn="ctr" fontAlgn="auto">
                    <a:spcBef>
                      <a:spcPts val="0"/>
                    </a:spcBef>
                    <a:spcAft>
                      <a:spcPts val="0"/>
                    </a:spcAft>
                    <a:defRPr/>
                  </a:pPr>
                  <a:endParaRPr lang="da-DK" kern="0" dirty="0">
                    <a:solidFill>
                      <a:sysClr val="window" lastClr="FFFFFF"/>
                    </a:solidFill>
                    <a:latin typeface="Calibri"/>
                  </a:endParaRPr>
                </a:p>
              </p:txBody>
            </p:sp>
            <p:sp>
              <p:nvSpPr>
                <p:cNvPr id="156" name="Venstre-opadgående pil 155"/>
                <p:cNvSpPr/>
                <p:nvPr/>
              </p:nvSpPr>
              <p:spPr>
                <a:xfrm flipH="1">
                  <a:off x="543539" y="1027095"/>
                  <a:ext cx="5196840" cy="4986342"/>
                </a:xfrm>
                <a:prstGeom prst="leftUpArrow">
                  <a:avLst>
                    <a:gd name="adj1" fmla="val 3074"/>
                    <a:gd name="adj2" fmla="val 4126"/>
                    <a:gd name="adj3" fmla="val 4936"/>
                  </a:avLst>
                </a:prstGeom>
                <a:gradFill flip="none" rotWithShape="1">
                  <a:gsLst>
                    <a:gs pos="51000">
                      <a:srgbClr val="FFFFFF">
                        <a:lumMod val="50000"/>
                      </a:srgbClr>
                    </a:gs>
                    <a:gs pos="69000">
                      <a:srgbClr val="FFFFFF">
                        <a:lumMod val="65000"/>
                      </a:srgbClr>
                    </a:gs>
                    <a:gs pos="100000">
                      <a:sysClr val="window" lastClr="FFFFFF">
                        <a:lumMod val="85000"/>
                        <a:alpha val="63000"/>
                      </a:sysClr>
                    </a:gs>
                  </a:gsLst>
                  <a:lin ang="2700000" scaled="1"/>
                  <a:tileRect/>
                </a:gradFill>
                <a:ln w="25400" cap="flat" cmpd="sng" algn="ctr">
                  <a:noFill/>
                  <a:prstDash val="solid"/>
                </a:ln>
                <a:effectLst/>
              </p:spPr>
              <p:txBody>
                <a:bodyPr anchor="ctr"/>
                <a:lstStyle/>
                <a:p>
                  <a:pPr algn="ctr" fontAlgn="auto">
                    <a:spcBef>
                      <a:spcPts val="0"/>
                    </a:spcBef>
                    <a:spcAft>
                      <a:spcPts val="0"/>
                    </a:spcAft>
                    <a:defRPr/>
                  </a:pPr>
                  <a:endParaRPr lang="da-DK" kern="0" dirty="0" err="1">
                    <a:solidFill>
                      <a:sysClr val="window" lastClr="FFFFFF"/>
                    </a:solidFill>
                    <a:latin typeface="Calibri"/>
                  </a:endParaRPr>
                </a:p>
              </p:txBody>
            </p:sp>
            <p:sp>
              <p:nvSpPr>
                <p:cNvPr id="157" name="Rektangel 156"/>
                <p:cNvSpPr/>
                <p:nvPr/>
              </p:nvSpPr>
              <p:spPr>
                <a:xfrm rot="16200000">
                  <a:off x="1120401" y="2782074"/>
                  <a:ext cx="4137777" cy="1470385"/>
                </a:xfrm>
                <a:prstGeom prst="rect">
                  <a:avLst/>
                </a:prstGeom>
                <a:solidFill>
                  <a:schemeClr val="accent1">
                    <a:lumMod val="20000"/>
                    <a:lumOff val="80000"/>
                  </a:schemeClr>
                </a:solidFill>
                <a:ln w="9525" cap="flat" cmpd="sng" algn="ctr">
                  <a:solidFill>
                    <a:sysClr val="window" lastClr="FFFFFF">
                      <a:lumMod val="95000"/>
                    </a:sysClr>
                  </a:solidFill>
                  <a:prstDash val="solid"/>
                </a:ln>
                <a:effectLst/>
              </p:spPr>
              <p:txBody>
                <a:bodyPr anchor="ctr"/>
                <a:lstStyle/>
                <a:p>
                  <a:pPr algn="ctr" fontAlgn="auto">
                    <a:spcBef>
                      <a:spcPts val="0"/>
                    </a:spcBef>
                    <a:spcAft>
                      <a:spcPts val="0"/>
                    </a:spcAft>
                    <a:defRPr/>
                  </a:pPr>
                  <a:endParaRPr lang="da-DK" kern="0" dirty="0">
                    <a:solidFill>
                      <a:sysClr val="window" lastClr="FFFFFF"/>
                    </a:solidFill>
                    <a:latin typeface="Calibri"/>
                  </a:endParaRPr>
                </a:p>
              </p:txBody>
            </p:sp>
            <p:sp>
              <p:nvSpPr>
                <p:cNvPr id="158" name="Rektangel 157"/>
                <p:cNvSpPr/>
                <p:nvPr/>
              </p:nvSpPr>
              <p:spPr>
                <a:xfrm rot="16200000">
                  <a:off x="-354035" y="2846301"/>
                  <a:ext cx="4137778" cy="1341926"/>
                </a:xfrm>
                <a:prstGeom prst="rect">
                  <a:avLst/>
                </a:prstGeom>
                <a:solidFill>
                  <a:schemeClr val="accent1">
                    <a:lumMod val="20000"/>
                    <a:lumOff val="80000"/>
                  </a:schemeClr>
                </a:solidFill>
                <a:ln w="9525" cap="flat" cmpd="sng" algn="ctr">
                  <a:solidFill>
                    <a:sysClr val="window" lastClr="FFFFFF">
                      <a:lumMod val="95000"/>
                    </a:sysClr>
                  </a:solidFill>
                  <a:prstDash val="solid"/>
                </a:ln>
                <a:effectLst/>
              </p:spPr>
              <p:txBody>
                <a:bodyPr anchor="ctr"/>
                <a:lstStyle/>
                <a:p>
                  <a:pPr algn="ctr" fontAlgn="auto">
                    <a:spcBef>
                      <a:spcPts val="0"/>
                    </a:spcBef>
                    <a:spcAft>
                      <a:spcPts val="0"/>
                    </a:spcAft>
                    <a:defRPr/>
                  </a:pPr>
                  <a:endParaRPr lang="da-DK" kern="0" dirty="0">
                    <a:solidFill>
                      <a:sysClr val="window" lastClr="FFFFFF"/>
                    </a:solidFill>
                    <a:latin typeface="Calibri"/>
                  </a:endParaRPr>
                </a:p>
              </p:txBody>
            </p:sp>
          </p:grpSp>
          <p:grpSp>
            <p:nvGrpSpPr>
              <p:cNvPr id="25" name="Gruppe 55"/>
              <p:cNvGrpSpPr>
                <a:grpSpLocks/>
              </p:cNvGrpSpPr>
              <p:nvPr/>
            </p:nvGrpSpPr>
            <p:grpSpPr bwMode="auto">
              <a:xfrm>
                <a:off x="897966" y="2443540"/>
                <a:ext cx="4542950" cy="2150627"/>
                <a:chOff x="898000" y="2443540"/>
                <a:chExt cx="4263183" cy="2150627"/>
              </a:xfrm>
            </p:grpSpPr>
            <p:cxnSp>
              <p:nvCxnSpPr>
                <p:cNvPr id="152" name="Lige forbindelse 151"/>
                <p:cNvCxnSpPr/>
                <p:nvPr/>
              </p:nvCxnSpPr>
              <p:spPr bwMode="auto">
                <a:xfrm flipH="1" flipV="1">
                  <a:off x="898000" y="4592580"/>
                  <a:ext cx="4263183" cy="1587"/>
                </a:xfrm>
                <a:prstGeom prst="line">
                  <a:avLst/>
                </a:prstGeom>
                <a:noFill/>
                <a:ln w="6350" cap="flat" cmpd="sng" algn="ctr">
                  <a:solidFill>
                    <a:srgbClr val="FFFFFF">
                      <a:lumMod val="75000"/>
                    </a:srgbClr>
                  </a:solidFill>
                  <a:prstDash val="sysDash"/>
                </a:ln>
                <a:effectLst/>
              </p:spPr>
            </p:cxnSp>
            <p:cxnSp>
              <p:nvCxnSpPr>
                <p:cNvPr id="153" name="Lige forbindelse 152"/>
                <p:cNvCxnSpPr/>
                <p:nvPr/>
              </p:nvCxnSpPr>
              <p:spPr bwMode="auto">
                <a:xfrm flipH="1" flipV="1">
                  <a:off x="898000" y="3510124"/>
                  <a:ext cx="4263183" cy="1587"/>
                </a:xfrm>
                <a:prstGeom prst="line">
                  <a:avLst/>
                </a:prstGeom>
                <a:noFill/>
                <a:ln w="6350" cap="flat" cmpd="sng" algn="ctr">
                  <a:solidFill>
                    <a:srgbClr val="FFFFFF">
                      <a:lumMod val="75000"/>
                    </a:srgbClr>
                  </a:solidFill>
                  <a:prstDash val="sysDash"/>
                </a:ln>
                <a:effectLst/>
              </p:spPr>
            </p:cxnSp>
            <p:cxnSp>
              <p:nvCxnSpPr>
                <p:cNvPr id="154" name="Lige forbindelse 153"/>
                <p:cNvCxnSpPr/>
                <p:nvPr/>
              </p:nvCxnSpPr>
              <p:spPr bwMode="auto">
                <a:xfrm flipH="1" flipV="1">
                  <a:off x="898000" y="2443540"/>
                  <a:ext cx="4263183" cy="1587"/>
                </a:xfrm>
                <a:prstGeom prst="line">
                  <a:avLst/>
                </a:prstGeom>
                <a:noFill/>
                <a:ln w="6350" cap="flat" cmpd="sng" algn="ctr">
                  <a:solidFill>
                    <a:srgbClr val="FFFFFF">
                      <a:lumMod val="75000"/>
                    </a:srgbClr>
                  </a:solidFill>
                  <a:prstDash val="sysDash"/>
                </a:ln>
                <a:effectLst/>
              </p:spPr>
            </p:cxnSp>
          </p:grpSp>
        </p:grpSp>
        <p:sp>
          <p:nvSpPr>
            <p:cNvPr id="148" name="Kombinationstegning 147"/>
            <p:cNvSpPr/>
            <p:nvPr/>
          </p:nvSpPr>
          <p:spPr>
            <a:xfrm>
              <a:off x="1082673" y="1463675"/>
              <a:ext cx="3163106" cy="3900487"/>
            </a:xfrm>
            <a:custGeom>
              <a:avLst/>
              <a:gdLst>
                <a:gd name="connsiteX0" fmla="*/ 0 w 2804160"/>
                <a:gd name="connsiteY0" fmla="*/ 3901440 h 3901440"/>
                <a:gd name="connsiteX1" fmla="*/ 1844040 w 2804160"/>
                <a:gd name="connsiteY1" fmla="*/ 2453640 h 3901440"/>
                <a:gd name="connsiteX2" fmla="*/ 2804160 w 2804160"/>
                <a:gd name="connsiteY2" fmla="*/ 0 h 3901440"/>
              </a:gdLst>
              <a:ahLst/>
              <a:cxnLst>
                <a:cxn ang="0">
                  <a:pos x="connsiteX0" y="connsiteY0"/>
                </a:cxn>
                <a:cxn ang="0">
                  <a:pos x="connsiteX1" y="connsiteY1"/>
                </a:cxn>
                <a:cxn ang="0">
                  <a:pos x="connsiteX2" y="connsiteY2"/>
                </a:cxn>
              </a:cxnLst>
              <a:rect l="l" t="t" r="r" b="b"/>
              <a:pathLst>
                <a:path w="2804160" h="3901440">
                  <a:moveTo>
                    <a:pt x="0" y="3901440"/>
                  </a:moveTo>
                  <a:cubicBezTo>
                    <a:pt x="688340" y="3502660"/>
                    <a:pt x="1376680" y="3103880"/>
                    <a:pt x="1844040" y="2453640"/>
                  </a:cubicBezTo>
                  <a:cubicBezTo>
                    <a:pt x="2311400" y="1803400"/>
                    <a:pt x="2557780" y="901700"/>
                    <a:pt x="2804160" y="0"/>
                  </a:cubicBezTo>
                </a:path>
              </a:pathLst>
            </a:custGeom>
            <a:noFill/>
            <a:ln w="25400" cap="flat" cmpd="sng" algn="ctr">
              <a:solidFill>
                <a:srgbClr val="FF0000"/>
              </a:solidFill>
              <a:prstDash val="solid"/>
              <a:tailEnd type="triangle"/>
            </a:ln>
            <a:effectLst>
              <a:outerShdw blurRad="40000" dist="20000" dir="5400000" rotWithShape="0">
                <a:srgbClr val="000000">
                  <a:alpha val="38000"/>
                </a:srgbClr>
              </a:outerShdw>
            </a:effectLst>
          </p:spPr>
          <p:txBody>
            <a:bodyPr anchor="ctr"/>
            <a:lstStyle/>
            <a:p>
              <a:pPr algn="ctr" fontAlgn="auto">
                <a:spcBef>
                  <a:spcPts val="0"/>
                </a:spcBef>
                <a:spcAft>
                  <a:spcPts val="0"/>
                </a:spcAft>
                <a:defRPr/>
              </a:pPr>
              <a:endParaRPr lang="da-DK" kern="0">
                <a:solidFill>
                  <a:sysClr val="window" lastClr="FFFFFF"/>
                </a:solidFill>
                <a:latin typeface="Calibri"/>
              </a:endParaRPr>
            </a:p>
          </p:txBody>
        </p:sp>
        <p:sp>
          <p:nvSpPr>
            <p:cNvPr id="149" name="Kombinationstegning 148"/>
            <p:cNvSpPr/>
            <p:nvPr/>
          </p:nvSpPr>
          <p:spPr>
            <a:xfrm>
              <a:off x="1084263" y="1463675"/>
              <a:ext cx="4356100" cy="3930650"/>
            </a:xfrm>
            <a:custGeom>
              <a:avLst/>
              <a:gdLst>
                <a:gd name="connsiteX0" fmla="*/ 27940 w 4356100"/>
                <a:gd name="connsiteY0" fmla="*/ 3931920 h 3931920"/>
                <a:gd name="connsiteX1" fmla="*/ 378460 w 4356100"/>
                <a:gd name="connsiteY1" fmla="*/ 2712720 h 3931920"/>
                <a:gd name="connsiteX2" fmla="*/ 2298700 w 4356100"/>
                <a:gd name="connsiteY2" fmla="*/ 2133600 h 3931920"/>
                <a:gd name="connsiteX3" fmla="*/ 3548380 w 4356100"/>
                <a:gd name="connsiteY3" fmla="*/ 792480 h 3931920"/>
                <a:gd name="connsiteX4" fmla="*/ 4356100 w 4356100"/>
                <a:gd name="connsiteY4" fmla="*/ 0 h 393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6100" h="3931920">
                  <a:moveTo>
                    <a:pt x="27940" y="3931920"/>
                  </a:moveTo>
                  <a:cubicBezTo>
                    <a:pt x="13970" y="3472180"/>
                    <a:pt x="0" y="3012440"/>
                    <a:pt x="378460" y="2712720"/>
                  </a:cubicBezTo>
                  <a:cubicBezTo>
                    <a:pt x="756920" y="2413000"/>
                    <a:pt x="1770380" y="2453640"/>
                    <a:pt x="2298700" y="2133600"/>
                  </a:cubicBezTo>
                  <a:cubicBezTo>
                    <a:pt x="2827020" y="1813560"/>
                    <a:pt x="3205480" y="1148080"/>
                    <a:pt x="3548380" y="792480"/>
                  </a:cubicBezTo>
                  <a:cubicBezTo>
                    <a:pt x="3891280" y="436880"/>
                    <a:pt x="4123690" y="218440"/>
                    <a:pt x="4356100" y="0"/>
                  </a:cubicBezTo>
                </a:path>
              </a:pathLst>
            </a:custGeom>
            <a:noFill/>
            <a:ln w="25400" cap="flat" cmpd="sng" algn="ctr">
              <a:solidFill>
                <a:srgbClr val="FF0000"/>
              </a:solidFill>
              <a:prstDash val="sysDash"/>
              <a:tailEnd type="triangle"/>
            </a:ln>
            <a:effectLst>
              <a:outerShdw blurRad="40000" dist="20000" dir="5400000" rotWithShape="0">
                <a:srgbClr val="000000">
                  <a:alpha val="38000"/>
                </a:srgbClr>
              </a:outerShdw>
            </a:effectLst>
          </p:spPr>
          <p:txBody>
            <a:bodyPr anchor="ctr"/>
            <a:lstStyle/>
            <a:p>
              <a:pPr algn="ctr" fontAlgn="auto">
                <a:spcBef>
                  <a:spcPts val="0"/>
                </a:spcBef>
                <a:spcAft>
                  <a:spcPts val="0"/>
                </a:spcAft>
                <a:defRPr/>
              </a:pPr>
              <a:endParaRPr lang="da-DK" kern="0">
                <a:solidFill>
                  <a:sysClr val="window" lastClr="FFFFFF"/>
                </a:solidFill>
                <a:latin typeface="Calibri"/>
              </a:endParaRPr>
            </a:p>
          </p:txBody>
        </p:sp>
      </p:grpSp>
      <p:grpSp>
        <p:nvGrpSpPr>
          <p:cNvPr id="3097" name="Gruppe 311"/>
          <p:cNvGrpSpPr>
            <a:grpSpLocks/>
          </p:cNvGrpSpPr>
          <p:nvPr/>
        </p:nvGrpSpPr>
        <p:grpSpPr bwMode="auto">
          <a:xfrm>
            <a:off x="8380667" y="2868597"/>
            <a:ext cx="812800" cy="762000"/>
            <a:chOff x="1216932" y="1129784"/>
            <a:chExt cx="5031467" cy="4719019"/>
          </a:xfrm>
        </p:grpSpPr>
        <p:grpSp>
          <p:nvGrpSpPr>
            <p:cNvPr id="3346" name="Gruppe 179"/>
            <p:cNvGrpSpPr>
              <a:grpSpLocks/>
            </p:cNvGrpSpPr>
            <p:nvPr/>
          </p:nvGrpSpPr>
          <p:grpSpPr bwMode="auto">
            <a:xfrm>
              <a:off x="3034938" y="3361493"/>
              <a:ext cx="3213712" cy="2487311"/>
              <a:chOff x="4700923" y="3673354"/>
              <a:chExt cx="4275477" cy="3310059"/>
            </a:xfrm>
          </p:grpSpPr>
          <p:sp>
            <p:nvSpPr>
              <p:cNvPr id="87" name="Freeform 5"/>
              <p:cNvSpPr>
                <a:spLocks/>
              </p:cNvSpPr>
              <p:nvPr/>
            </p:nvSpPr>
            <p:spPr bwMode="auto">
              <a:xfrm>
                <a:off x="4700931" y="3673338"/>
                <a:ext cx="732133" cy="3310067"/>
              </a:xfrm>
              <a:custGeom>
                <a:avLst/>
                <a:gdLst/>
                <a:ahLst/>
                <a:cxnLst>
                  <a:cxn ang="0">
                    <a:pos x="305" y="5"/>
                  </a:cxn>
                  <a:cxn ang="0">
                    <a:pos x="298" y="12"/>
                  </a:cxn>
                  <a:cxn ang="0">
                    <a:pos x="293" y="28"/>
                  </a:cxn>
                  <a:cxn ang="0">
                    <a:pos x="289" y="54"/>
                  </a:cxn>
                  <a:cxn ang="0">
                    <a:pos x="288" y="164"/>
                  </a:cxn>
                  <a:cxn ang="0">
                    <a:pos x="278" y="344"/>
                  </a:cxn>
                  <a:cxn ang="0">
                    <a:pos x="261" y="523"/>
                  </a:cxn>
                  <a:cxn ang="0">
                    <a:pos x="238" y="701"/>
                  </a:cxn>
                  <a:cxn ang="0">
                    <a:pos x="223" y="824"/>
                  </a:cxn>
                  <a:cxn ang="0">
                    <a:pos x="218" y="910"/>
                  </a:cxn>
                  <a:cxn ang="0">
                    <a:pos x="211" y="1002"/>
                  </a:cxn>
                  <a:cxn ang="0">
                    <a:pos x="194" y="1083"/>
                  </a:cxn>
                  <a:cxn ang="0">
                    <a:pos x="156" y="1114"/>
                  </a:cxn>
                  <a:cxn ang="0">
                    <a:pos x="111" y="1103"/>
                  </a:cxn>
                  <a:cxn ang="0">
                    <a:pos x="69" y="1087"/>
                  </a:cxn>
                  <a:cxn ang="0">
                    <a:pos x="26" y="1071"/>
                  </a:cxn>
                  <a:cxn ang="0">
                    <a:pos x="0" y="1065"/>
                  </a:cxn>
                  <a:cxn ang="0">
                    <a:pos x="1" y="1070"/>
                  </a:cxn>
                  <a:cxn ang="0">
                    <a:pos x="11" y="1082"/>
                  </a:cxn>
                  <a:cxn ang="0">
                    <a:pos x="62" y="1126"/>
                  </a:cxn>
                  <a:cxn ang="0">
                    <a:pos x="119" y="1169"/>
                  </a:cxn>
                  <a:cxn ang="0">
                    <a:pos x="150" y="1196"/>
                  </a:cxn>
                  <a:cxn ang="0">
                    <a:pos x="165" y="1225"/>
                  </a:cxn>
                  <a:cxn ang="0">
                    <a:pos x="169" y="1279"/>
                  </a:cxn>
                  <a:cxn ang="0">
                    <a:pos x="152" y="1479"/>
                  </a:cxn>
                  <a:cxn ang="0">
                    <a:pos x="119" y="1758"/>
                  </a:cxn>
                  <a:cxn ang="0">
                    <a:pos x="85" y="1996"/>
                  </a:cxn>
                  <a:cxn ang="0">
                    <a:pos x="84" y="2076"/>
                  </a:cxn>
                  <a:cxn ang="0">
                    <a:pos x="118" y="2087"/>
                  </a:cxn>
                  <a:cxn ang="0">
                    <a:pos x="157" y="2079"/>
                  </a:cxn>
                  <a:cxn ang="0">
                    <a:pos x="192" y="2058"/>
                  </a:cxn>
                  <a:cxn ang="0">
                    <a:pos x="200" y="1951"/>
                  </a:cxn>
                  <a:cxn ang="0">
                    <a:pos x="199" y="1762"/>
                  </a:cxn>
                  <a:cxn ang="0">
                    <a:pos x="209" y="1572"/>
                  </a:cxn>
                  <a:cxn ang="0">
                    <a:pos x="235" y="1384"/>
                  </a:cxn>
                  <a:cxn ang="0">
                    <a:pos x="256" y="1245"/>
                  </a:cxn>
                  <a:cxn ang="0">
                    <a:pos x="256" y="1147"/>
                  </a:cxn>
                  <a:cxn ang="0">
                    <a:pos x="261" y="1047"/>
                  </a:cxn>
                  <a:cxn ang="0">
                    <a:pos x="279" y="949"/>
                  </a:cxn>
                  <a:cxn ang="0">
                    <a:pos x="316" y="870"/>
                  </a:cxn>
                  <a:cxn ang="0">
                    <a:pos x="353" y="825"/>
                  </a:cxn>
                  <a:cxn ang="0">
                    <a:pos x="390" y="788"/>
                  </a:cxn>
                  <a:cxn ang="0">
                    <a:pos x="436" y="747"/>
                  </a:cxn>
                  <a:cxn ang="0">
                    <a:pos x="463" y="712"/>
                  </a:cxn>
                  <a:cxn ang="0">
                    <a:pos x="461" y="705"/>
                  </a:cxn>
                  <a:cxn ang="0">
                    <a:pos x="432" y="719"/>
                  </a:cxn>
                  <a:cxn ang="0">
                    <a:pos x="386" y="751"/>
                  </a:cxn>
                  <a:cxn ang="0">
                    <a:pos x="350" y="781"/>
                  </a:cxn>
                  <a:cxn ang="0">
                    <a:pos x="316" y="804"/>
                  </a:cxn>
                  <a:cxn ang="0">
                    <a:pos x="296" y="785"/>
                  </a:cxn>
                  <a:cxn ang="0">
                    <a:pos x="298" y="727"/>
                  </a:cxn>
                  <a:cxn ang="0">
                    <a:pos x="304" y="667"/>
                  </a:cxn>
                  <a:cxn ang="0">
                    <a:pos x="311" y="607"/>
                  </a:cxn>
                  <a:cxn ang="0">
                    <a:pos x="322" y="508"/>
                  </a:cxn>
                  <a:cxn ang="0">
                    <a:pos x="337" y="366"/>
                  </a:cxn>
                  <a:cxn ang="0">
                    <a:pos x="350" y="224"/>
                  </a:cxn>
                  <a:cxn ang="0">
                    <a:pos x="365" y="81"/>
                  </a:cxn>
                  <a:cxn ang="0">
                    <a:pos x="373" y="8"/>
                  </a:cxn>
                  <a:cxn ang="0">
                    <a:pos x="365" y="3"/>
                  </a:cxn>
                  <a:cxn ang="0">
                    <a:pos x="351" y="0"/>
                  </a:cxn>
                  <a:cxn ang="0">
                    <a:pos x="325" y="1"/>
                  </a:cxn>
                </a:cxnLst>
                <a:rect l="0" t="0" r="r" b="b"/>
                <a:pathLst>
                  <a:path w="466" h="2087">
                    <a:moveTo>
                      <a:pt x="310" y="5"/>
                    </a:moveTo>
                    <a:lnTo>
                      <a:pt x="305" y="5"/>
                    </a:lnTo>
                    <a:lnTo>
                      <a:pt x="301" y="8"/>
                    </a:lnTo>
                    <a:lnTo>
                      <a:pt x="298" y="12"/>
                    </a:lnTo>
                    <a:lnTo>
                      <a:pt x="296" y="19"/>
                    </a:lnTo>
                    <a:lnTo>
                      <a:pt x="293" y="28"/>
                    </a:lnTo>
                    <a:lnTo>
                      <a:pt x="291" y="40"/>
                    </a:lnTo>
                    <a:lnTo>
                      <a:pt x="289" y="54"/>
                    </a:lnTo>
                    <a:lnTo>
                      <a:pt x="289" y="74"/>
                    </a:lnTo>
                    <a:lnTo>
                      <a:pt x="288" y="164"/>
                    </a:lnTo>
                    <a:lnTo>
                      <a:pt x="285" y="254"/>
                    </a:lnTo>
                    <a:lnTo>
                      <a:pt x="278" y="344"/>
                    </a:lnTo>
                    <a:lnTo>
                      <a:pt x="271" y="434"/>
                    </a:lnTo>
                    <a:lnTo>
                      <a:pt x="261" y="523"/>
                    </a:lnTo>
                    <a:lnTo>
                      <a:pt x="251" y="612"/>
                    </a:lnTo>
                    <a:lnTo>
                      <a:pt x="238" y="701"/>
                    </a:lnTo>
                    <a:lnTo>
                      <a:pt x="225" y="789"/>
                    </a:lnTo>
                    <a:lnTo>
                      <a:pt x="223" y="824"/>
                    </a:lnTo>
                    <a:lnTo>
                      <a:pt x="221" y="865"/>
                    </a:lnTo>
                    <a:lnTo>
                      <a:pt x="218" y="910"/>
                    </a:lnTo>
                    <a:lnTo>
                      <a:pt x="216" y="956"/>
                    </a:lnTo>
                    <a:lnTo>
                      <a:pt x="211" y="1002"/>
                    </a:lnTo>
                    <a:lnTo>
                      <a:pt x="204" y="1044"/>
                    </a:lnTo>
                    <a:lnTo>
                      <a:pt x="194" y="1083"/>
                    </a:lnTo>
                    <a:lnTo>
                      <a:pt x="182" y="1116"/>
                    </a:lnTo>
                    <a:lnTo>
                      <a:pt x="156" y="1114"/>
                    </a:lnTo>
                    <a:lnTo>
                      <a:pt x="133" y="1109"/>
                    </a:lnTo>
                    <a:lnTo>
                      <a:pt x="111" y="1103"/>
                    </a:lnTo>
                    <a:lnTo>
                      <a:pt x="91" y="1096"/>
                    </a:lnTo>
                    <a:lnTo>
                      <a:pt x="69" y="1087"/>
                    </a:lnTo>
                    <a:lnTo>
                      <a:pt x="48" y="1078"/>
                    </a:lnTo>
                    <a:lnTo>
                      <a:pt x="26" y="1071"/>
                    </a:lnTo>
                    <a:lnTo>
                      <a:pt x="3" y="1065"/>
                    </a:lnTo>
                    <a:lnTo>
                      <a:pt x="0" y="1065"/>
                    </a:lnTo>
                    <a:lnTo>
                      <a:pt x="0" y="1068"/>
                    </a:lnTo>
                    <a:lnTo>
                      <a:pt x="1" y="1070"/>
                    </a:lnTo>
                    <a:lnTo>
                      <a:pt x="5" y="1075"/>
                    </a:lnTo>
                    <a:lnTo>
                      <a:pt x="11" y="1082"/>
                    </a:lnTo>
                    <a:lnTo>
                      <a:pt x="23" y="1093"/>
                    </a:lnTo>
                    <a:lnTo>
                      <a:pt x="62" y="1126"/>
                    </a:lnTo>
                    <a:lnTo>
                      <a:pt x="95" y="1151"/>
                    </a:lnTo>
                    <a:lnTo>
                      <a:pt x="119" y="1169"/>
                    </a:lnTo>
                    <a:lnTo>
                      <a:pt x="138" y="1184"/>
                    </a:lnTo>
                    <a:lnTo>
                      <a:pt x="150" y="1196"/>
                    </a:lnTo>
                    <a:lnTo>
                      <a:pt x="160" y="1209"/>
                    </a:lnTo>
                    <a:lnTo>
                      <a:pt x="165" y="1225"/>
                    </a:lnTo>
                    <a:lnTo>
                      <a:pt x="169" y="1246"/>
                    </a:lnTo>
                    <a:lnTo>
                      <a:pt x="169" y="1279"/>
                    </a:lnTo>
                    <a:lnTo>
                      <a:pt x="163" y="1362"/>
                    </a:lnTo>
                    <a:lnTo>
                      <a:pt x="152" y="1479"/>
                    </a:lnTo>
                    <a:lnTo>
                      <a:pt x="137" y="1617"/>
                    </a:lnTo>
                    <a:lnTo>
                      <a:pt x="119" y="1758"/>
                    </a:lnTo>
                    <a:lnTo>
                      <a:pt x="101" y="1889"/>
                    </a:lnTo>
                    <a:lnTo>
                      <a:pt x="85" y="1996"/>
                    </a:lnTo>
                    <a:lnTo>
                      <a:pt x="71" y="2064"/>
                    </a:lnTo>
                    <a:lnTo>
                      <a:pt x="84" y="2076"/>
                    </a:lnTo>
                    <a:lnTo>
                      <a:pt x="100" y="2084"/>
                    </a:lnTo>
                    <a:lnTo>
                      <a:pt x="118" y="2087"/>
                    </a:lnTo>
                    <a:lnTo>
                      <a:pt x="138" y="2086"/>
                    </a:lnTo>
                    <a:lnTo>
                      <a:pt x="157" y="2079"/>
                    </a:lnTo>
                    <a:lnTo>
                      <a:pt x="175" y="2071"/>
                    </a:lnTo>
                    <a:lnTo>
                      <a:pt x="192" y="2058"/>
                    </a:lnTo>
                    <a:lnTo>
                      <a:pt x="205" y="2043"/>
                    </a:lnTo>
                    <a:lnTo>
                      <a:pt x="200" y="1951"/>
                    </a:lnTo>
                    <a:lnTo>
                      <a:pt x="198" y="1858"/>
                    </a:lnTo>
                    <a:lnTo>
                      <a:pt x="199" y="1762"/>
                    </a:lnTo>
                    <a:lnTo>
                      <a:pt x="203" y="1667"/>
                    </a:lnTo>
                    <a:lnTo>
                      <a:pt x="209" y="1572"/>
                    </a:lnTo>
                    <a:lnTo>
                      <a:pt x="221" y="1477"/>
                    </a:lnTo>
                    <a:lnTo>
                      <a:pt x="235" y="1384"/>
                    </a:lnTo>
                    <a:lnTo>
                      <a:pt x="256" y="1294"/>
                    </a:lnTo>
                    <a:lnTo>
                      <a:pt x="256" y="1245"/>
                    </a:lnTo>
                    <a:lnTo>
                      <a:pt x="256" y="1197"/>
                    </a:lnTo>
                    <a:lnTo>
                      <a:pt x="256" y="1147"/>
                    </a:lnTo>
                    <a:lnTo>
                      <a:pt x="258" y="1098"/>
                    </a:lnTo>
                    <a:lnTo>
                      <a:pt x="261" y="1047"/>
                    </a:lnTo>
                    <a:lnTo>
                      <a:pt x="268" y="998"/>
                    </a:lnTo>
                    <a:lnTo>
                      <a:pt x="279" y="949"/>
                    </a:lnTo>
                    <a:lnTo>
                      <a:pt x="294" y="901"/>
                    </a:lnTo>
                    <a:lnTo>
                      <a:pt x="316" y="870"/>
                    </a:lnTo>
                    <a:lnTo>
                      <a:pt x="336" y="846"/>
                    </a:lnTo>
                    <a:lnTo>
                      <a:pt x="353" y="825"/>
                    </a:lnTo>
                    <a:lnTo>
                      <a:pt x="372" y="807"/>
                    </a:lnTo>
                    <a:lnTo>
                      <a:pt x="390" y="788"/>
                    </a:lnTo>
                    <a:lnTo>
                      <a:pt x="412" y="769"/>
                    </a:lnTo>
                    <a:lnTo>
                      <a:pt x="436" y="747"/>
                    </a:lnTo>
                    <a:lnTo>
                      <a:pt x="466" y="720"/>
                    </a:lnTo>
                    <a:lnTo>
                      <a:pt x="463" y="712"/>
                    </a:lnTo>
                    <a:lnTo>
                      <a:pt x="463" y="708"/>
                    </a:lnTo>
                    <a:lnTo>
                      <a:pt x="461" y="705"/>
                    </a:lnTo>
                    <a:lnTo>
                      <a:pt x="460" y="704"/>
                    </a:lnTo>
                    <a:lnTo>
                      <a:pt x="432" y="719"/>
                    </a:lnTo>
                    <a:lnTo>
                      <a:pt x="409" y="735"/>
                    </a:lnTo>
                    <a:lnTo>
                      <a:pt x="386" y="751"/>
                    </a:lnTo>
                    <a:lnTo>
                      <a:pt x="368" y="767"/>
                    </a:lnTo>
                    <a:lnTo>
                      <a:pt x="350" y="781"/>
                    </a:lnTo>
                    <a:lnTo>
                      <a:pt x="332" y="794"/>
                    </a:lnTo>
                    <a:lnTo>
                      <a:pt x="316" y="804"/>
                    </a:lnTo>
                    <a:lnTo>
                      <a:pt x="299" y="812"/>
                    </a:lnTo>
                    <a:lnTo>
                      <a:pt x="296" y="785"/>
                    </a:lnTo>
                    <a:lnTo>
                      <a:pt x="297" y="757"/>
                    </a:lnTo>
                    <a:lnTo>
                      <a:pt x="298" y="727"/>
                    </a:lnTo>
                    <a:lnTo>
                      <a:pt x="301" y="698"/>
                    </a:lnTo>
                    <a:lnTo>
                      <a:pt x="304" y="667"/>
                    </a:lnTo>
                    <a:lnTo>
                      <a:pt x="308" y="637"/>
                    </a:lnTo>
                    <a:lnTo>
                      <a:pt x="311" y="607"/>
                    </a:lnTo>
                    <a:lnTo>
                      <a:pt x="315" y="579"/>
                    </a:lnTo>
                    <a:lnTo>
                      <a:pt x="322" y="508"/>
                    </a:lnTo>
                    <a:lnTo>
                      <a:pt x="330" y="437"/>
                    </a:lnTo>
                    <a:lnTo>
                      <a:pt x="337" y="366"/>
                    </a:lnTo>
                    <a:lnTo>
                      <a:pt x="344" y="296"/>
                    </a:lnTo>
                    <a:lnTo>
                      <a:pt x="350" y="224"/>
                    </a:lnTo>
                    <a:lnTo>
                      <a:pt x="357" y="153"/>
                    </a:lnTo>
                    <a:lnTo>
                      <a:pt x="365" y="81"/>
                    </a:lnTo>
                    <a:lnTo>
                      <a:pt x="374" y="10"/>
                    </a:lnTo>
                    <a:lnTo>
                      <a:pt x="373" y="8"/>
                    </a:lnTo>
                    <a:lnTo>
                      <a:pt x="370" y="6"/>
                    </a:lnTo>
                    <a:lnTo>
                      <a:pt x="365" y="3"/>
                    </a:lnTo>
                    <a:lnTo>
                      <a:pt x="359" y="2"/>
                    </a:lnTo>
                    <a:lnTo>
                      <a:pt x="351" y="0"/>
                    </a:lnTo>
                    <a:lnTo>
                      <a:pt x="340" y="0"/>
                    </a:lnTo>
                    <a:lnTo>
                      <a:pt x="325" y="1"/>
                    </a:lnTo>
                    <a:lnTo>
                      <a:pt x="310" y="5"/>
                    </a:lnTo>
                    <a:close/>
                  </a:path>
                </a:pathLst>
              </a:custGeom>
              <a:gradFill>
                <a:gsLst>
                  <a:gs pos="87000">
                    <a:srgbClr val="FFFCF9">
                      <a:lumMod val="10000"/>
                    </a:srgbClr>
                  </a:gs>
                  <a:gs pos="100000">
                    <a:srgbClr val="F9AF18">
                      <a:lumMod val="60000"/>
                      <a:lumOff val="40000"/>
                    </a:srgbClr>
                  </a:gs>
                  <a:gs pos="100000">
                    <a:srgbClr val="E6E6E6">
                      <a:lumMod val="10000"/>
                    </a:srgbClr>
                  </a:gs>
                </a:gsLst>
                <a:lin ang="13500000" scaled="1"/>
              </a:grad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ndParaRPr>
              </a:p>
            </p:txBody>
          </p:sp>
          <p:grpSp>
            <p:nvGrpSpPr>
              <p:cNvPr id="3358" name="Gruppe 153"/>
              <p:cNvGrpSpPr>
                <a:grpSpLocks/>
              </p:cNvGrpSpPr>
              <p:nvPr/>
            </p:nvGrpSpPr>
            <p:grpSpPr bwMode="auto">
              <a:xfrm rot="779215">
                <a:off x="5272464" y="4272241"/>
                <a:ext cx="3703936" cy="1466354"/>
                <a:chOff x="-666788" y="1440461"/>
                <a:chExt cx="10099831" cy="3998430"/>
              </a:xfrm>
            </p:grpSpPr>
            <p:grpSp>
              <p:nvGrpSpPr>
                <p:cNvPr id="3359" name="Gruppe 16"/>
                <p:cNvGrpSpPr>
                  <a:grpSpLocks/>
                </p:cNvGrpSpPr>
                <p:nvPr/>
              </p:nvGrpSpPr>
              <p:grpSpPr bwMode="auto">
                <a:xfrm>
                  <a:off x="-666788" y="1440461"/>
                  <a:ext cx="10099831" cy="3998430"/>
                  <a:chOff x="-2033984" y="-2884383"/>
                  <a:chExt cx="11257774" cy="5997643"/>
                </a:xfrm>
              </p:grpSpPr>
              <p:sp>
                <p:nvSpPr>
                  <p:cNvPr id="91" name="Freeform 6"/>
                  <p:cNvSpPr>
                    <a:spLocks/>
                  </p:cNvSpPr>
                  <p:nvPr/>
                </p:nvSpPr>
                <p:spPr bwMode="auto">
                  <a:xfrm>
                    <a:off x="-1981965" y="-2880233"/>
                    <a:ext cx="11205735" cy="5993429"/>
                  </a:xfrm>
                  <a:custGeom>
                    <a:avLst/>
                    <a:gdLst>
                      <a:gd name="T0" fmla="*/ 5438 w 7036"/>
                      <a:gd name="T1" fmla="*/ 1364 h 3760"/>
                      <a:gd name="T2" fmla="*/ 5644 w 7036"/>
                      <a:gd name="T3" fmla="*/ 1612 h 3760"/>
                      <a:gd name="T4" fmla="*/ 5850 w 7036"/>
                      <a:gd name="T5" fmla="*/ 1824 h 3760"/>
                      <a:gd name="T6" fmla="*/ 6160 w 7036"/>
                      <a:gd name="T7" fmla="*/ 2088 h 3760"/>
                      <a:gd name="T8" fmla="*/ 6584 w 7036"/>
                      <a:gd name="T9" fmla="*/ 2390 h 3760"/>
                      <a:gd name="T10" fmla="*/ 7036 w 7036"/>
                      <a:gd name="T11" fmla="*/ 2696 h 3760"/>
                      <a:gd name="T12" fmla="*/ 5784 w 7036"/>
                      <a:gd name="T13" fmla="*/ 3094 h 3760"/>
                      <a:gd name="T14" fmla="*/ 4056 w 7036"/>
                      <a:gd name="T15" fmla="*/ 3600 h 3760"/>
                      <a:gd name="T16" fmla="*/ 3546 w 7036"/>
                      <a:gd name="T17" fmla="*/ 3734 h 3760"/>
                      <a:gd name="T18" fmla="*/ 3242 w 7036"/>
                      <a:gd name="T19" fmla="*/ 3756 h 3760"/>
                      <a:gd name="T20" fmla="*/ 2782 w 7036"/>
                      <a:gd name="T21" fmla="*/ 3750 h 3760"/>
                      <a:gd name="T22" fmla="*/ 2492 w 7036"/>
                      <a:gd name="T23" fmla="*/ 3716 h 3760"/>
                      <a:gd name="T24" fmla="*/ 2210 w 7036"/>
                      <a:gd name="T25" fmla="*/ 3654 h 3760"/>
                      <a:gd name="T26" fmla="*/ 1960 w 7036"/>
                      <a:gd name="T27" fmla="*/ 3550 h 3760"/>
                      <a:gd name="T28" fmla="*/ 1832 w 7036"/>
                      <a:gd name="T29" fmla="*/ 3462 h 3760"/>
                      <a:gd name="T30" fmla="*/ 1750 w 7036"/>
                      <a:gd name="T31" fmla="*/ 3378 h 3760"/>
                      <a:gd name="T32" fmla="*/ 1638 w 7036"/>
                      <a:gd name="T33" fmla="*/ 3208 h 3760"/>
                      <a:gd name="T34" fmla="*/ 1508 w 7036"/>
                      <a:gd name="T35" fmla="*/ 2948 h 3760"/>
                      <a:gd name="T36" fmla="*/ 1434 w 7036"/>
                      <a:gd name="T37" fmla="*/ 2732 h 3760"/>
                      <a:gd name="T38" fmla="*/ 1382 w 7036"/>
                      <a:gd name="T39" fmla="*/ 2480 h 3760"/>
                      <a:gd name="T40" fmla="*/ 1344 w 7036"/>
                      <a:gd name="T41" fmla="*/ 2330 h 3760"/>
                      <a:gd name="T42" fmla="*/ 1284 w 7036"/>
                      <a:gd name="T43" fmla="*/ 2244 h 3760"/>
                      <a:gd name="T44" fmla="*/ 1176 w 7036"/>
                      <a:gd name="T45" fmla="*/ 2182 h 3760"/>
                      <a:gd name="T46" fmla="*/ 1048 w 7036"/>
                      <a:gd name="T47" fmla="*/ 2152 h 3760"/>
                      <a:gd name="T48" fmla="*/ 928 w 7036"/>
                      <a:gd name="T49" fmla="*/ 2168 h 3760"/>
                      <a:gd name="T50" fmla="*/ 784 w 7036"/>
                      <a:gd name="T51" fmla="*/ 2238 h 3760"/>
                      <a:gd name="T52" fmla="*/ 548 w 7036"/>
                      <a:gd name="T53" fmla="*/ 2406 h 3760"/>
                      <a:gd name="T54" fmla="*/ 206 w 7036"/>
                      <a:gd name="T55" fmla="*/ 2712 h 3760"/>
                      <a:gd name="T56" fmla="*/ 88 w 7036"/>
                      <a:gd name="T57" fmla="*/ 2816 h 3760"/>
                      <a:gd name="T58" fmla="*/ 34 w 7036"/>
                      <a:gd name="T59" fmla="*/ 2758 h 3760"/>
                      <a:gd name="T60" fmla="*/ 2 w 7036"/>
                      <a:gd name="T61" fmla="*/ 2676 h 3760"/>
                      <a:gd name="T62" fmla="*/ 10 w 7036"/>
                      <a:gd name="T63" fmla="*/ 2592 h 3760"/>
                      <a:gd name="T64" fmla="*/ 54 w 7036"/>
                      <a:gd name="T65" fmla="*/ 2506 h 3760"/>
                      <a:gd name="T66" fmla="*/ 150 w 7036"/>
                      <a:gd name="T67" fmla="*/ 2396 h 3760"/>
                      <a:gd name="T68" fmla="*/ 372 w 7036"/>
                      <a:gd name="T69" fmla="*/ 2222 h 3760"/>
                      <a:gd name="T70" fmla="*/ 648 w 7036"/>
                      <a:gd name="T71" fmla="*/ 2052 h 3760"/>
                      <a:gd name="T72" fmla="*/ 1240 w 7036"/>
                      <a:gd name="T73" fmla="*/ 1724 h 3760"/>
                      <a:gd name="T74" fmla="*/ 1396 w 7036"/>
                      <a:gd name="T75" fmla="*/ 1618 h 3760"/>
                      <a:gd name="T76" fmla="*/ 1506 w 7036"/>
                      <a:gd name="T77" fmla="*/ 1478 h 3760"/>
                      <a:gd name="T78" fmla="*/ 1662 w 7036"/>
                      <a:gd name="T79" fmla="*/ 1226 h 3760"/>
                      <a:gd name="T80" fmla="*/ 1912 w 7036"/>
                      <a:gd name="T81" fmla="*/ 776 h 3760"/>
                      <a:gd name="T82" fmla="*/ 2070 w 7036"/>
                      <a:gd name="T83" fmla="*/ 534 h 3760"/>
                      <a:gd name="T84" fmla="*/ 2264 w 7036"/>
                      <a:gd name="T85" fmla="*/ 322 h 3760"/>
                      <a:gd name="T86" fmla="*/ 2444 w 7036"/>
                      <a:gd name="T87" fmla="*/ 192 h 3760"/>
                      <a:gd name="T88" fmla="*/ 2584 w 7036"/>
                      <a:gd name="T89" fmla="*/ 120 h 3760"/>
                      <a:gd name="T90" fmla="*/ 2742 w 7036"/>
                      <a:gd name="T91" fmla="*/ 64 h 3760"/>
                      <a:gd name="T92" fmla="*/ 2922 w 7036"/>
                      <a:gd name="T93" fmla="*/ 24 h 3760"/>
                      <a:gd name="T94" fmla="*/ 3126 w 7036"/>
                      <a:gd name="T95" fmla="*/ 2 h 3760"/>
                      <a:gd name="T96" fmla="*/ 3288 w 7036"/>
                      <a:gd name="T97" fmla="*/ 2 h 3760"/>
                      <a:gd name="T98" fmla="*/ 3500 w 7036"/>
                      <a:gd name="T99" fmla="*/ 26 h 3760"/>
                      <a:gd name="T100" fmla="*/ 3706 w 7036"/>
                      <a:gd name="T101" fmla="*/ 74 h 3760"/>
                      <a:gd name="T102" fmla="*/ 3956 w 7036"/>
                      <a:gd name="T103" fmla="*/ 166 h 3760"/>
                      <a:gd name="T104" fmla="*/ 4330 w 7036"/>
                      <a:gd name="T105" fmla="*/ 360 h 3760"/>
                      <a:gd name="T106" fmla="*/ 4660 w 7036"/>
                      <a:gd name="T107" fmla="*/ 588 h 3760"/>
                      <a:gd name="T108" fmla="*/ 4938 w 7036"/>
                      <a:gd name="T109" fmla="*/ 820 h 3760"/>
                      <a:gd name="T110" fmla="*/ 5228 w 7036"/>
                      <a:gd name="T111" fmla="*/ 1104 h 376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036"/>
                      <a:gd name="T169" fmla="*/ 0 h 3760"/>
                      <a:gd name="T170" fmla="*/ 7036 w 7036"/>
                      <a:gd name="T171" fmla="*/ 3760 h 376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036" h="3760">
                        <a:moveTo>
                          <a:pt x="5332" y="1222"/>
                        </a:moveTo>
                        <a:lnTo>
                          <a:pt x="5332" y="1222"/>
                        </a:lnTo>
                        <a:lnTo>
                          <a:pt x="5386" y="1294"/>
                        </a:lnTo>
                        <a:lnTo>
                          <a:pt x="5438" y="1364"/>
                        </a:lnTo>
                        <a:lnTo>
                          <a:pt x="5490" y="1430"/>
                        </a:lnTo>
                        <a:lnTo>
                          <a:pt x="5542" y="1494"/>
                        </a:lnTo>
                        <a:lnTo>
                          <a:pt x="5594" y="1554"/>
                        </a:lnTo>
                        <a:lnTo>
                          <a:pt x="5644" y="1612"/>
                        </a:lnTo>
                        <a:lnTo>
                          <a:pt x="5696" y="1668"/>
                        </a:lnTo>
                        <a:lnTo>
                          <a:pt x="5748" y="1722"/>
                        </a:lnTo>
                        <a:lnTo>
                          <a:pt x="5800" y="1774"/>
                        </a:lnTo>
                        <a:lnTo>
                          <a:pt x="5850" y="1824"/>
                        </a:lnTo>
                        <a:lnTo>
                          <a:pt x="5902" y="1872"/>
                        </a:lnTo>
                        <a:lnTo>
                          <a:pt x="5954" y="1918"/>
                        </a:lnTo>
                        <a:lnTo>
                          <a:pt x="6056" y="2006"/>
                        </a:lnTo>
                        <a:lnTo>
                          <a:pt x="6160" y="2088"/>
                        </a:lnTo>
                        <a:lnTo>
                          <a:pt x="6264" y="2168"/>
                        </a:lnTo>
                        <a:lnTo>
                          <a:pt x="6370" y="2242"/>
                        </a:lnTo>
                        <a:lnTo>
                          <a:pt x="6476" y="2316"/>
                        </a:lnTo>
                        <a:lnTo>
                          <a:pt x="6584" y="2390"/>
                        </a:lnTo>
                        <a:lnTo>
                          <a:pt x="6806" y="2538"/>
                        </a:lnTo>
                        <a:lnTo>
                          <a:pt x="6920" y="2616"/>
                        </a:lnTo>
                        <a:lnTo>
                          <a:pt x="7036" y="2696"/>
                        </a:lnTo>
                        <a:lnTo>
                          <a:pt x="6882" y="2748"/>
                        </a:lnTo>
                        <a:lnTo>
                          <a:pt x="6700" y="2808"/>
                        </a:lnTo>
                        <a:lnTo>
                          <a:pt x="6272" y="2944"/>
                        </a:lnTo>
                        <a:lnTo>
                          <a:pt x="5784" y="3094"/>
                        </a:lnTo>
                        <a:lnTo>
                          <a:pt x="5266" y="3250"/>
                        </a:lnTo>
                        <a:lnTo>
                          <a:pt x="4752" y="3400"/>
                        </a:lnTo>
                        <a:lnTo>
                          <a:pt x="4272" y="3538"/>
                        </a:lnTo>
                        <a:lnTo>
                          <a:pt x="4056" y="3600"/>
                        </a:lnTo>
                        <a:lnTo>
                          <a:pt x="3860" y="3652"/>
                        </a:lnTo>
                        <a:lnTo>
                          <a:pt x="3690" y="3698"/>
                        </a:lnTo>
                        <a:lnTo>
                          <a:pt x="3546" y="3734"/>
                        </a:lnTo>
                        <a:lnTo>
                          <a:pt x="3502" y="3740"/>
                        </a:lnTo>
                        <a:lnTo>
                          <a:pt x="3434" y="3746"/>
                        </a:lnTo>
                        <a:lnTo>
                          <a:pt x="3346" y="3752"/>
                        </a:lnTo>
                        <a:lnTo>
                          <a:pt x="3242" y="3756"/>
                        </a:lnTo>
                        <a:lnTo>
                          <a:pt x="3122" y="3760"/>
                        </a:lnTo>
                        <a:lnTo>
                          <a:pt x="2992" y="3758"/>
                        </a:lnTo>
                        <a:lnTo>
                          <a:pt x="2854" y="3754"/>
                        </a:lnTo>
                        <a:lnTo>
                          <a:pt x="2782" y="3750"/>
                        </a:lnTo>
                        <a:lnTo>
                          <a:pt x="2710" y="3744"/>
                        </a:lnTo>
                        <a:lnTo>
                          <a:pt x="2638" y="3736"/>
                        </a:lnTo>
                        <a:lnTo>
                          <a:pt x="2564" y="3728"/>
                        </a:lnTo>
                        <a:lnTo>
                          <a:pt x="2492" y="3716"/>
                        </a:lnTo>
                        <a:lnTo>
                          <a:pt x="2420" y="3704"/>
                        </a:lnTo>
                        <a:lnTo>
                          <a:pt x="2348" y="3690"/>
                        </a:lnTo>
                        <a:lnTo>
                          <a:pt x="2278" y="3672"/>
                        </a:lnTo>
                        <a:lnTo>
                          <a:pt x="2210" y="3654"/>
                        </a:lnTo>
                        <a:lnTo>
                          <a:pt x="2144" y="3632"/>
                        </a:lnTo>
                        <a:lnTo>
                          <a:pt x="2080" y="3608"/>
                        </a:lnTo>
                        <a:lnTo>
                          <a:pt x="2018" y="3580"/>
                        </a:lnTo>
                        <a:lnTo>
                          <a:pt x="1960" y="3550"/>
                        </a:lnTo>
                        <a:lnTo>
                          <a:pt x="1906" y="3518"/>
                        </a:lnTo>
                        <a:lnTo>
                          <a:pt x="1880" y="3500"/>
                        </a:lnTo>
                        <a:lnTo>
                          <a:pt x="1856" y="3482"/>
                        </a:lnTo>
                        <a:lnTo>
                          <a:pt x="1832" y="3462"/>
                        </a:lnTo>
                        <a:lnTo>
                          <a:pt x="1810" y="3444"/>
                        </a:lnTo>
                        <a:lnTo>
                          <a:pt x="1788" y="3422"/>
                        </a:lnTo>
                        <a:lnTo>
                          <a:pt x="1768" y="3400"/>
                        </a:lnTo>
                        <a:lnTo>
                          <a:pt x="1750" y="3378"/>
                        </a:lnTo>
                        <a:lnTo>
                          <a:pt x="1732" y="3356"/>
                        </a:lnTo>
                        <a:lnTo>
                          <a:pt x="1682" y="3280"/>
                        </a:lnTo>
                        <a:lnTo>
                          <a:pt x="1638" y="3208"/>
                        </a:lnTo>
                        <a:lnTo>
                          <a:pt x="1600" y="3138"/>
                        </a:lnTo>
                        <a:lnTo>
                          <a:pt x="1564" y="3072"/>
                        </a:lnTo>
                        <a:lnTo>
                          <a:pt x="1534" y="3010"/>
                        </a:lnTo>
                        <a:lnTo>
                          <a:pt x="1508" y="2948"/>
                        </a:lnTo>
                        <a:lnTo>
                          <a:pt x="1484" y="2890"/>
                        </a:lnTo>
                        <a:lnTo>
                          <a:pt x="1466" y="2836"/>
                        </a:lnTo>
                        <a:lnTo>
                          <a:pt x="1448" y="2782"/>
                        </a:lnTo>
                        <a:lnTo>
                          <a:pt x="1434" y="2732"/>
                        </a:lnTo>
                        <a:lnTo>
                          <a:pt x="1422" y="2684"/>
                        </a:lnTo>
                        <a:lnTo>
                          <a:pt x="1412" y="2640"/>
                        </a:lnTo>
                        <a:lnTo>
                          <a:pt x="1396" y="2556"/>
                        </a:lnTo>
                        <a:lnTo>
                          <a:pt x="1382" y="2480"/>
                        </a:lnTo>
                        <a:lnTo>
                          <a:pt x="1368" y="2414"/>
                        </a:lnTo>
                        <a:lnTo>
                          <a:pt x="1362" y="2384"/>
                        </a:lnTo>
                        <a:lnTo>
                          <a:pt x="1354" y="2356"/>
                        </a:lnTo>
                        <a:lnTo>
                          <a:pt x="1344" y="2330"/>
                        </a:lnTo>
                        <a:lnTo>
                          <a:pt x="1332" y="2306"/>
                        </a:lnTo>
                        <a:lnTo>
                          <a:pt x="1318" y="2284"/>
                        </a:lnTo>
                        <a:lnTo>
                          <a:pt x="1302" y="2264"/>
                        </a:lnTo>
                        <a:lnTo>
                          <a:pt x="1284" y="2244"/>
                        </a:lnTo>
                        <a:lnTo>
                          <a:pt x="1262" y="2226"/>
                        </a:lnTo>
                        <a:lnTo>
                          <a:pt x="1238" y="2210"/>
                        </a:lnTo>
                        <a:lnTo>
                          <a:pt x="1208" y="2196"/>
                        </a:lnTo>
                        <a:lnTo>
                          <a:pt x="1176" y="2182"/>
                        </a:lnTo>
                        <a:lnTo>
                          <a:pt x="1138" y="2172"/>
                        </a:lnTo>
                        <a:lnTo>
                          <a:pt x="1096" y="2160"/>
                        </a:lnTo>
                        <a:lnTo>
                          <a:pt x="1048" y="2152"/>
                        </a:lnTo>
                        <a:lnTo>
                          <a:pt x="1020" y="2150"/>
                        </a:lnTo>
                        <a:lnTo>
                          <a:pt x="992" y="2152"/>
                        </a:lnTo>
                        <a:lnTo>
                          <a:pt x="962" y="2158"/>
                        </a:lnTo>
                        <a:lnTo>
                          <a:pt x="928" y="2168"/>
                        </a:lnTo>
                        <a:lnTo>
                          <a:pt x="894" y="2180"/>
                        </a:lnTo>
                        <a:lnTo>
                          <a:pt x="858" y="2198"/>
                        </a:lnTo>
                        <a:lnTo>
                          <a:pt x="822" y="2216"/>
                        </a:lnTo>
                        <a:lnTo>
                          <a:pt x="784" y="2238"/>
                        </a:lnTo>
                        <a:lnTo>
                          <a:pt x="746" y="2262"/>
                        </a:lnTo>
                        <a:lnTo>
                          <a:pt x="706" y="2288"/>
                        </a:lnTo>
                        <a:lnTo>
                          <a:pt x="628" y="2346"/>
                        </a:lnTo>
                        <a:lnTo>
                          <a:pt x="548" y="2406"/>
                        </a:lnTo>
                        <a:lnTo>
                          <a:pt x="470" y="2472"/>
                        </a:lnTo>
                        <a:lnTo>
                          <a:pt x="396" y="2536"/>
                        </a:lnTo>
                        <a:lnTo>
                          <a:pt x="326" y="2600"/>
                        </a:lnTo>
                        <a:lnTo>
                          <a:pt x="206" y="2712"/>
                        </a:lnTo>
                        <a:lnTo>
                          <a:pt x="122" y="2790"/>
                        </a:lnTo>
                        <a:lnTo>
                          <a:pt x="98" y="2810"/>
                        </a:lnTo>
                        <a:lnTo>
                          <a:pt x="90" y="2816"/>
                        </a:lnTo>
                        <a:lnTo>
                          <a:pt x="88" y="2816"/>
                        </a:lnTo>
                        <a:lnTo>
                          <a:pt x="66" y="2798"/>
                        </a:lnTo>
                        <a:lnTo>
                          <a:pt x="50" y="2778"/>
                        </a:lnTo>
                        <a:lnTo>
                          <a:pt x="34" y="2758"/>
                        </a:lnTo>
                        <a:lnTo>
                          <a:pt x="22" y="2738"/>
                        </a:lnTo>
                        <a:lnTo>
                          <a:pt x="14" y="2718"/>
                        </a:lnTo>
                        <a:lnTo>
                          <a:pt x="6" y="2698"/>
                        </a:lnTo>
                        <a:lnTo>
                          <a:pt x="2" y="2676"/>
                        </a:lnTo>
                        <a:lnTo>
                          <a:pt x="0" y="2656"/>
                        </a:lnTo>
                        <a:lnTo>
                          <a:pt x="2" y="2634"/>
                        </a:lnTo>
                        <a:lnTo>
                          <a:pt x="6" y="2614"/>
                        </a:lnTo>
                        <a:lnTo>
                          <a:pt x="10" y="2592"/>
                        </a:lnTo>
                        <a:lnTo>
                          <a:pt x="18" y="2570"/>
                        </a:lnTo>
                        <a:lnTo>
                          <a:pt x="28" y="2550"/>
                        </a:lnTo>
                        <a:lnTo>
                          <a:pt x="40" y="2528"/>
                        </a:lnTo>
                        <a:lnTo>
                          <a:pt x="54" y="2506"/>
                        </a:lnTo>
                        <a:lnTo>
                          <a:pt x="70" y="2484"/>
                        </a:lnTo>
                        <a:lnTo>
                          <a:pt x="86" y="2462"/>
                        </a:lnTo>
                        <a:lnTo>
                          <a:pt x="106" y="2440"/>
                        </a:lnTo>
                        <a:lnTo>
                          <a:pt x="150" y="2396"/>
                        </a:lnTo>
                        <a:lnTo>
                          <a:pt x="198" y="2352"/>
                        </a:lnTo>
                        <a:lnTo>
                          <a:pt x="252" y="2308"/>
                        </a:lnTo>
                        <a:lnTo>
                          <a:pt x="310" y="2264"/>
                        </a:lnTo>
                        <a:lnTo>
                          <a:pt x="372" y="2222"/>
                        </a:lnTo>
                        <a:lnTo>
                          <a:pt x="438" y="2178"/>
                        </a:lnTo>
                        <a:lnTo>
                          <a:pt x="506" y="2136"/>
                        </a:lnTo>
                        <a:lnTo>
                          <a:pt x="576" y="2092"/>
                        </a:lnTo>
                        <a:lnTo>
                          <a:pt x="648" y="2052"/>
                        </a:lnTo>
                        <a:lnTo>
                          <a:pt x="792" y="1970"/>
                        </a:lnTo>
                        <a:lnTo>
                          <a:pt x="1066" y="1822"/>
                        </a:lnTo>
                        <a:lnTo>
                          <a:pt x="1186" y="1754"/>
                        </a:lnTo>
                        <a:lnTo>
                          <a:pt x="1240" y="1724"/>
                        </a:lnTo>
                        <a:lnTo>
                          <a:pt x="1288" y="1694"/>
                        </a:lnTo>
                        <a:lnTo>
                          <a:pt x="1332" y="1666"/>
                        </a:lnTo>
                        <a:lnTo>
                          <a:pt x="1368" y="1640"/>
                        </a:lnTo>
                        <a:lnTo>
                          <a:pt x="1396" y="1618"/>
                        </a:lnTo>
                        <a:lnTo>
                          <a:pt x="1418" y="1596"/>
                        </a:lnTo>
                        <a:lnTo>
                          <a:pt x="1462" y="1538"/>
                        </a:lnTo>
                        <a:lnTo>
                          <a:pt x="1506" y="1478"/>
                        </a:lnTo>
                        <a:lnTo>
                          <a:pt x="1548" y="1416"/>
                        </a:lnTo>
                        <a:lnTo>
                          <a:pt x="1588" y="1354"/>
                        </a:lnTo>
                        <a:lnTo>
                          <a:pt x="1626" y="1290"/>
                        </a:lnTo>
                        <a:lnTo>
                          <a:pt x="1662" y="1226"/>
                        </a:lnTo>
                        <a:lnTo>
                          <a:pt x="1734" y="1096"/>
                        </a:lnTo>
                        <a:lnTo>
                          <a:pt x="1804" y="966"/>
                        </a:lnTo>
                        <a:lnTo>
                          <a:pt x="1874" y="838"/>
                        </a:lnTo>
                        <a:lnTo>
                          <a:pt x="1912" y="776"/>
                        </a:lnTo>
                        <a:lnTo>
                          <a:pt x="1948" y="714"/>
                        </a:lnTo>
                        <a:lnTo>
                          <a:pt x="1988" y="652"/>
                        </a:lnTo>
                        <a:lnTo>
                          <a:pt x="2028" y="592"/>
                        </a:lnTo>
                        <a:lnTo>
                          <a:pt x="2070" y="534"/>
                        </a:lnTo>
                        <a:lnTo>
                          <a:pt x="2116" y="478"/>
                        </a:lnTo>
                        <a:lnTo>
                          <a:pt x="2162" y="424"/>
                        </a:lnTo>
                        <a:lnTo>
                          <a:pt x="2212" y="372"/>
                        </a:lnTo>
                        <a:lnTo>
                          <a:pt x="2264" y="322"/>
                        </a:lnTo>
                        <a:lnTo>
                          <a:pt x="2320" y="276"/>
                        </a:lnTo>
                        <a:lnTo>
                          <a:pt x="2380" y="232"/>
                        </a:lnTo>
                        <a:lnTo>
                          <a:pt x="2412" y="212"/>
                        </a:lnTo>
                        <a:lnTo>
                          <a:pt x="2444" y="192"/>
                        </a:lnTo>
                        <a:lnTo>
                          <a:pt x="2478" y="172"/>
                        </a:lnTo>
                        <a:lnTo>
                          <a:pt x="2512" y="154"/>
                        </a:lnTo>
                        <a:lnTo>
                          <a:pt x="2548" y="136"/>
                        </a:lnTo>
                        <a:lnTo>
                          <a:pt x="2584" y="120"/>
                        </a:lnTo>
                        <a:lnTo>
                          <a:pt x="2622" y="104"/>
                        </a:lnTo>
                        <a:lnTo>
                          <a:pt x="2662" y="90"/>
                        </a:lnTo>
                        <a:lnTo>
                          <a:pt x="2702" y="76"/>
                        </a:lnTo>
                        <a:lnTo>
                          <a:pt x="2742" y="64"/>
                        </a:lnTo>
                        <a:lnTo>
                          <a:pt x="2786" y="52"/>
                        </a:lnTo>
                        <a:lnTo>
                          <a:pt x="2830" y="42"/>
                        </a:lnTo>
                        <a:lnTo>
                          <a:pt x="2876" y="32"/>
                        </a:lnTo>
                        <a:lnTo>
                          <a:pt x="2922" y="24"/>
                        </a:lnTo>
                        <a:lnTo>
                          <a:pt x="2972" y="16"/>
                        </a:lnTo>
                        <a:lnTo>
                          <a:pt x="3022" y="10"/>
                        </a:lnTo>
                        <a:lnTo>
                          <a:pt x="3074" y="6"/>
                        </a:lnTo>
                        <a:lnTo>
                          <a:pt x="3126" y="2"/>
                        </a:lnTo>
                        <a:lnTo>
                          <a:pt x="3180" y="0"/>
                        </a:lnTo>
                        <a:lnTo>
                          <a:pt x="3234" y="0"/>
                        </a:lnTo>
                        <a:lnTo>
                          <a:pt x="3288" y="2"/>
                        </a:lnTo>
                        <a:lnTo>
                          <a:pt x="3340" y="4"/>
                        </a:lnTo>
                        <a:lnTo>
                          <a:pt x="3394" y="10"/>
                        </a:lnTo>
                        <a:lnTo>
                          <a:pt x="3446" y="18"/>
                        </a:lnTo>
                        <a:lnTo>
                          <a:pt x="3500" y="26"/>
                        </a:lnTo>
                        <a:lnTo>
                          <a:pt x="3552" y="36"/>
                        </a:lnTo>
                        <a:lnTo>
                          <a:pt x="3604" y="48"/>
                        </a:lnTo>
                        <a:lnTo>
                          <a:pt x="3654" y="60"/>
                        </a:lnTo>
                        <a:lnTo>
                          <a:pt x="3706" y="74"/>
                        </a:lnTo>
                        <a:lnTo>
                          <a:pt x="3758" y="90"/>
                        </a:lnTo>
                        <a:lnTo>
                          <a:pt x="3808" y="108"/>
                        </a:lnTo>
                        <a:lnTo>
                          <a:pt x="3858" y="126"/>
                        </a:lnTo>
                        <a:lnTo>
                          <a:pt x="3956" y="166"/>
                        </a:lnTo>
                        <a:lnTo>
                          <a:pt x="4054" y="210"/>
                        </a:lnTo>
                        <a:lnTo>
                          <a:pt x="4148" y="256"/>
                        </a:lnTo>
                        <a:lnTo>
                          <a:pt x="4240" y="306"/>
                        </a:lnTo>
                        <a:lnTo>
                          <a:pt x="4330" y="360"/>
                        </a:lnTo>
                        <a:lnTo>
                          <a:pt x="4418" y="414"/>
                        </a:lnTo>
                        <a:lnTo>
                          <a:pt x="4502" y="472"/>
                        </a:lnTo>
                        <a:lnTo>
                          <a:pt x="4582" y="530"/>
                        </a:lnTo>
                        <a:lnTo>
                          <a:pt x="4660" y="588"/>
                        </a:lnTo>
                        <a:lnTo>
                          <a:pt x="4736" y="646"/>
                        </a:lnTo>
                        <a:lnTo>
                          <a:pt x="4806" y="706"/>
                        </a:lnTo>
                        <a:lnTo>
                          <a:pt x="4874" y="762"/>
                        </a:lnTo>
                        <a:lnTo>
                          <a:pt x="4938" y="820"/>
                        </a:lnTo>
                        <a:lnTo>
                          <a:pt x="4998" y="874"/>
                        </a:lnTo>
                        <a:lnTo>
                          <a:pt x="5052" y="926"/>
                        </a:lnTo>
                        <a:lnTo>
                          <a:pt x="5150" y="1022"/>
                        </a:lnTo>
                        <a:lnTo>
                          <a:pt x="5228" y="1104"/>
                        </a:lnTo>
                        <a:lnTo>
                          <a:pt x="5284" y="1166"/>
                        </a:lnTo>
                        <a:lnTo>
                          <a:pt x="5332" y="1222"/>
                        </a:lnTo>
                        <a:close/>
                      </a:path>
                    </a:pathLst>
                  </a:custGeom>
                  <a:gradFill rotWithShape="1">
                    <a:gsLst>
                      <a:gs pos="0">
                        <a:srgbClr val="006D2A"/>
                      </a:gs>
                      <a:gs pos="50000">
                        <a:srgbClr val="009E41"/>
                      </a:gs>
                      <a:gs pos="100000">
                        <a:srgbClr val="00BD4F"/>
                      </a:gs>
                    </a:gsLst>
                    <a:lin ang="13500000" scaled="1"/>
                  </a:grad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ndParaRPr>
                  </a:p>
                </p:txBody>
              </p:sp>
              <p:sp>
                <p:nvSpPr>
                  <p:cNvPr id="92" name="Freeform 7"/>
                  <p:cNvSpPr>
                    <a:spLocks/>
                  </p:cNvSpPr>
                  <p:nvPr/>
                </p:nvSpPr>
                <p:spPr bwMode="auto">
                  <a:xfrm>
                    <a:off x="-2034007" y="-2884437"/>
                    <a:ext cx="11205735" cy="4441576"/>
                  </a:xfrm>
                  <a:custGeom>
                    <a:avLst/>
                    <a:gdLst>
                      <a:gd name="T0" fmla="*/ 2382 w 7034"/>
                      <a:gd name="T1" fmla="*/ 1714 h 2792"/>
                      <a:gd name="T2" fmla="*/ 2542 w 7034"/>
                      <a:gd name="T3" fmla="*/ 1702 h 2792"/>
                      <a:gd name="T4" fmla="*/ 2734 w 7034"/>
                      <a:gd name="T5" fmla="*/ 1704 h 2792"/>
                      <a:gd name="T6" fmla="*/ 2954 w 7034"/>
                      <a:gd name="T7" fmla="*/ 1722 h 2792"/>
                      <a:gd name="T8" fmla="*/ 3462 w 7034"/>
                      <a:gd name="T9" fmla="*/ 1794 h 2792"/>
                      <a:gd name="T10" fmla="*/ 4032 w 7034"/>
                      <a:gd name="T11" fmla="*/ 1902 h 2792"/>
                      <a:gd name="T12" fmla="*/ 4632 w 7034"/>
                      <a:gd name="T13" fmla="*/ 2038 h 2792"/>
                      <a:gd name="T14" fmla="*/ 5422 w 7034"/>
                      <a:gd name="T15" fmla="*/ 2238 h 2792"/>
                      <a:gd name="T16" fmla="*/ 6430 w 7034"/>
                      <a:gd name="T17" fmla="*/ 2518 h 2792"/>
                      <a:gd name="T18" fmla="*/ 7034 w 7034"/>
                      <a:gd name="T19" fmla="*/ 2696 h 2792"/>
                      <a:gd name="T20" fmla="*/ 6804 w 7034"/>
                      <a:gd name="T21" fmla="*/ 2538 h 2792"/>
                      <a:gd name="T22" fmla="*/ 6368 w 7034"/>
                      <a:gd name="T23" fmla="*/ 2242 h 2792"/>
                      <a:gd name="T24" fmla="*/ 6054 w 7034"/>
                      <a:gd name="T25" fmla="*/ 2006 h 2792"/>
                      <a:gd name="T26" fmla="*/ 5848 w 7034"/>
                      <a:gd name="T27" fmla="*/ 1824 h 2792"/>
                      <a:gd name="T28" fmla="*/ 5694 w 7034"/>
                      <a:gd name="T29" fmla="*/ 1668 h 2792"/>
                      <a:gd name="T30" fmla="*/ 5540 w 7034"/>
                      <a:gd name="T31" fmla="*/ 1494 h 2792"/>
                      <a:gd name="T32" fmla="*/ 5384 w 7034"/>
                      <a:gd name="T33" fmla="*/ 1294 h 2792"/>
                      <a:gd name="T34" fmla="*/ 5282 w 7034"/>
                      <a:gd name="T35" fmla="*/ 1166 h 2792"/>
                      <a:gd name="T36" fmla="*/ 5050 w 7034"/>
                      <a:gd name="T37" fmla="*/ 926 h 2792"/>
                      <a:gd name="T38" fmla="*/ 4872 w 7034"/>
                      <a:gd name="T39" fmla="*/ 762 h 2792"/>
                      <a:gd name="T40" fmla="*/ 4658 w 7034"/>
                      <a:gd name="T41" fmla="*/ 588 h 2792"/>
                      <a:gd name="T42" fmla="*/ 4416 w 7034"/>
                      <a:gd name="T43" fmla="*/ 414 h 2792"/>
                      <a:gd name="T44" fmla="*/ 4146 w 7034"/>
                      <a:gd name="T45" fmla="*/ 256 h 2792"/>
                      <a:gd name="T46" fmla="*/ 3856 w 7034"/>
                      <a:gd name="T47" fmla="*/ 126 h 2792"/>
                      <a:gd name="T48" fmla="*/ 3704 w 7034"/>
                      <a:gd name="T49" fmla="*/ 74 h 2792"/>
                      <a:gd name="T50" fmla="*/ 3550 w 7034"/>
                      <a:gd name="T51" fmla="*/ 36 h 2792"/>
                      <a:gd name="T52" fmla="*/ 3392 w 7034"/>
                      <a:gd name="T53" fmla="*/ 10 h 2792"/>
                      <a:gd name="T54" fmla="*/ 3232 w 7034"/>
                      <a:gd name="T55" fmla="*/ 0 h 2792"/>
                      <a:gd name="T56" fmla="*/ 3124 w 7034"/>
                      <a:gd name="T57" fmla="*/ 2 h 2792"/>
                      <a:gd name="T58" fmla="*/ 2970 w 7034"/>
                      <a:gd name="T59" fmla="*/ 16 h 2792"/>
                      <a:gd name="T60" fmla="*/ 2828 w 7034"/>
                      <a:gd name="T61" fmla="*/ 42 h 2792"/>
                      <a:gd name="T62" fmla="*/ 2700 w 7034"/>
                      <a:gd name="T63" fmla="*/ 76 h 2792"/>
                      <a:gd name="T64" fmla="*/ 2582 w 7034"/>
                      <a:gd name="T65" fmla="*/ 120 h 2792"/>
                      <a:gd name="T66" fmla="*/ 2476 w 7034"/>
                      <a:gd name="T67" fmla="*/ 172 h 2792"/>
                      <a:gd name="T68" fmla="*/ 2378 w 7034"/>
                      <a:gd name="T69" fmla="*/ 232 h 2792"/>
                      <a:gd name="T70" fmla="*/ 2210 w 7034"/>
                      <a:gd name="T71" fmla="*/ 372 h 2792"/>
                      <a:gd name="T72" fmla="*/ 2068 w 7034"/>
                      <a:gd name="T73" fmla="*/ 534 h 2792"/>
                      <a:gd name="T74" fmla="*/ 1946 w 7034"/>
                      <a:gd name="T75" fmla="*/ 714 h 2792"/>
                      <a:gd name="T76" fmla="*/ 1802 w 7034"/>
                      <a:gd name="T77" fmla="*/ 966 h 2792"/>
                      <a:gd name="T78" fmla="*/ 1624 w 7034"/>
                      <a:gd name="T79" fmla="*/ 1290 h 2792"/>
                      <a:gd name="T80" fmla="*/ 1504 w 7034"/>
                      <a:gd name="T81" fmla="*/ 1478 h 2792"/>
                      <a:gd name="T82" fmla="*/ 1416 w 7034"/>
                      <a:gd name="T83" fmla="*/ 1596 h 2792"/>
                      <a:gd name="T84" fmla="*/ 1332 w 7034"/>
                      <a:gd name="T85" fmla="*/ 1666 h 2792"/>
                      <a:gd name="T86" fmla="*/ 1192 w 7034"/>
                      <a:gd name="T87" fmla="*/ 1752 h 2792"/>
                      <a:gd name="T88" fmla="*/ 666 w 7034"/>
                      <a:gd name="T89" fmla="*/ 2040 h 2792"/>
                      <a:gd name="T90" fmla="*/ 394 w 7034"/>
                      <a:gd name="T91" fmla="*/ 2206 h 2792"/>
                      <a:gd name="T92" fmla="*/ 218 w 7034"/>
                      <a:gd name="T93" fmla="*/ 2334 h 2792"/>
                      <a:gd name="T94" fmla="*/ 84 w 7034"/>
                      <a:gd name="T95" fmla="*/ 2464 h 2792"/>
                      <a:gd name="T96" fmla="*/ 38 w 7034"/>
                      <a:gd name="T97" fmla="*/ 2528 h 2792"/>
                      <a:gd name="T98" fmla="*/ 10 w 7034"/>
                      <a:gd name="T99" fmla="*/ 2592 h 2792"/>
                      <a:gd name="T100" fmla="*/ 0 w 7034"/>
                      <a:gd name="T101" fmla="*/ 2654 h 2792"/>
                      <a:gd name="T102" fmla="*/ 10 w 7034"/>
                      <a:gd name="T103" fmla="*/ 2714 h 2792"/>
                      <a:gd name="T104" fmla="*/ 44 w 7034"/>
                      <a:gd name="T105" fmla="*/ 2774 h 2792"/>
                      <a:gd name="T106" fmla="*/ 80 w 7034"/>
                      <a:gd name="T107" fmla="*/ 2746 h 2792"/>
                      <a:gd name="T108" fmla="*/ 242 w 7034"/>
                      <a:gd name="T109" fmla="*/ 2532 h 2792"/>
                      <a:gd name="T110" fmla="*/ 416 w 7034"/>
                      <a:gd name="T111" fmla="*/ 2358 h 2792"/>
                      <a:gd name="T112" fmla="*/ 600 w 7034"/>
                      <a:gd name="T113" fmla="*/ 2218 h 2792"/>
                      <a:gd name="T114" fmla="*/ 796 w 7034"/>
                      <a:gd name="T115" fmla="*/ 2106 h 2792"/>
                      <a:gd name="T116" fmla="*/ 1000 w 7034"/>
                      <a:gd name="T117" fmla="*/ 2018 h 2792"/>
                      <a:gd name="T118" fmla="*/ 1214 w 7034"/>
                      <a:gd name="T119" fmla="*/ 1950 h 2792"/>
                      <a:gd name="T120" fmla="*/ 1438 w 7034"/>
                      <a:gd name="T121" fmla="*/ 1894 h 2792"/>
                      <a:gd name="T122" fmla="*/ 1832 w 7034"/>
                      <a:gd name="T123" fmla="*/ 1816 h 2792"/>
                      <a:gd name="T124" fmla="*/ 2336 w 7034"/>
                      <a:gd name="T125" fmla="*/ 1722 h 27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7034"/>
                      <a:gd name="T190" fmla="*/ 0 h 2792"/>
                      <a:gd name="T191" fmla="*/ 7034 w 7034"/>
                      <a:gd name="T192" fmla="*/ 2792 h 279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7034" h="2792">
                        <a:moveTo>
                          <a:pt x="2336" y="1722"/>
                        </a:moveTo>
                        <a:lnTo>
                          <a:pt x="2336" y="1722"/>
                        </a:lnTo>
                        <a:lnTo>
                          <a:pt x="2382" y="1714"/>
                        </a:lnTo>
                        <a:lnTo>
                          <a:pt x="2432" y="1708"/>
                        </a:lnTo>
                        <a:lnTo>
                          <a:pt x="2484" y="1704"/>
                        </a:lnTo>
                        <a:lnTo>
                          <a:pt x="2542" y="1702"/>
                        </a:lnTo>
                        <a:lnTo>
                          <a:pt x="2602" y="1700"/>
                        </a:lnTo>
                        <a:lnTo>
                          <a:pt x="2666" y="1702"/>
                        </a:lnTo>
                        <a:lnTo>
                          <a:pt x="2734" y="1704"/>
                        </a:lnTo>
                        <a:lnTo>
                          <a:pt x="2804" y="1708"/>
                        </a:lnTo>
                        <a:lnTo>
                          <a:pt x="2878" y="1714"/>
                        </a:lnTo>
                        <a:lnTo>
                          <a:pt x="2954" y="1722"/>
                        </a:lnTo>
                        <a:lnTo>
                          <a:pt x="3114" y="1740"/>
                        </a:lnTo>
                        <a:lnTo>
                          <a:pt x="3284" y="1764"/>
                        </a:lnTo>
                        <a:lnTo>
                          <a:pt x="3462" y="1794"/>
                        </a:lnTo>
                        <a:lnTo>
                          <a:pt x="3646" y="1826"/>
                        </a:lnTo>
                        <a:lnTo>
                          <a:pt x="3836" y="1862"/>
                        </a:lnTo>
                        <a:lnTo>
                          <a:pt x="4032" y="1902"/>
                        </a:lnTo>
                        <a:lnTo>
                          <a:pt x="4230" y="1946"/>
                        </a:lnTo>
                        <a:lnTo>
                          <a:pt x="4430" y="1992"/>
                        </a:lnTo>
                        <a:lnTo>
                          <a:pt x="4632" y="2038"/>
                        </a:lnTo>
                        <a:lnTo>
                          <a:pt x="4834" y="2088"/>
                        </a:lnTo>
                        <a:lnTo>
                          <a:pt x="5032" y="2138"/>
                        </a:lnTo>
                        <a:lnTo>
                          <a:pt x="5422" y="2238"/>
                        </a:lnTo>
                        <a:lnTo>
                          <a:pt x="5792" y="2338"/>
                        </a:lnTo>
                        <a:lnTo>
                          <a:pt x="6132" y="2432"/>
                        </a:lnTo>
                        <a:lnTo>
                          <a:pt x="6430" y="2518"/>
                        </a:lnTo>
                        <a:lnTo>
                          <a:pt x="6680" y="2590"/>
                        </a:lnTo>
                        <a:lnTo>
                          <a:pt x="6870" y="2648"/>
                        </a:lnTo>
                        <a:lnTo>
                          <a:pt x="7034" y="2696"/>
                        </a:lnTo>
                        <a:lnTo>
                          <a:pt x="6918" y="2616"/>
                        </a:lnTo>
                        <a:lnTo>
                          <a:pt x="6804" y="2538"/>
                        </a:lnTo>
                        <a:lnTo>
                          <a:pt x="6582" y="2390"/>
                        </a:lnTo>
                        <a:lnTo>
                          <a:pt x="6474" y="2316"/>
                        </a:lnTo>
                        <a:lnTo>
                          <a:pt x="6368" y="2242"/>
                        </a:lnTo>
                        <a:lnTo>
                          <a:pt x="6262" y="2168"/>
                        </a:lnTo>
                        <a:lnTo>
                          <a:pt x="6158" y="2088"/>
                        </a:lnTo>
                        <a:lnTo>
                          <a:pt x="6054" y="2006"/>
                        </a:lnTo>
                        <a:lnTo>
                          <a:pt x="5952" y="1918"/>
                        </a:lnTo>
                        <a:lnTo>
                          <a:pt x="5900" y="1872"/>
                        </a:lnTo>
                        <a:lnTo>
                          <a:pt x="5848" y="1824"/>
                        </a:lnTo>
                        <a:lnTo>
                          <a:pt x="5798" y="1774"/>
                        </a:lnTo>
                        <a:lnTo>
                          <a:pt x="5746" y="1722"/>
                        </a:lnTo>
                        <a:lnTo>
                          <a:pt x="5694" y="1668"/>
                        </a:lnTo>
                        <a:lnTo>
                          <a:pt x="5642" y="1612"/>
                        </a:lnTo>
                        <a:lnTo>
                          <a:pt x="5592" y="1554"/>
                        </a:lnTo>
                        <a:lnTo>
                          <a:pt x="5540" y="1494"/>
                        </a:lnTo>
                        <a:lnTo>
                          <a:pt x="5488" y="1430"/>
                        </a:lnTo>
                        <a:lnTo>
                          <a:pt x="5436" y="1364"/>
                        </a:lnTo>
                        <a:lnTo>
                          <a:pt x="5384" y="1294"/>
                        </a:lnTo>
                        <a:lnTo>
                          <a:pt x="5330" y="1222"/>
                        </a:lnTo>
                        <a:lnTo>
                          <a:pt x="5282" y="1166"/>
                        </a:lnTo>
                        <a:lnTo>
                          <a:pt x="5226" y="1104"/>
                        </a:lnTo>
                        <a:lnTo>
                          <a:pt x="5148" y="1022"/>
                        </a:lnTo>
                        <a:lnTo>
                          <a:pt x="5050" y="926"/>
                        </a:lnTo>
                        <a:lnTo>
                          <a:pt x="4996" y="874"/>
                        </a:lnTo>
                        <a:lnTo>
                          <a:pt x="4936" y="820"/>
                        </a:lnTo>
                        <a:lnTo>
                          <a:pt x="4872" y="762"/>
                        </a:lnTo>
                        <a:lnTo>
                          <a:pt x="4804" y="706"/>
                        </a:lnTo>
                        <a:lnTo>
                          <a:pt x="4734" y="646"/>
                        </a:lnTo>
                        <a:lnTo>
                          <a:pt x="4658" y="588"/>
                        </a:lnTo>
                        <a:lnTo>
                          <a:pt x="4580" y="530"/>
                        </a:lnTo>
                        <a:lnTo>
                          <a:pt x="4500" y="472"/>
                        </a:lnTo>
                        <a:lnTo>
                          <a:pt x="4416" y="414"/>
                        </a:lnTo>
                        <a:lnTo>
                          <a:pt x="4328" y="360"/>
                        </a:lnTo>
                        <a:lnTo>
                          <a:pt x="4238" y="306"/>
                        </a:lnTo>
                        <a:lnTo>
                          <a:pt x="4146" y="256"/>
                        </a:lnTo>
                        <a:lnTo>
                          <a:pt x="4052" y="210"/>
                        </a:lnTo>
                        <a:lnTo>
                          <a:pt x="3954" y="166"/>
                        </a:lnTo>
                        <a:lnTo>
                          <a:pt x="3856" y="126"/>
                        </a:lnTo>
                        <a:lnTo>
                          <a:pt x="3806" y="108"/>
                        </a:lnTo>
                        <a:lnTo>
                          <a:pt x="3756" y="90"/>
                        </a:lnTo>
                        <a:lnTo>
                          <a:pt x="3704" y="74"/>
                        </a:lnTo>
                        <a:lnTo>
                          <a:pt x="3652" y="60"/>
                        </a:lnTo>
                        <a:lnTo>
                          <a:pt x="3602" y="48"/>
                        </a:lnTo>
                        <a:lnTo>
                          <a:pt x="3550" y="36"/>
                        </a:lnTo>
                        <a:lnTo>
                          <a:pt x="3498" y="26"/>
                        </a:lnTo>
                        <a:lnTo>
                          <a:pt x="3444" y="18"/>
                        </a:lnTo>
                        <a:lnTo>
                          <a:pt x="3392" y="10"/>
                        </a:lnTo>
                        <a:lnTo>
                          <a:pt x="3338" y="4"/>
                        </a:lnTo>
                        <a:lnTo>
                          <a:pt x="3286" y="2"/>
                        </a:lnTo>
                        <a:lnTo>
                          <a:pt x="3232" y="0"/>
                        </a:lnTo>
                        <a:lnTo>
                          <a:pt x="3178" y="0"/>
                        </a:lnTo>
                        <a:lnTo>
                          <a:pt x="3124" y="2"/>
                        </a:lnTo>
                        <a:lnTo>
                          <a:pt x="3072" y="6"/>
                        </a:lnTo>
                        <a:lnTo>
                          <a:pt x="3020" y="10"/>
                        </a:lnTo>
                        <a:lnTo>
                          <a:pt x="2970" y="16"/>
                        </a:lnTo>
                        <a:lnTo>
                          <a:pt x="2920" y="24"/>
                        </a:lnTo>
                        <a:lnTo>
                          <a:pt x="2874" y="32"/>
                        </a:lnTo>
                        <a:lnTo>
                          <a:pt x="2828" y="42"/>
                        </a:lnTo>
                        <a:lnTo>
                          <a:pt x="2784" y="52"/>
                        </a:lnTo>
                        <a:lnTo>
                          <a:pt x="2740" y="64"/>
                        </a:lnTo>
                        <a:lnTo>
                          <a:pt x="2700" y="76"/>
                        </a:lnTo>
                        <a:lnTo>
                          <a:pt x="2660" y="90"/>
                        </a:lnTo>
                        <a:lnTo>
                          <a:pt x="2620" y="104"/>
                        </a:lnTo>
                        <a:lnTo>
                          <a:pt x="2582" y="120"/>
                        </a:lnTo>
                        <a:lnTo>
                          <a:pt x="2546" y="136"/>
                        </a:lnTo>
                        <a:lnTo>
                          <a:pt x="2510" y="154"/>
                        </a:lnTo>
                        <a:lnTo>
                          <a:pt x="2476" y="172"/>
                        </a:lnTo>
                        <a:lnTo>
                          <a:pt x="2442" y="192"/>
                        </a:lnTo>
                        <a:lnTo>
                          <a:pt x="2410" y="212"/>
                        </a:lnTo>
                        <a:lnTo>
                          <a:pt x="2378" y="232"/>
                        </a:lnTo>
                        <a:lnTo>
                          <a:pt x="2318" y="276"/>
                        </a:lnTo>
                        <a:lnTo>
                          <a:pt x="2262" y="322"/>
                        </a:lnTo>
                        <a:lnTo>
                          <a:pt x="2210" y="372"/>
                        </a:lnTo>
                        <a:lnTo>
                          <a:pt x="2160" y="424"/>
                        </a:lnTo>
                        <a:lnTo>
                          <a:pt x="2114" y="478"/>
                        </a:lnTo>
                        <a:lnTo>
                          <a:pt x="2068" y="534"/>
                        </a:lnTo>
                        <a:lnTo>
                          <a:pt x="2026" y="592"/>
                        </a:lnTo>
                        <a:lnTo>
                          <a:pt x="1986" y="652"/>
                        </a:lnTo>
                        <a:lnTo>
                          <a:pt x="1946" y="714"/>
                        </a:lnTo>
                        <a:lnTo>
                          <a:pt x="1910" y="776"/>
                        </a:lnTo>
                        <a:lnTo>
                          <a:pt x="1872" y="838"/>
                        </a:lnTo>
                        <a:lnTo>
                          <a:pt x="1802" y="966"/>
                        </a:lnTo>
                        <a:lnTo>
                          <a:pt x="1732" y="1096"/>
                        </a:lnTo>
                        <a:lnTo>
                          <a:pt x="1660" y="1226"/>
                        </a:lnTo>
                        <a:lnTo>
                          <a:pt x="1624" y="1290"/>
                        </a:lnTo>
                        <a:lnTo>
                          <a:pt x="1586" y="1354"/>
                        </a:lnTo>
                        <a:lnTo>
                          <a:pt x="1546" y="1416"/>
                        </a:lnTo>
                        <a:lnTo>
                          <a:pt x="1504" y="1478"/>
                        </a:lnTo>
                        <a:lnTo>
                          <a:pt x="1460" y="1538"/>
                        </a:lnTo>
                        <a:lnTo>
                          <a:pt x="1416" y="1596"/>
                        </a:lnTo>
                        <a:lnTo>
                          <a:pt x="1394" y="1616"/>
                        </a:lnTo>
                        <a:lnTo>
                          <a:pt x="1366" y="1640"/>
                        </a:lnTo>
                        <a:lnTo>
                          <a:pt x="1332" y="1666"/>
                        </a:lnTo>
                        <a:lnTo>
                          <a:pt x="1290" y="1692"/>
                        </a:lnTo>
                        <a:lnTo>
                          <a:pt x="1244" y="1720"/>
                        </a:lnTo>
                        <a:lnTo>
                          <a:pt x="1192" y="1752"/>
                        </a:lnTo>
                        <a:lnTo>
                          <a:pt x="1074" y="1816"/>
                        </a:lnTo>
                        <a:lnTo>
                          <a:pt x="806" y="1962"/>
                        </a:lnTo>
                        <a:lnTo>
                          <a:pt x="666" y="2040"/>
                        </a:lnTo>
                        <a:lnTo>
                          <a:pt x="526" y="2122"/>
                        </a:lnTo>
                        <a:lnTo>
                          <a:pt x="458" y="2164"/>
                        </a:lnTo>
                        <a:lnTo>
                          <a:pt x="394" y="2206"/>
                        </a:lnTo>
                        <a:lnTo>
                          <a:pt x="330" y="2248"/>
                        </a:lnTo>
                        <a:lnTo>
                          <a:pt x="272" y="2292"/>
                        </a:lnTo>
                        <a:lnTo>
                          <a:pt x="218" y="2334"/>
                        </a:lnTo>
                        <a:lnTo>
                          <a:pt x="168" y="2378"/>
                        </a:lnTo>
                        <a:lnTo>
                          <a:pt x="122" y="2420"/>
                        </a:lnTo>
                        <a:lnTo>
                          <a:pt x="84" y="2464"/>
                        </a:lnTo>
                        <a:lnTo>
                          <a:pt x="66" y="2486"/>
                        </a:lnTo>
                        <a:lnTo>
                          <a:pt x="52" y="2506"/>
                        </a:lnTo>
                        <a:lnTo>
                          <a:pt x="38" y="2528"/>
                        </a:lnTo>
                        <a:lnTo>
                          <a:pt x="26" y="2550"/>
                        </a:lnTo>
                        <a:lnTo>
                          <a:pt x="16" y="2570"/>
                        </a:lnTo>
                        <a:lnTo>
                          <a:pt x="10" y="2592"/>
                        </a:lnTo>
                        <a:lnTo>
                          <a:pt x="4" y="2612"/>
                        </a:lnTo>
                        <a:lnTo>
                          <a:pt x="0" y="2632"/>
                        </a:lnTo>
                        <a:lnTo>
                          <a:pt x="0" y="2654"/>
                        </a:lnTo>
                        <a:lnTo>
                          <a:pt x="0" y="2674"/>
                        </a:lnTo>
                        <a:lnTo>
                          <a:pt x="4" y="2694"/>
                        </a:lnTo>
                        <a:lnTo>
                          <a:pt x="10" y="2714"/>
                        </a:lnTo>
                        <a:lnTo>
                          <a:pt x="18" y="2734"/>
                        </a:lnTo>
                        <a:lnTo>
                          <a:pt x="30" y="2754"/>
                        </a:lnTo>
                        <a:lnTo>
                          <a:pt x="44" y="2774"/>
                        </a:lnTo>
                        <a:lnTo>
                          <a:pt x="60" y="2792"/>
                        </a:lnTo>
                        <a:lnTo>
                          <a:pt x="80" y="2746"/>
                        </a:lnTo>
                        <a:lnTo>
                          <a:pt x="134" y="2670"/>
                        </a:lnTo>
                        <a:lnTo>
                          <a:pt x="188" y="2600"/>
                        </a:lnTo>
                        <a:lnTo>
                          <a:pt x="242" y="2532"/>
                        </a:lnTo>
                        <a:lnTo>
                          <a:pt x="300" y="2470"/>
                        </a:lnTo>
                        <a:lnTo>
                          <a:pt x="358" y="2412"/>
                        </a:lnTo>
                        <a:lnTo>
                          <a:pt x="416" y="2358"/>
                        </a:lnTo>
                        <a:lnTo>
                          <a:pt x="476" y="2308"/>
                        </a:lnTo>
                        <a:lnTo>
                          <a:pt x="538" y="2262"/>
                        </a:lnTo>
                        <a:lnTo>
                          <a:pt x="600" y="2218"/>
                        </a:lnTo>
                        <a:lnTo>
                          <a:pt x="664" y="2178"/>
                        </a:lnTo>
                        <a:lnTo>
                          <a:pt x="730" y="2142"/>
                        </a:lnTo>
                        <a:lnTo>
                          <a:pt x="796" y="2106"/>
                        </a:lnTo>
                        <a:lnTo>
                          <a:pt x="862" y="2076"/>
                        </a:lnTo>
                        <a:lnTo>
                          <a:pt x="930" y="2046"/>
                        </a:lnTo>
                        <a:lnTo>
                          <a:pt x="1000" y="2018"/>
                        </a:lnTo>
                        <a:lnTo>
                          <a:pt x="1070" y="1994"/>
                        </a:lnTo>
                        <a:lnTo>
                          <a:pt x="1142" y="1970"/>
                        </a:lnTo>
                        <a:lnTo>
                          <a:pt x="1214" y="1950"/>
                        </a:lnTo>
                        <a:lnTo>
                          <a:pt x="1288" y="1930"/>
                        </a:lnTo>
                        <a:lnTo>
                          <a:pt x="1362" y="1910"/>
                        </a:lnTo>
                        <a:lnTo>
                          <a:pt x="1438" y="1894"/>
                        </a:lnTo>
                        <a:lnTo>
                          <a:pt x="1514" y="1876"/>
                        </a:lnTo>
                        <a:lnTo>
                          <a:pt x="1670" y="1846"/>
                        </a:lnTo>
                        <a:lnTo>
                          <a:pt x="1832" y="1816"/>
                        </a:lnTo>
                        <a:lnTo>
                          <a:pt x="1996" y="1786"/>
                        </a:lnTo>
                        <a:lnTo>
                          <a:pt x="2164" y="1756"/>
                        </a:lnTo>
                        <a:lnTo>
                          <a:pt x="2336" y="1722"/>
                        </a:lnTo>
                        <a:close/>
                      </a:path>
                    </a:pathLst>
                  </a:custGeom>
                  <a:gradFill rotWithShape="1">
                    <a:gsLst>
                      <a:gs pos="0">
                        <a:srgbClr val="92D050"/>
                      </a:gs>
                      <a:gs pos="50000">
                        <a:srgbClr val="92D050"/>
                      </a:gs>
                      <a:gs pos="100000">
                        <a:srgbClr val="00BD4F"/>
                      </a:gs>
                    </a:gsLst>
                    <a:lin ang="13500000" scaled="1"/>
                  </a:grad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ndParaRPr>
                  </a:p>
                </p:txBody>
              </p:sp>
            </p:grpSp>
            <p:sp>
              <p:nvSpPr>
                <p:cNvPr id="90" name="Freeform 20"/>
                <p:cNvSpPr>
                  <a:spLocks/>
                </p:cNvSpPr>
                <p:nvPr/>
              </p:nvSpPr>
              <p:spPr bwMode="auto">
                <a:xfrm>
                  <a:off x="-628596" y="3172845"/>
                  <a:ext cx="9981845" cy="1105942"/>
                </a:xfrm>
                <a:custGeom>
                  <a:avLst/>
                  <a:gdLst>
                    <a:gd name="T0" fmla="*/ 2292 w 6888"/>
                    <a:gd name="T1" fmla="*/ 112 h 1108"/>
                    <a:gd name="T2" fmla="*/ 2376 w 6888"/>
                    <a:gd name="T3" fmla="*/ 106 h 1108"/>
                    <a:gd name="T4" fmla="*/ 2472 w 6888"/>
                    <a:gd name="T5" fmla="*/ 104 h 1108"/>
                    <a:gd name="T6" fmla="*/ 2694 w 6888"/>
                    <a:gd name="T7" fmla="*/ 114 h 1108"/>
                    <a:gd name="T8" fmla="*/ 2956 w 6888"/>
                    <a:gd name="T9" fmla="*/ 142 h 1108"/>
                    <a:gd name="T10" fmla="*/ 3246 w 6888"/>
                    <a:gd name="T11" fmla="*/ 184 h 1108"/>
                    <a:gd name="T12" fmla="*/ 3564 w 6888"/>
                    <a:gd name="T13" fmla="*/ 238 h 1108"/>
                    <a:gd name="T14" fmla="*/ 3898 w 6888"/>
                    <a:gd name="T15" fmla="*/ 302 h 1108"/>
                    <a:gd name="T16" fmla="*/ 4244 w 6888"/>
                    <a:gd name="T17" fmla="*/ 376 h 1108"/>
                    <a:gd name="T18" fmla="*/ 4944 w 6888"/>
                    <a:gd name="T19" fmla="*/ 536 h 1108"/>
                    <a:gd name="T20" fmla="*/ 5616 w 6888"/>
                    <a:gd name="T21" fmla="*/ 704 h 1108"/>
                    <a:gd name="T22" fmla="*/ 6206 w 6888"/>
                    <a:gd name="T23" fmla="*/ 862 h 1108"/>
                    <a:gd name="T24" fmla="*/ 6664 w 6888"/>
                    <a:gd name="T25" fmla="*/ 990 h 1108"/>
                    <a:gd name="T26" fmla="*/ 6826 w 6888"/>
                    <a:gd name="T27" fmla="*/ 1038 h 1108"/>
                    <a:gd name="T28" fmla="*/ 6888 w 6888"/>
                    <a:gd name="T29" fmla="*/ 1016 h 1108"/>
                    <a:gd name="T30" fmla="*/ 6744 w 6888"/>
                    <a:gd name="T31" fmla="*/ 918 h 1108"/>
                    <a:gd name="T32" fmla="*/ 6346 w 6888"/>
                    <a:gd name="T33" fmla="*/ 802 h 1108"/>
                    <a:gd name="T34" fmla="*/ 5808 w 6888"/>
                    <a:gd name="T35" fmla="*/ 656 h 1108"/>
                    <a:gd name="T36" fmla="*/ 5176 w 6888"/>
                    <a:gd name="T37" fmla="*/ 492 h 1108"/>
                    <a:gd name="T38" fmla="*/ 4498 w 6888"/>
                    <a:gd name="T39" fmla="*/ 328 h 1108"/>
                    <a:gd name="T40" fmla="*/ 3988 w 6888"/>
                    <a:gd name="T41" fmla="*/ 216 h 1108"/>
                    <a:gd name="T42" fmla="*/ 3658 w 6888"/>
                    <a:gd name="T43" fmla="*/ 150 h 1108"/>
                    <a:gd name="T44" fmla="*/ 3344 w 6888"/>
                    <a:gd name="T45" fmla="*/ 94 h 1108"/>
                    <a:gd name="T46" fmla="*/ 3050 w 6888"/>
                    <a:gd name="T47" fmla="*/ 50 h 1108"/>
                    <a:gd name="T48" fmla="*/ 2784 w 6888"/>
                    <a:gd name="T49" fmla="*/ 18 h 1108"/>
                    <a:gd name="T50" fmla="*/ 2550 w 6888"/>
                    <a:gd name="T51" fmla="*/ 2 h 1108"/>
                    <a:gd name="T52" fmla="*/ 2402 w 6888"/>
                    <a:gd name="T53" fmla="*/ 2 h 1108"/>
                    <a:gd name="T54" fmla="*/ 2314 w 6888"/>
                    <a:gd name="T55" fmla="*/ 8 h 1108"/>
                    <a:gd name="T56" fmla="*/ 2276 w 6888"/>
                    <a:gd name="T57" fmla="*/ 12 h 1108"/>
                    <a:gd name="T58" fmla="*/ 1774 w 6888"/>
                    <a:gd name="T59" fmla="*/ 86 h 1108"/>
                    <a:gd name="T60" fmla="*/ 1458 w 6888"/>
                    <a:gd name="T61" fmla="*/ 142 h 1108"/>
                    <a:gd name="T62" fmla="*/ 1306 w 6888"/>
                    <a:gd name="T63" fmla="*/ 176 h 1108"/>
                    <a:gd name="T64" fmla="*/ 1158 w 6888"/>
                    <a:gd name="T65" fmla="*/ 216 h 1108"/>
                    <a:gd name="T66" fmla="*/ 1014 w 6888"/>
                    <a:gd name="T67" fmla="*/ 262 h 1108"/>
                    <a:gd name="T68" fmla="*/ 874 w 6888"/>
                    <a:gd name="T69" fmla="*/ 318 h 1108"/>
                    <a:gd name="T70" fmla="*/ 738 w 6888"/>
                    <a:gd name="T71" fmla="*/ 382 h 1108"/>
                    <a:gd name="T72" fmla="*/ 606 w 6888"/>
                    <a:gd name="T73" fmla="*/ 458 h 1108"/>
                    <a:gd name="T74" fmla="*/ 480 w 6888"/>
                    <a:gd name="T75" fmla="*/ 544 h 1108"/>
                    <a:gd name="T76" fmla="*/ 358 w 6888"/>
                    <a:gd name="T77" fmla="*/ 644 h 1108"/>
                    <a:gd name="T78" fmla="*/ 240 w 6888"/>
                    <a:gd name="T79" fmla="*/ 758 h 1108"/>
                    <a:gd name="T80" fmla="*/ 128 w 6888"/>
                    <a:gd name="T81" fmla="*/ 890 h 1108"/>
                    <a:gd name="T82" fmla="*/ 20 w 6888"/>
                    <a:gd name="T83" fmla="*/ 1036 h 1108"/>
                    <a:gd name="T84" fmla="*/ 0 w 6888"/>
                    <a:gd name="T85" fmla="*/ 1084 h 1108"/>
                    <a:gd name="T86" fmla="*/ 26 w 6888"/>
                    <a:gd name="T87" fmla="*/ 1108 h 1108"/>
                    <a:gd name="T88" fmla="*/ 32 w 6888"/>
                    <a:gd name="T89" fmla="*/ 1104 h 1108"/>
                    <a:gd name="T90" fmla="*/ 108 w 6888"/>
                    <a:gd name="T91" fmla="*/ 1034 h 1108"/>
                    <a:gd name="T92" fmla="*/ 160 w 6888"/>
                    <a:gd name="T93" fmla="*/ 968 h 1108"/>
                    <a:gd name="T94" fmla="*/ 268 w 6888"/>
                    <a:gd name="T95" fmla="*/ 846 h 1108"/>
                    <a:gd name="T96" fmla="*/ 380 w 6888"/>
                    <a:gd name="T97" fmla="*/ 738 h 1108"/>
                    <a:gd name="T98" fmla="*/ 496 w 6888"/>
                    <a:gd name="T99" fmla="*/ 640 h 1108"/>
                    <a:gd name="T100" fmla="*/ 616 w 6888"/>
                    <a:gd name="T101" fmla="*/ 556 h 1108"/>
                    <a:gd name="T102" fmla="*/ 740 w 6888"/>
                    <a:gd name="T103" fmla="*/ 482 h 1108"/>
                    <a:gd name="T104" fmla="*/ 870 w 6888"/>
                    <a:gd name="T105" fmla="*/ 420 h 1108"/>
                    <a:gd name="T106" fmla="*/ 1002 w 6888"/>
                    <a:gd name="T107" fmla="*/ 364 h 1108"/>
                    <a:gd name="T108" fmla="*/ 1138 w 6888"/>
                    <a:gd name="T109" fmla="*/ 316 h 1108"/>
                    <a:gd name="T110" fmla="*/ 1278 w 6888"/>
                    <a:gd name="T111" fmla="*/ 276 h 1108"/>
                    <a:gd name="T112" fmla="*/ 1424 w 6888"/>
                    <a:gd name="T113" fmla="*/ 242 h 1108"/>
                    <a:gd name="T114" fmla="*/ 1648 w 6888"/>
                    <a:gd name="T115" fmla="*/ 198 h 1108"/>
                    <a:gd name="T116" fmla="*/ 1962 w 6888"/>
                    <a:gd name="T117" fmla="*/ 152 h 1108"/>
                    <a:gd name="T118" fmla="*/ 2292 w 6888"/>
                    <a:gd name="T119" fmla="*/ 112 h 110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6888"/>
                    <a:gd name="T181" fmla="*/ 0 h 1108"/>
                    <a:gd name="T182" fmla="*/ 6888 w 6888"/>
                    <a:gd name="T183" fmla="*/ 1108 h 110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6888" h="1108">
                      <a:moveTo>
                        <a:pt x="2292" y="112"/>
                      </a:moveTo>
                      <a:lnTo>
                        <a:pt x="2292" y="112"/>
                      </a:lnTo>
                      <a:lnTo>
                        <a:pt x="2332" y="108"/>
                      </a:lnTo>
                      <a:lnTo>
                        <a:pt x="2376" y="106"/>
                      </a:lnTo>
                      <a:lnTo>
                        <a:pt x="2422" y="104"/>
                      </a:lnTo>
                      <a:lnTo>
                        <a:pt x="2472" y="104"/>
                      </a:lnTo>
                      <a:lnTo>
                        <a:pt x="2578" y="106"/>
                      </a:lnTo>
                      <a:lnTo>
                        <a:pt x="2694" y="114"/>
                      </a:lnTo>
                      <a:lnTo>
                        <a:pt x="2820" y="126"/>
                      </a:lnTo>
                      <a:lnTo>
                        <a:pt x="2956" y="142"/>
                      </a:lnTo>
                      <a:lnTo>
                        <a:pt x="3098" y="160"/>
                      </a:lnTo>
                      <a:lnTo>
                        <a:pt x="3246" y="184"/>
                      </a:lnTo>
                      <a:lnTo>
                        <a:pt x="3402" y="210"/>
                      </a:lnTo>
                      <a:lnTo>
                        <a:pt x="3564" y="238"/>
                      </a:lnTo>
                      <a:lnTo>
                        <a:pt x="3728" y="270"/>
                      </a:lnTo>
                      <a:lnTo>
                        <a:pt x="3898" y="302"/>
                      </a:lnTo>
                      <a:lnTo>
                        <a:pt x="4070" y="338"/>
                      </a:lnTo>
                      <a:lnTo>
                        <a:pt x="4244" y="376"/>
                      </a:lnTo>
                      <a:lnTo>
                        <a:pt x="4594" y="454"/>
                      </a:lnTo>
                      <a:lnTo>
                        <a:pt x="4944" y="536"/>
                      </a:lnTo>
                      <a:lnTo>
                        <a:pt x="5288" y="622"/>
                      </a:lnTo>
                      <a:lnTo>
                        <a:pt x="5616" y="704"/>
                      </a:lnTo>
                      <a:lnTo>
                        <a:pt x="5924" y="786"/>
                      </a:lnTo>
                      <a:lnTo>
                        <a:pt x="6206" y="862"/>
                      </a:lnTo>
                      <a:lnTo>
                        <a:pt x="6454" y="930"/>
                      </a:lnTo>
                      <a:lnTo>
                        <a:pt x="6664" y="990"/>
                      </a:lnTo>
                      <a:lnTo>
                        <a:pt x="6826" y="1038"/>
                      </a:lnTo>
                      <a:lnTo>
                        <a:pt x="6888" y="1016"/>
                      </a:lnTo>
                      <a:lnTo>
                        <a:pt x="6744" y="918"/>
                      </a:lnTo>
                      <a:lnTo>
                        <a:pt x="6566" y="866"/>
                      </a:lnTo>
                      <a:lnTo>
                        <a:pt x="6346" y="802"/>
                      </a:lnTo>
                      <a:lnTo>
                        <a:pt x="6092" y="732"/>
                      </a:lnTo>
                      <a:lnTo>
                        <a:pt x="5808" y="656"/>
                      </a:lnTo>
                      <a:lnTo>
                        <a:pt x="5500" y="574"/>
                      </a:lnTo>
                      <a:lnTo>
                        <a:pt x="5176" y="492"/>
                      </a:lnTo>
                      <a:lnTo>
                        <a:pt x="4840" y="410"/>
                      </a:lnTo>
                      <a:lnTo>
                        <a:pt x="4498" y="328"/>
                      </a:lnTo>
                      <a:lnTo>
                        <a:pt x="4156" y="252"/>
                      </a:lnTo>
                      <a:lnTo>
                        <a:pt x="3988" y="216"/>
                      </a:lnTo>
                      <a:lnTo>
                        <a:pt x="3822" y="182"/>
                      </a:lnTo>
                      <a:lnTo>
                        <a:pt x="3658" y="150"/>
                      </a:lnTo>
                      <a:lnTo>
                        <a:pt x="3498" y="122"/>
                      </a:lnTo>
                      <a:lnTo>
                        <a:pt x="3344" y="94"/>
                      </a:lnTo>
                      <a:lnTo>
                        <a:pt x="3194" y="70"/>
                      </a:lnTo>
                      <a:lnTo>
                        <a:pt x="3050" y="50"/>
                      </a:lnTo>
                      <a:lnTo>
                        <a:pt x="2914" y="32"/>
                      </a:lnTo>
                      <a:lnTo>
                        <a:pt x="2784" y="18"/>
                      </a:lnTo>
                      <a:lnTo>
                        <a:pt x="2662" y="8"/>
                      </a:lnTo>
                      <a:lnTo>
                        <a:pt x="2550" y="2"/>
                      </a:lnTo>
                      <a:lnTo>
                        <a:pt x="2448" y="0"/>
                      </a:lnTo>
                      <a:lnTo>
                        <a:pt x="2402" y="2"/>
                      </a:lnTo>
                      <a:lnTo>
                        <a:pt x="2356" y="4"/>
                      </a:lnTo>
                      <a:lnTo>
                        <a:pt x="2314" y="8"/>
                      </a:lnTo>
                      <a:lnTo>
                        <a:pt x="2276" y="12"/>
                      </a:lnTo>
                      <a:lnTo>
                        <a:pt x="1938" y="60"/>
                      </a:lnTo>
                      <a:lnTo>
                        <a:pt x="1774" y="86"/>
                      </a:lnTo>
                      <a:lnTo>
                        <a:pt x="1614" y="112"/>
                      </a:lnTo>
                      <a:lnTo>
                        <a:pt x="1458" y="142"/>
                      </a:lnTo>
                      <a:lnTo>
                        <a:pt x="1382" y="158"/>
                      </a:lnTo>
                      <a:lnTo>
                        <a:pt x="1306" y="176"/>
                      </a:lnTo>
                      <a:lnTo>
                        <a:pt x="1232" y="194"/>
                      </a:lnTo>
                      <a:lnTo>
                        <a:pt x="1158" y="216"/>
                      </a:lnTo>
                      <a:lnTo>
                        <a:pt x="1086" y="238"/>
                      </a:lnTo>
                      <a:lnTo>
                        <a:pt x="1014" y="262"/>
                      </a:lnTo>
                      <a:lnTo>
                        <a:pt x="942" y="288"/>
                      </a:lnTo>
                      <a:lnTo>
                        <a:pt x="874" y="318"/>
                      </a:lnTo>
                      <a:lnTo>
                        <a:pt x="804" y="348"/>
                      </a:lnTo>
                      <a:lnTo>
                        <a:pt x="738" y="382"/>
                      </a:lnTo>
                      <a:lnTo>
                        <a:pt x="672" y="418"/>
                      </a:lnTo>
                      <a:lnTo>
                        <a:pt x="606" y="458"/>
                      </a:lnTo>
                      <a:lnTo>
                        <a:pt x="542" y="500"/>
                      </a:lnTo>
                      <a:lnTo>
                        <a:pt x="480" y="544"/>
                      </a:lnTo>
                      <a:lnTo>
                        <a:pt x="418" y="592"/>
                      </a:lnTo>
                      <a:lnTo>
                        <a:pt x="358" y="644"/>
                      </a:lnTo>
                      <a:lnTo>
                        <a:pt x="298" y="700"/>
                      </a:lnTo>
                      <a:lnTo>
                        <a:pt x="240" y="758"/>
                      </a:lnTo>
                      <a:lnTo>
                        <a:pt x="184" y="822"/>
                      </a:lnTo>
                      <a:lnTo>
                        <a:pt x="128" y="890"/>
                      </a:lnTo>
                      <a:lnTo>
                        <a:pt x="74" y="960"/>
                      </a:lnTo>
                      <a:lnTo>
                        <a:pt x="20" y="1036"/>
                      </a:lnTo>
                      <a:lnTo>
                        <a:pt x="0" y="1084"/>
                      </a:lnTo>
                      <a:lnTo>
                        <a:pt x="26" y="1108"/>
                      </a:lnTo>
                      <a:lnTo>
                        <a:pt x="28" y="1106"/>
                      </a:lnTo>
                      <a:lnTo>
                        <a:pt x="32" y="1104"/>
                      </a:lnTo>
                      <a:lnTo>
                        <a:pt x="50" y="1090"/>
                      </a:lnTo>
                      <a:lnTo>
                        <a:pt x="108" y="1034"/>
                      </a:lnTo>
                      <a:lnTo>
                        <a:pt x="160" y="968"/>
                      </a:lnTo>
                      <a:lnTo>
                        <a:pt x="214" y="906"/>
                      </a:lnTo>
                      <a:lnTo>
                        <a:pt x="268" y="846"/>
                      </a:lnTo>
                      <a:lnTo>
                        <a:pt x="324" y="790"/>
                      </a:lnTo>
                      <a:lnTo>
                        <a:pt x="380" y="738"/>
                      </a:lnTo>
                      <a:lnTo>
                        <a:pt x="438" y="688"/>
                      </a:lnTo>
                      <a:lnTo>
                        <a:pt x="496" y="640"/>
                      </a:lnTo>
                      <a:lnTo>
                        <a:pt x="556" y="598"/>
                      </a:lnTo>
                      <a:lnTo>
                        <a:pt x="616" y="556"/>
                      </a:lnTo>
                      <a:lnTo>
                        <a:pt x="678" y="518"/>
                      </a:lnTo>
                      <a:lnTo>
                        <a:pt x="740" y="482"/>
                      </a:lnTo>
                      <a:lnTo>
                        <a:pt x="804" y="450"/>
                      </a:lnTo>
                      <a:lnTo>
                        <a:pt x="870" y="420"/>
                      </a:lnTo>
                      <a:lnTo>
                        <a:pt x="934" y="390"/>
                      </a:lnTo>
                      <a:lnTo>
                        <a:pt x="1002" y="364"/>
                      </a:lnTo>
                      <a:lnTo>
                        <a:pt x="1070" y="340"/>
                      </a:lnTo>
                      <a:lnTo>
                        <a:pt x="1138" y="316"/>
                      </a:lnTo>
                      <a:lnTo>
                        <a:pt x="1208" y="296"/>
                      </a:lnTo>
                      <a:lnTo>
                        <a:pt x="1278" y="276"/>
                      </a:lnTo>
                      <a:lnTo>
                        <a:pt x="1350" y="258"/>
                      </a:lnTo>
                      <a:lnTo>
                        <a:pt x="1424" y="242"/>
                      </a:lnTo>
                      <a:lnTo>
                        <a:pt x="1498" y="226"/>
                      </a:lnTo>
                      <a:lnTo>
                        <a:pt x="1648" y="198"/>
                      </a:lnTo>
                      <a:lnTo>
                        <a:pt x="1804" y="174"/>
                      </a:lnTo>
                      <a:lnTo>
                        <a:pt x="1962" y="152"/>
                      </a:lnTo>
                      <a:lnTo>
                        <a:pt x="2126" y="132"/>
                      </a:lnTo>
                      <a:lnTo>
                        <a:pt x="2292" y="112"/>
                      </a:lnTo>
                      <a:close/>
                    </a:path>
                  </a:pathLst>
                </a:custGeom>
                <a:gradFill rotWithShape="1">
                  <a:gsLst>
                    <a:gs pos="0">
                      <a:srgbClr val="006D2A"/>
                    </a:gs>
                    <a:gs pos="92999">
                      <a:srgbClr val="008E39"/>
                    </a:gs>
                    <a:gs pos="100000">
                      <a:srgbClr val="007432"/>
                    </a:gs>
                  </a:gsLst>
                  <a:lin ang="13500000" scaled="1"/>
                </a:grad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ndParaRPr>
                </a:p>
              </p:txBody>
            </p:sp>
          </p:grpSp>
        </p:grpSp>
        <p:grpSp>
          <p:nvGrpSpPr>
            <p:cNvPr id="3347" name="Gruppe 10"/>
            <p:cNvGrpSpPr>
              <a:grpSpLocks/>
            </p:cNvGrpSpPr>
            <p:nvPr/>
          </p:nvGrpSpPr>
          <p:grpSpPr bwMode="auto">
            <a:xfrm rot="-3512246">
              <a:off x="2626766" y="1569941"/>
              <a:ext cx="2304908" cy="1355550"/>
              <a:chOff x="-497029" y="1374038"/>
              <a:chExt cx="10044197" cy="3999616"/>
            </a:xfrm>
          </p:grpSpPr>
          <p:grpSp>
            <p:nvGrpSpPr>
              <p:cNvPr id="3353" name="Gruppe 16"/>
              <p:cNvGrpSpPr>
                <a:grpSpLocks/>
              </p:cNvGrpSpPr>
              <p:nvPr/>
            </p:nvGrpSpPr>
            <p:grpSpPr bwMode="auto">
              <a:xfrm>
                <a:off x="-497029" y="1374038"/>
                <a:ext cx="9958234" cy="3999616"/>
                <a:chOff x="-1844763" y="-2984019"/>
                <a:chExt cx="11099942" cy="5999424"/>
              </a:xfrm>
            </p:grpSpPr>
            <p:sp>
              <p:nvSpPr>
                <p:cNvPr id="85" name="Freeform 6"/>
                <p:cNvSpPr>
                  <a:spLocks/>
                </p:cNvSpPr>
                <p:nvPr/>
              </p:nvSpPr>
              <p:spPr bwMode="auto">
                <a:xfrm>
                  <a:off x="-1860893" y="-3062734"/>
                  <a:ext cx="11174453" cy="5958547"/>
                </a:xfrm>
                <a:custGeom>
                  <a:avLst/>
                  <a:gdLst>
                    <a:gd name="T0" fmla="*/ 5438 w 7036"/>
                    <a:gd name="T1" fmla="*/ 1364 h 3760"/>
                    <a:gd name="T2" fmla="*/ 5644 w 7036"/>
                    <a:gd name="T3" fmla="*/ 1612 h 3760"/>
                    <a:gd name="T4" fmla="*/ 5850 w 7036"/>
                    <a:gd name="T5" fmla="*/ 1824 h 3760"/>
                    <a:gd name="T6" fmla="*/ 6160 w 7036"/>
                    <a:gd name="T7" fmla="*/ 2088 h 3760"/>
                    <a:gd name="T8" fmla="*/ 6584 w 7036"/>
                    <a:gd name="T9" fmla="*/ 2390 h 3760"/>
                    <a:gd name="T10" fmla="*/ 7036 w 7036"/>
                    <a:gd name="T11" fmla="*/ 2696 h 3760"/>
                    <a:gd name="T12" fmla="*/ 5784 w 7036"/>
                    <a:gd name="T13" fmla="*/ 3094 h 3760"/>
                    <a:gd name="T14" fmla="*/ 4056 w 7036"/>
                    <a:gd name="T15" fmla="*/ 3600 h 3760"/>
                    <a:gd name="T16" fmla="*/ 3546 w 7036"/>
                    <a:gd name="T17" fmla="*/ 3734 h 3760"/>
                    <a:gd name="T18" fmla="*/ 3242 w 7036"/>
                    <a:gd name="T19" fmla="*/ 3756 h 3760"/>
                    <a:gd name="T20" fmla="*/ 2782 w 7036"/>
                    <a:gd name="T21" fmla="*/ 3750 h 3760"/>
                    <a:gd name="T22" fmla="*/ 2492 w 7036"/>
                    <a:gd name="T23" fmla="*/ 3716 h 3760"/>
                    <a:gd name="T24" fmla="*/ 2210 w 7036"/>
                    <a:gd name="T25" fmla="*/ 3654 h 3760"/>
                    <a:gd name="T26" fmla="*/ 1960 w 7036"/>
                    <a:gd name="T27" fmla="*/ 3550 h 3760"/>
                    <a:gd name="T28" fmla="*/ 1832 w 7036"/>
                    <a:gd name="T29" fmla="*/ 3462 h 3760"/>
                    <a:gd name="T30" fmla="*/ 1750 w 7036"/>
                    <a:gd name="T31" fmla="*/ 3378 h 3760"/>
                    <a:gd name="T32" fmla="*/ 1638 w 7036"/>
                    <a:gd name="T33" fmla="*/ 3208 h 3760"/>
                    <a:gd name="T34" fmla="*/ 1508 w 7036"/>
                    <a:gd name="T35" fmla="*/ 2948 h 3760"/>
                    <a:gd name="T36" fmla="*/ 1434 w 7036"/>
                    <a:gd name="T37" fmla="*/ 2732 h 3760"/>
                    <a:gd name="T38" fmla="*/ 1382 w 7036"/>
                    <a:gd name="T39" fmla="*/ 2480 h 3760"/>
                    <a:gd name="T40" fmla="*/ 1344 w 7036"/>
                    <a:gd name="T41" fmla="*/ 2330 h 3760"/>
                    <a:gd name="T42" fmla="*/ 1284 w 7036"/>
                    <a:gd name="T43" fmla="*/ 2244 h 3760"/>
                    <a:gd name="T44" fmla="*/ 1176 w 7036"/>
                    <a:gd name="T45" fmla="*/ 2182 h 3760"/>
                    <a:gd name="T46" fmla="*/ 1048 w 7036"/>
                    <a:gd name="T47" fmla="*/ 2152 h 3760"/>
                    <a:gd name="T48" fmla="*/ 928 w 7036"/>
                    <a:gd name="T49" fmla="*/ 2168 h 3760"/>
                    <a:gd name="T50" fmla="*/ 784 w 7036"/>
                    <a:gd name="T51" fmla="*/ 2238 h 3760"/>
                    <a:gd name="T52" fmla="*/ 548 w 7036"/>
                    <a:gd name="T53" fmla="*/ 2406 h 3760"/>
                    <a:gd name="T54" fmla="*/ 206 w 7036"/>
                    <a:gd name="T55" fmla="*/ 2712 h 3760"/>
                    <a:gd name="T56" fmla="*/ 88 w 7036"/>
                    <a:gd name="T57" fmla="*/ 2816 h 3760"/>
                    <a:gd name="T58" fmla="*/ 34 w 7036"/>
                    <a:gd name="T59" fmla="*/ 2758 h 3760"/>
                    <a:gd name="T60" fmla="*/ 2 w 7036"/>
                    <a:gd name="T61" fmla="*/ 2676 h 3760"/>
                    <a:gd name="T62" fmla="*/ 10 w 7036"/>
                    <a:gd name="T63" fmla="*/ 2592 h 3760"/>
                    <a:gd name="T64" fmla="*/ 54 w 7036"/>
                    <a:gd name="T65" fmla="*/ 2506 h 3760"/>
                    <a:gd name="T66" fmla="*/ 150 w 7036"/>
                    <a:gd name="T67" fmla="*/ 2396 h 3760"/>
                    <a:gd name="T68" fmla="*/ 372 w 7036"/>
                    <a:gd name="T69" fmla="*/ 2222 h 3760"/>
                    <a:gd name="T70" fmla="*/ 648 w 7036"/>
                    <a:gd name="T71" fmla="*/ 2052 h 3760"/>
                    <a:gd name="T72" fmla="*/ 1240 w 7036"/>
                    <a:gd name="T73" fmla="*/ 1724 h 3760"/>
                    <a:gd name="T74" fmla="*/ 1396 w 7036"/>
                    <a:gd name="T75" fmla="*/ 1618 h 3760"/>
                    <a:gd name="T76" fmla="*/ 1506 w 7036"/>
                    <a:gd name="T77" fmla="*/ 1478 h 3760"/>
                    <a:gd name="T78" fmla="*/ 1662 w 7036"/>
                    <a:gd name="T79" fmla="*/ 1226 h 3760"/>
                    <a:gd name="T80" fmla="*/ 1912 w 7036"/>
                    <a:gd name="T81" fmla="*/ 776 h 3760"/>
                    <a:gd name="T82" fmla="*/ 2070 w 7036"/>
                    <a:gd name="T83" fmla="*/ 534 h 3760"/>
                    <a:gd name="T84" fmla="*/ 2264 w 7036"/>
                    <a:gd name="T85" fmla="*/ 322 h 3760"/>
                    <a:gd name="T86" fmla="*/ 2444 w 7036"/>
                    <a:gd name="T87" fmla="*/ 192 h 3760"/>
                    <a:gd name="T88" fmla="*/ 2584 w 7036"/>
                    <a:gd name="T89" fmla="*/ 120 h 3760"/>
                    <a:gd name="T90" fmla="*/ 2742 w 7036"/>
                    <a:gd name="T91" fmla="*/ 64 h 3760"/>
                    <a:gd name="T92" fmla="*/ 2922 w 7036"/>
                    <a:gd name="T93" fmla="*/ 24 h 3760"/>
                    <a:gd name="T94" fmla="*/ 3126 w 7036"/>
                    <a:gd name="T95" fmla="*/ 2 h 3760"/>
                    <a:gd name="T96" fmla="*/ 3288 w 7036"/>
                    <a:gd name="T97" fmla="*/ 2 h 3760"/>
                    <a:gd name="T98" fmla="*/ 3500 w 7036"/>
                    <a:gd name="T99" fmla="*/ 26 h 3760"/>
                    <a:gd name="T100" fmla="*/ 3706 w 7036"/>
                    <a:gd name="T101" fmla="*/ 74 h 3760"/>
                    <a:gd name="T102" fmla="*/ 3956 w 7036"/>
                    <a:gd name="T103" fmla="*/ 166 h 3760"/>
                    <a:gd name="T104" fmla="*/ 4330 w 7036"/>
                    <a:gd name="T105" fmla="*/ 360 h 3760"/>
                    <a:gd name="T106" fmla="*/ 4660 w 7036"/>
                    <a:gd name="T107" fmla="*/ 588 h 3760"/>
                    <a:gd name="T108" fmla="*/ 4938 w 7036"/>
                    <a:gd name="T109" fmla="*/ 820 h 3760"/>
                    <a:gd name="T110" fmla="*/ 5228 w 7036"/>
                    <a:gd name="T111" fmla="*/ 1104 h 376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036"/>
                    <a:gd name="T169" fmla="*/ 0 h 3760"/>
                    <a:gd name="T170" fmla="*/ 7036 w 7036"/>
                    <a:gd name="T171" fmla="*/ 3760 h 376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036" h="3760">
                      <a:moveTo>
                        <a:pt x="5332" y="1222"/>
                      </a:moveTo>
                      <a:lnTo>
                        <a:pt x="5332" y="1222"/>
                      </a:lnTo>
                      <a:lnTo>
                        <a:pt x="5386" y="1294"/>
                      </a:lnTo>
                      <a:lnTo>
                        <a:pt x="5438" y="1364"/>
                      </a:lnTo>
                      <a:lnTo>
                        <a:pt x="5490" y="1430"/>
                      </a:lnTo>
                      <a:lnTo>
                        <a:pt x="5542" y="1494"/>
                      </a:lnTo>
                      <a:lnTo>
                        <a:pt x="5594" y="1554"/>
                      </a:lnTo>
                      <a:lnTo>
                        <a:pt x="5644" y="1612"/>
                      </a:lnTo>
                      <a:lnTo>
                        <a:pt x="5696" y="1668"/>
                      </a:lnTo>
                      <a:lnTo>
                        <a:pt x="5748" y="1722"/>
                      </a:lnTo>
                      <a:lnTo>
                        <a:pt x="5800" y="1774"/>
                      </a:lnTo>
                      <a:lnTo>
                        <a:pt x="5850" y="1824"/>
                      </a:lnTo>
                      <a:lnTo>
                        <a:pt x="5902" y="1872"/>
                      </a:lnTo>
                      <a:lnTo>
                        <a:pt x="5954" y="1918"/>
                      </a:lnTo>
                      <a:lnTo>
                        <a:pt x="6056" y="2006"/>
                      </a:lnTo>
                      <a:lnTo>
                        <a:pt x="6160" y="2088"/>
                      </a:lnTo>
                      <a:lnTo>
                        <a:pt x="6264" y="2168"/>
                      </a:lnTo>
                      <a:lnTo>
                        <a:pt x="6370" y="2242"/>
                      </a:lnTo>
                      <a:lnTo>
                        <a:pt x="6476" y="2316"/>
                      </a:lnTo>
                      <a:lnTo>
                        <a:pt x="6584" y="2390"/>
                      </a:lnTo>
                      <a:lnTo>
                        <a:pt x="6806" y="2538"/>
                      </a:lnTo>
                      <a:lnTo>
                        <a:pt x="6920" y="2616"/>
                      </a:lnTo>
                      <a:lnTo>
                        <a:pt x="7036" y="2696"/>
                      </a:lnTo>
                      <a:lnTo>
                        <a:pt x="6882" y="2748"/>
                      </a:lnTo>
                      <a:lnTo>
                        <a:pt x="6700" y="2808"/>
                      </a:lnTo>
                      <a:lnTo>
                        <a:pt x="6272" y="2944"/>
                      </a:lnTo>
                      <a:lnTo>
                        <a:pt x="5784" y="3094"/>
                      </a:lnTo>
                      <a:lnTo>
                        <a:pt x="5266" y="3250"/>
                      </a:lnTo>
                      <a:lnTo>
                        <a:pt x="4752" y="3400"/>
                      </a:lnTo>
                      <a:lnTo>
                        <a:pt x="4272" y="3538"/>
                      </a:lnTo>
                      <a:lnTo>
                        <a:pt x="4056" y="3600"/>
                      </a:lnTo>
                      <a:lnTo>
                        <a:pt x="3860" y="3652"/>
                      </a:lnTo>
                      <a:lnTo>
                        <a:pt x="3690" y="3698"/>
                      </a:lnTo>
                      <a:lnTo>
                        <a:pt x="3546" y="3734"/>
                      </a:lnTo>
                      <a:lnTo>
                        <a:pt x="3502" y="3740"/>
                      </a:lnTo>
                      <a:lnTo>
                        <a:pt x="3434" y="3746"/>
                      </a:lnTo>
                      <a:lnTo>
                        <a:pt x="3346" y="3752"/>
                      </a:lnTo>
                      <a:lnTo>
                        <a:pt x="3242" y="3756"/>
                      </a:lnTo>
                      <a:lnTo>
                        <a:pt x="3122" y="3760"/>
                      </a:lnTo>
                      <a:lnTo>
                        <a:pt x="2992" y="3758"/>
                      </a:lnTo>
                      <a:lnTo>
                        <a:pt x="2854" y="3754"/>
                      </a:lnTo>
                      <a:lnTo>
                        <a:pt x="2782" y="3750"/>
                      </a:lnTo>
                      <a:lnTo>
                        <a:pt x="2710" y="3744"/>
                      </a:lnTo>
                      <a:lnTo>
                        <a:pt x="2638" y="3736"/>
                      </a:lnTo>
                      <a:lnTo>
                        <a:pt x="2564" y="3728"/>
                      </a:lnTo>
                      <a:lnTo>
                        <a:pt x="2492" y="3716"/>
                      </a:lnTo>
                      <a:lnTo>
                        <a:pt x="2420" y="3704"/>
                      </a:lnTo>
                      <a:lnTo>
                        <a:pt x="2348" y="3690"/>
                      </a:lnTo>
                      <a:lnTo>
                        <a:pt x="2278" y="3672"/>
                      </a:lnTo>
                      <a:lnTo>
                        <a:pt x="2210" y="3654"/>
                      </a:lnTo>
                      <a:lnTo>
                        <a:pt x="2144" y="3632"/>
                      </a:lnTo>
                      <a:lnTo>
                        <a:pt x="2080" y="3608"/>
                      </a:lnTo>
                      <a:lnTo>
                        <a:pt x="2018" y="3580"/>
                      </a:lnTo>
                      <a:lnTo>
                        <a:pt x="1960" y="3550"/>
                      </a:lnTo>
                      <a:lnTo>
                        <a:pt x="1906" y="3518"/>
                      </a:lnTo>
                      <a:lnTo>
                        <a:pt x="1880" y="3500"/>
                      </a:lnTo>
                      <a:lnTo>
                        <a:pt x="1856" y="3482"/>
                      </a:lnTo>
                      <a:lnTo>
                        <a:pt x="1832" y="3462"/>
                      </a:lnTo>
                      <a:lnTo>
                        <a:pt x="1810" y="3444"/>
                      </a:lnTo>
                      <a:lnTo>
                        <a:pt x="1788" y="3422"/>
                      </a:lnTo>
                      <a:lnTo>
                        <a:pt x="1768" y="3400"/>
                      </a:lnTo>
                      <a:lnTo>
                        <a:pt x="1750" y="3378"/>
                      </a:lnTo>
                      <a:lnTo>
                        <a:pt x="1732" y="3356"/>
                      </a:lnTo>
                      <a:lnTo>
                        <a:pt x="1682" y="3280"/>
                      </a:lnTo>
                      <a:lnTo>
                        <a:pt x="1638" y="3208"/>
                      </a:lnTo>
                      <a:lnTo>
                        <a:pt x="1600" y="3138"/>
                      </a:lnTo>
                      <a:lnTo>
                        <a:pt x="1564" y="3072"/>
                      </a:lnTo>
                      <a:lnTo>
                        <a:pt x="1534" y="3010"/>
                      </a:lnTo>
                      <a:lnTo>
                        <a:pt x="1508" y="2948"/>
                      </a:lnTo>
                      <a:lnTo>
                        <a:pt x="1484" y="2890"/>
                      </a:lnTo>
                      <a:lnTo>
                        <a:pt x="1466" y="2836"/>
                      </a:lnTo>
                      <a:lnTo>
                        <a:pt x="1448" y="2782"/>
                      </a:lnTo>
                      <a:lnTo>
                        <a:pt x="1434" y="2732"/>
                      </a:lnTo>
                      <a:lnTo>
                        <a:pt x="1422" y="2684"/>
                      </a:lnTo>
                      <a:lnTo>
                        <a:pt x="1412" y="2640"/>
                      </a:lnTo>
                      <a:lnTo>
                        <a:pt x="1396" y="2556"/>
                      </a:lnTo>
                      <a:lnTo>
                        <a:pt x="1382" y="2480"/>
                      </a:lnTo>
                      <a:lnTo>
                        <a:pt x="1368" y="2414"/>
                      </a:lnTo>
                      <a:lnTo>
                        <a:pt x="1362" y="2384"/>
                      </a:lnTo>
                      <a:lnTo>
                        <a:pt x="1354" y="2356"/>
                      </a:lnTo>
                      <a:lnTo>
                        <a:pt x="1344" y="2330"/>
                      </a:lnTo>
                      <a:lnTo>
                        <a:pt x="1332" y="2306"/>
                      </a:lnTo>
                      <a:lnTo>
                        <a:pt x="1318" y="2284"/>
                      </a:lnTo>
                      <a:lnTo>
                        <a:pt x="1302" y="2264"/>
                      </a:lnTo>
                      <a:lnTo>
                        <a:pt x="1284" y="2244"/>
                      </a:lnTo>
                      <a:lnTo>
                        <a:pt x="1262" y="2226"/>
                      </a:lnTo>
                      <a:lnTo>
                        <a:pt x="1238" y="2210"/>
                      </a:lnTo>
                      <a:lnTo>
                        <a:pt x="1208" y="2196"/>
                      </a:lnTo>
                      <a:lnTo>
                        <a:pt x="1176" y="2182"/>
                      </a:lnTo>
                      <a:lnTo>
                        <a:pt x="1138" y="2172"/>
                      </a:lnTo>
                      <a:lnTo>
                        <a:pt x="1096" y="2160"/>
                      </a:lnTo>
                      <a:lnTo>
                        <a:pt x="1048" y="2152"/>
                      </a:lnTo>
                      <a:lnTo>
                        <a:pt x="1020" y="2150"/>
                      </a:lnTo>
                      <a:lnTo>
                        <a:pt x="992" y="2152"/>
                      </a:lnTo>
                      <a:lnTo>
                        <a:pt x="962" y="2158"/>
                      </a:lnTo>
                      <a:lnTo>
                        <a:pt x="928" y="2168"/>
                      </a:lnTo>
                      <a:lnTo>
                        <a:pt x="894" y="2180"/>
                      </a:lnTo>
                      <a:lnTo>
                        <a:pt x="858" y="2198"/>
                      </a:lnTo>
                      <a:lnTo>
                        <a:pt x="822" y="2216"/>
                      </a:lnTo>
                      <a:lnTo>
                        <a:pt x="784" y="2238"/>
                      </a:lnTo>
                      <a:lnTo>
                        <a:pt x="746" y="2262"/>
                      </a:lnTo>
                      <a:lnTo>
                        <a:pt x="706" y="2288"/>
                      </a:lnTo>
                      <a:lnTo>
                        <a:pt x="628" y="2346"/>
                      </a:lnTo>
                      <a:lnTo>
                        <a:pt x="548" y="2406"/>
                      </a:lnTo>
                      <a:lnTo>
                        <a:pt x="470" y="2472"/>
                      </a:lnTo>
                      <a:lnTo>
                        <a:pt x="396" y="2536"/>
                      </a:lnTo>
                      <a:lnTo>
                        <a:pt x="326" y="2600"/>
                      </a:lnTo>
                      <a:lnTo>
                        <a:pt x="206" y="2712"/>
                      </a:lnTo>
                      <a:lnTo>
                        <a:pt x="122" y="2790"/>
                      </a:lnTo>
                      <a:lnTo>
                        <a:pt x="98" y="2810"/>
                      </a:lnTo>
                      <a:lnTo>
                        <a:pt x="90" y="2816"/>
                      </a:lnTo>
                      <a:lnTo>
                        <a:pt x="88" y="2816"/>
                      </a:lnTo>
                      <a:lnTo>
                        <a:pt x="66" y="2798"/>
                      </a:lnTo>
                      <a:lnTo>
                        <a:pt x="50" y="2778"/>
                      </a:lnTo>
                      <a:lnTo>
                        <a:pt x="34" y="2758"/>
                      </a:lnTo>
                      <a:lnTo>
                        <a:pt x="22" y="2738"/>
                      </a:lnTo>
                      <a:lnTo>
                        <a:pt x="14" y="2718"/>
                      </a:lnTo>
                      <a:lnTo>
                        <a:pt x="6" y="2698"/>
                      </a:lnTo>
                      <a:lnTo>
                        <a:pt x="2" y="2676"/>
                      </a:lnTo>
                      <a:lnTo>
                        <a:pt x="0" y="2656"/>
                      </a:lnTo>
                      <a:lnTo>
                        <a:pt x="2" y="2634"/>
                      </a:lnTo>
                      <a:lnTo>
                        <a:pt x="6" y="2614"/>
                      </a:lnTo>
                      <a:lnTo>
                        <a:pt x="10" y="2592"/>
                      </a:lnTo>
                      <a:lnTo>
                        <a:pt x="18" y="2570"/>
                      </a:lnTo>
                      <a:lnTo>
                        <a:pt x="28" y="2550"/>
                      </a:lnTo>
                      <a:lnTo>
                        <a:pt x="40" y="2528"/>
                      </a:lnTo>
                      <a:lnTo>
                        <a:pt x="54" y="2506"/>
                      </a:lnTo>
                      <a:lnTo>
                        <a:pt x="70" y="2484"/>
                      </a:lnTo>
                      <a:lnTo>
                        <a:pt x="86" y="2462"/>
                      </a:lnTo>
                      <a:lnTo>
                        <a:pt x="106" y="2440"/>
                      </a:lnTo>
                      <a:lnTo>
                        <a:pt x="150" y="2396"/>
                      </a:lnTo>
                      <a:lnTo>
                        <a:pt x="198" y="2352"/>
                      </a:lnTo>
                      <a:lnTo>
                        <a:pt x="252" y="2308"/>
                      </a:lnTo>
                      <a:lnTo>
                        <a:pt x="310" y="2264"/>
                      </a:lnTo>
                      <a:lnTo>
                        <a:pt x="372" y="2222"/>
                      </a:lnTo>
                      <a:lnTo>
                        <a:pt x="438" y="2178"/>
                      </a:lnTo>
                      <a:lnTo>
                        <a:pt x="506" y="2136"/>
                      </a:lnTo>
                      <a:lnTo>
                        <a:pt x="576" y="2092"/>
                      </a:lnTo>
                      <a:lnTo>
                        <a:pt x="648" y="2052"/>
                      </a:lnTo>
                      <a:lnTo>
                        <a:pt x="792" y="1970"/>
                      </a:lnTo>
                      <a:lnTo>
                        <a:pt x="1066" y="1822"/>
                      </a:lnTo>
                      <a:lnTo>
                        <a:pt x="1186" y="1754"/>
                      </a:lnTo>
                      <a:lnTo>
                        <a:pt x="1240" y="1724"/>
                      </a:lnTo>
                      <a:lnTo>
                        <a:pt x="1288" y="1694"/>
                      </a:lnTo>
                      <a:lnTo>
                        <a:pt x="1332" y="1666"/>
                      </a:lnTo>
                      <a:lnTo>
                        <a:pt x="1368" y="1640"/>
                      </a:lnTo>
                      <a:lnTo>
                        <a:pt x="1396" y="1618"/>
                      </a:lnTo>
                      <a:lnTo>
                        <a:pt x="1418" y="1596"/>
                      </a:lnTo>
                      <a:lnTo>
                        <a:pt x="1462" y="1538"/>
                      </a:lnTo>
                      <a:lnTo>
                        <a:pt x="1506" y="1478"/>
                      </a:lnTo>
                      <a:lnTo>
                        <a:pt x="1548" y="1416"/>
                      </a:lnTo>
                      <a:lnTo>
                        <a:pt x="1588" y="1354"/>
                      </a:lnTo>
                      <a:lnTo>
                        <a:pt x="1626" y="1290"/>
                      </a:lnTo>
                      <a:lnTo>
                        <a:pt x="1662" y="1226"/>
                      </a:lnTo>
                      <a:lnTo>
                        <a:pt x="1734" y="1096"/>
                      </a:lnTo>
                      <a:lnTo>
                        <a:pt x="1804" y="966"/>
                      </a:lnTo>
                      <a:lnTo>
                        <a:pt x="1874" y="838"/>
                      </a:lnTo>
                      <a:lnTo>
                        <a:pt x="1912" y="776"/>
                      </a:lnTo>
                      <a:lnTo>
                        <a:pt x="1948" y="714"/>
                      </a:lnTo>
                      <a:lnTo>
                        <a:pt x="1988" y="652"/>
                      </a:lnTo>
                      <a:lnTo>
                        <a:pt x="2028" y="592"/>
                      </a:lnTo>
                      <a:lnTo>
                        <a:pt x="2070" y="534"/>
                      </a:lnTo>
                      <a:lnTo>
                        <a:pt x="2116" y="478"/>
                      </a:lnTo>
                      <a:lnTo>
                        <a:pt x="2162" y="424"/>
                      </a:lnTo>
                      <a:lnTo>
                        <a:pt x="2212" y="372"/>
                      </a:lnTo>
                      <a:lnTo>
                        <a:pt x="2264" y="322"/>
                      </a:lnTo>
                      <a:lnTo>
                        <a:pt x="2320" y="276"/>
                      </a:lnTo>
                      <a:lnTo>
                        <a:pt x="2380" y="232"/>
                      </a:lnTo>
                      <a:lnTo>
                        <a:pt x="2412" y="212"/>
                      </a:lnTo>
                      <a:lnTo>
                        <a:pt x="2444" y="192"/>
                      </a:lnTo>
                      <a:lnTo>
                        <a:pt x="2478" y="172"/>
                      </a:lnTo>
                      <a:lnTo>
                        <a:pt x="2512" y="154"/>
                      </a:lnTo>
                      <a:lnTo>
                        <a:pt x="2548" y="136"/>
                      </a:lnTo>
                      <a:lnTo>
                        <a:pt x="2584" y="120"/>
                      </a:lnTo>
                      <a:lnTo>
                        <a:pt x="2622" y="104"/>
                      </a:lnTo>
                      <a:lnTo>
                        <a:pt x="2662" y="90"/>
                      </a:lnTo>
                      <a:lnTo>
                        <a:pt x="2702" y="76"/>
                      </a:lnTo>
                      <a:lnTo>
                        <a:pt x="2742" y="64"/>
                      </a:lnTo>
                      <a:lnTo>
                        <a:pt x="2786" y="52"/>
                      </a:lnTo>
                      <a:lnTo>
                        <a:pt x="2830" y="42"/>
                      </a:lnTo>
                      <a:lnTo>
                        <a:pt x="2876" y="32"/>
                      </a:lnTo>
                      <a:lnTo>
                        <a:pt x="2922" y="24"/>
                      </a:lnTo>
                      <a:lnTo>
                        <a:pt x="2972" y="16"/>
                      </a:lnTo>
                      <a:lnTo>
                        <a:pt x="3022" y="10"/>
                      </a:lnTo>
                      <a:lnTo>
                        <a:pt x="3074" y="6"/>
                      </a:lnTo>
                      <a:lnTo>
                        <a:pt x="3126" y="2"/>
                      </a:lnTo>
                      <a:lnTo>
                        <a:pt x="3180" y="0"/>
                      </a:lnTo>
                      <a:lnTo>
                        <a:pt x="3234" y="0"/>
                      </a:lnTo>
                      <a:lnTo>
                        <a:pt x="3288" y="2"/>
                      </a:lnTo>
                      <a:lnTo>
                        <a:pt x="3340" y="4"/>
                      </a:lnTo>
                      <a:lnTo>
                        <a:pt x="3394" y="10"/>
                      </a:lnTo>
                      <a:lnTo>
                        <a:pt x="3446" y="18"/>
                      </a:lnTo>
                      <a:lnTo>
                        <a:pt x="3500" y="26"/>
                      </a:lnTo>
                      <a:lnTo>
                        <a:pt x="3552" y="36"/>
                      </a:lnTo>
                      <a:lnTo>
                        <a:pt x="3604" y="48"/>
                      </a:lnTo>
                      <a:lnTo>
                        <a:pt x="3654" y="60"/>
                      </a:lnTo>
                      <a:lnTo>
                        <a:pt x="3706" y="74"/>
                      </a:lnTo>
                      <a:lnTo>
                        <a:pt x="3758" y="90"/>
                      </a:lnTo>
                      <a:lnTo>
                        <a:pt x="3808" y="108"/>
                      </a:lnTo>
                      <a:lnTo>
                        <a:pt x="3858" y="126"/>
                      </a:lnTo>
                      <a:lnTo>
                        <a:pt x="3956" y="166"/>
                      </a:lnTo>
                      <a:lnTo>
                        <a:pt x="4054" y="210"/>
                      </a:lnTo>
                      <a:lnTo>
                        <a:pt x="4148" y="256"/>
                      </a:lnTo>
                      <a:lnTo>
                        <a:pt x="4240" y="306"/>
                      </a:lnTo>
                      <a:lnTo>
                        <a:pt x="4330" y="360"/>
                      </a:lnTo>
                      <a:lnTo>
                        <a:pt x="4418" y="414"/>
                      </a:lnTo>
                      <a:lnTo>
                        <a:pt x="4502" y="472"/>
                      </a:lnTo>
                      <a:lnTo>
                        <a:pt x="4582" y="530"/>
                      </a:lnTo>
                      <a:lnTo>
                        <a:pt x="4660" y="588"/>
                      </a:lnTo>
                      <a:lnTo>
                        <a:pt x="4736" y="646"/>
                      </a:lnTo>
                      <a:lnTo>
                        <a:pt x="4806" y="706"/>
                      </a:lnTo>
                      <a:lnTo>
                        <a:pt x="4874" y="762"/>
                      </a:lnTo>
                      <a:lnTo>
                        <a:pt x="4938" y="820"/>
                      </a:lnTo>
                      <a:lnTo>
                        <a:pt x="4998" y="874"/>
                      </a:lnTo>
                      <a:lnTo>
                        <a:pt x="5052" y="926"/>
                      </a:lnTo>
                      <a:lnTo>
                        <a:pt x="5150" y="1022"/>
                      </a:lnTo>
                      <a:lnTo>
                        <a:pt x="5228" y="1104"/>
                      </a:lnTo>
                      <a:lnTo>
                        <a:pt x="5284" y="1166"/>
                      </a:lnTo>
                      <a:lnTo>
                        <a:pt x="5332" y="1222"/>
                      </a:lnTo>
                      <a:close/>
                    </a:path>
                  </a:pathLst>
                </a:custGeom>
                <a:gradFill rotWithShape="1">
                  <a:gsLst>
                    <a:gs pos="0">
                      <a:srgbClr val="006D2A"/>
                    </a:gs>
                    <a:gs pos="50000">
                      <a:srgbClr val="009E41"/>
                    </a:gs>
                    <a:gs pos="100000">
                      <a:srgbClr val="00BD4F"/>
                    </a:gs>
                  </a:gsLst>
                  <a:lin ang="13500000" scaled="1"/>
                </a:grad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ndParaRPr>
                </a:p>
              </p:txBody>
            </p:sp>
            <p:sp>
              <p:nvSpPr>
                <p:cNvPr id="86" name="Freeform 7"/>
                <p:cNvSpPr>
                  <a:spLocks/>
                </p:cNvSpPr>
                <p:nvPr/>
              </p:nvSpPr>
              <p:spPr bwMode="auto">
                <a:xfrm>
                  <a:off x="-1754881" y="-3137690"/>
                  <a:ext cx="11126714" cy="4436281"/>
                </a:xfrm>
                <a:custGeom>
                  <a:avLst/>
                  <a:gdLst>
                    <a:gd name="T0" fmla="*/ 2382 w 7034"/>
                    <a:gd name="T1" fmla="*/ 1714 h 2792"/>
                    <a:gd name="T2" fmla="*/ 2542 w 7034"/>
                    <a:gd name="T3" fmla="*/ 1702 h 2792"/>
                    <a:gd name="T4" fmla="*/ 2734 w 7034"/>
                    <a:gd name="T5" fmla="*/ 1704 h 2792"/>
                    <a:gd name="T6" fmla="*/ 2954 w 7034"/>
                    <a:gd name="T7" fmla="*/ 1722 h 2792"/>
                    <a:gd name="T8" fmla="*/ 3462 w 7034"/>
                    <a:gd name="T9" fmla="*/ 1794 h 2792"/>
                    <a:gd name="T10" fmla="*/ 4032 w 7034"/>
                    <a:gd name="T11" fmla="*/ 1902 h 2792"/>
                    <a:gd name="T12" fmla="*/ 4632 w 7034"/>
                    <a:gd name="T13" fmla="*/ 2038 h 2792"/>
                    <a:gd name="T14" fmla="*/ 5422 w 7034"/>
                    <a:gd name="T15" fmla="*/ 2238 h 2792"/>
                    <a:gd name="T16" fmla="*/ 6430 w 7034"/>
                    <a:gd name="T17" fmla="*/ 2518 h 2792"/>
                    <a:gd name="T18" fmla="*/ 7034 w 7034"/>
                    <a:gd name="T19" fmla="*/ 2696 h 2792"/>
                    <a:gd name="T20" fmla="*/ 6804 w 7034"/>
                    <a:gd name="T21" fmla="*/ 2538 h 2792"/>
                    <a:gd name="T22" fmla="*/ 6368 w 7034"/>
                    <a:gd name="T23" fmla="*/ 2242 h 2792"/>
                    <a:gd name="T24" fmla="*/ 6054 w 7034"/>
                    <a:gd name="T25" fmla="*/ 2006 h 2792"/>
                    <a:gd name="T26" fmla="*/ 5848 w 7034"/>
                    <a:gd name="T27" fmla="*/ 1824 h 2792"/>
                    <a:gd name="T28" fmla="*/ 5694 w 7034"/>
                    <a:gd name="T29" fmla="*/ 1668 h 2792"/>
                    <a:gd name="T30" fmla="*/ 5540 w 7034"/>
                    <a:gd name="T31" fmla="*/ 1494 h 2792"/>
                    <a:gd name="T32" fmla="*/ 5384 w 7034"/>
                    <a:gd name="T33" fmla="*/ 1294 h 2792"/>
                    <a:gd name="T34" fmla="*/ 5282 w 7034"/>
                    <a:gd name="T35" fmla="*/ 1166 h 2792"/>
                    <a:gd name="T36" fmla="*/ 5050 w 7034"/>
                    <a:gd name="T37" fmla="*/ 926 h 2792"/>
                    <a:gd name="T38" fmla="*/ 4872 w 7034"/>
                    <a:gd name="T39" fmla="*/ 762 h 2792"/>
                    <a:gd name="T40" fmla="*/ 4658 w 7034"/>
                    <a:gd name="T41" fmla="*/ 588 h 2792"/>
                    <a:gd name="T42" fmla="*/ 4416 w 7034"/>
                    <a:gd name="T43" fmla="*/ 414 h 2792"/>
                    <a:gd name="T44" fmla="*/ 4146 w 7034"/>
                    <a:gd name="T45" fmla="*/ 256 h 2792"/>
                    <a:gd name="T46" fmla="*/ 3856 w 7034"/>
                    <a:gd name="T47" fmla="*/ 126 h 2792"/>
                    <a:gd name="T48" fmla="*/ 3704 w 7034"/>
                    <a:gd name="T49" fmla="*/ 74 h 2792"/>
                    <a:gd name="T50" fmla="*/ 3550 w 7034"/>
                    <a:gd name="T51" fmla="*/ 36 h 2792"/>
                    <a:gd name="T52" fmla="*/ 3392 w 7034"/>
                    <a:gd name="T53" fmla="*/ 10 h 2792"/>
                    <a:gd name="T54" fmla="*/ 3232 w 7034"/>
                    <a:gd name="T55" fmla="*/ 0 h 2792"/>
                    <a:gd name="T56" fmla="*/ 3124 w 7034"/>
                    <a:gd name="T57" fmla="*/ 2 h 2792"/>
                    <a:gd name="T58" fmla="*/ 2970 w 7034"/>
                    <a:gd name="T59" fmla="*/ 16 h 2792"/>
                    <a:gd name="T60" fmla="*/ 2828 w 7034"/>
                    <a:gd name="T61" fmla="*/ 42 h 2792"/>
                    <a:gd name="T62" fmla="*/ 2700 w 7034"/>
                    <a:gd name="T63" fmla="*/ 76 h 2792"/>
                    <a:gd name="T64" fmla="*/ 2582 w 7034"/>
                    <a:gd name="T65" fmla="*/ 120 h 2792"/>
                    <a:gd name="T66" fmla="*/ 2476 w 7034"/>
                    <a:gd name="T67" fmla="*/ 172 h 2792"/>
                    <a:gd name="T68" fmla="*/ 2378 w 7034"/>
                    <a:gd name="T69" fmla="*/ 232 h 2792"/>
                    <a:gd name="T70" fmla="*/ 2210 w 7034"/>
                    <a:gd name="T71" fmla="*/ 372 h 2792"/>
                    <a:gd name="T72" fmla="*/ 2068 w 7034"/>
                    <a:gd name="T73" fmla="*/ 534 h 2792"/>
                    <a:gd name="T74" fmla="*/ 1946 w 7034"/>
                    <a:gd name="T75" fmla="*/ 714 h 2792"/>
                    <a:gd name="T76" fmla="*/ 1802 w 7034"/>
                    <a:gd name="T77" fmla="*/ 966 h 2792"/>
                    <a:gd name="T78" fmla="*/ 1624 w 7034"/>
                    <a:gd name="T79" fmla="*/ 1290 h 2792"/>
                    <a:gd name="T80" fmla="*/ 1504 w 7034"/>
                    <a:gd name="T81" fmla="*/ 1478 h 2792"/>
                    <a:gd name="T82" fmla="*/ 1416 w 7034"/>
                    <a:gd name="T83" fmla="*/ 1596 h 2792"/>
                    <a:gd name="T84" fmla="*/ 1332 w 7034"/>
                    <a:gd name="T85" fmla="*/ 1666 h 2792"/>
                    <a:gd name="T86" fmla="*/ 1192 w 7034"/>
                    <a:gd name="T87" fmla="*/ 1752 h 2792"/>
                    <a:gd name="T88" fmla="*/ 666 w 7034"/>
                    <a:gd name="T89" fmla="*/ 2040 h 2792"/>
                    <a:gd name="T90" fmla="*/ 394 w 7034"/>
                    <a:gd name="T91" fmla="*/ 2206 h 2792"/>
                    <a:gd name="T92" fmla="*/ 218 w 7034"/>
                    <a:gd name="T93" fmla="*/ 2334 h 2792"/>
                    <a:gd name="T94" fmla="*/ 84 w 7034"/>
                    <a:gd name="T95" fmla="*/ 2464 h 2792"/>
                    <a:gd name="T96" fmla="*/ 38 w 7034"/>
                    <a:gd name="T97" fmla="*/ 2528 h 2792"/>
                    <a:gd name="T98" fmla="*/ 10 w 7034"/>
                    <a:gd name="T99" fmla="*/ 2592 h 2792"/>
                    <a:gd name="T100" fmla="*/ 0 w 7034"/>
                    <a:gd name="T101" fmla="*/ 2654 h 2792"/>
                    <a:gd name="T102" fmla="*/ 10 w 7034"/>
                    <a:gd name="T103" fmla="*/ 2714 h 2792"/>
                    <a:gd name="T104" fmla="*/ 44 w 7034"/>
                    <a:gd name="T105" fmla="*/ 2774 h 2792"/>
                    <a:gd name="T106" fmla="*/ 80 w 7034"/>
                    <a:gd name="T107" fmla="*/ 2746 h 2792"/>
                    <a:gd name="T108" fmla="*/ 242 w 7034"/>
                    <a:gd name="T109" fmla="*/ 2532 h 2792"/>
                    <a:gd name="T110" fmla="*/ 416 w 7034"/>
                    <a:gd name="T111" fmla="*/ 2358 h 2792"/>
                    <a:gd name="T112" fmla="*/ 600 w 7034"/>
                    <a:gd name="T113" fmla="*/ 2218 h 2792"/>
                    <a:gd name="T114" fmla="*/ 796 w 7034"/>
                    <a:gd name="T115" fmla="*/ 2106 h 2792"/>
                    <a:gd name="T116" fmla="*/ 1000 w 7034"/>
                    <a:gd name="T117" fmla="*/ 2018 h 2792"/>
                    <a:gd name="T118" fmla="*/ 1214 w 7034"/>
                    <a:gd name="T119" fmla="*/ 1950 h 2792"/>
                    <a:gd name="T120" fmla="*/ 1438 w 7034"/>
                    <a:gd name="T121" fmla="*/ 1894 h 2792"/>
                    <a:gd name="T122" fmla="*/ 1832 w 7034"/>
                    <a:gd name="T123" fmla="*/ 1816 h 2792"/>
                    <a:gd name="T124" fmla="*/ 2336 w 7034"/>
                    <a:gd name="T125" fmla="*/ 1722 h 27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7034"/>
                    <a:gd name="T190" fmla="*/ 0 h 2792"/>
                    <a:gd name="T191" fmla="*/ 7034 w 7034"/>
                    <a:gd name="T192" fmla="*/ 2792 h 279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7034" h="2792">
                      <a:moveTo>
                        <a:pt x="2336" y="1722"/>
                      </a:moveTo>
                      <a:lnTo>
                        <a:pt x="2336" y="1722"/>
                      </a:lnTo>
                      <a:lnTo>
                        <a:pt x="2382" y="1714"/>
                      </a:lnTo>
                      <a:lnTo>
                        <a:pt x="2432" y="1708"/>
                      </a:lnTo>
                      <a:lnTo>
                        <a:pt x="2484" y="1704"/>
                      </a:lnTo>
                      <a:lnTo>
                        <a:pt x="2542" y="1702"/>
                      </a:lnTo>
                      <a:lnTo>
                        <a:pt x="2602" y="1700"/>
                      </a:lnTo>
                      <a:lnTo>
                        <a:pt x="2666" y="1702"/>
                      </a:lnTo>
                      <a:lnTo>
                        <a:pt x="2734" y="1704"/>
                      </a:lnTo>
                      <a:lnTo>
                        <a:pt x="2804" y="1708"/>
                      </a:lnTo>
                      <a:lnTo>
                        <a:pt x="2878" y="1714"/>
                      </a:lnTo>
                      <a:lnTo>
                        <a:pt x="2954" y="1722"/>
                      </a:lnTo>
                      <a:lnTo>
                        <a:pt x="3114" y="1740"/>
                      </a:lnTo>
                      <a:lnTo>
                        <a:pt x="3284" y="1764"/>
                      </a:lnTo>
                      <a:lnTo>
                        <a:pt x="3462" y="1794"/>
                      </a:lnTo>
                      <a:lnTo>
                        <a:pt x="3646" y="1826"/>
                      </a:lnTo>
                      <a:lnTo>
                        <a:pt x="3836" y="1862"/>
                      </a:lnTo>
                      <a:lnTo>
                        <a:pt x="4032" y="1902"/>
                      </a:lnTo>
                      <a:lnTo>
                        <a:pt x="4230" y="1946"/>
                      </a:lnTo>
                      <a:lnTo>
                        <a:pt x="4430" y="1992"/>
                      </a:lnTo>
                      <a:lnTo>
                        <a:pt x="4632" y="2038"/>
                      </a:lnTo>
                      <a:lnTo>
                        <a:pt x="4834" y="2088"/>
                      </a:lnTo>
                      <a:lnTo>
                        <a:pt x="5032" y="2138"/>
                      </a:lnTo>
                      <a:lnTo>
                        <a:pt x="5422" y="2238"/>
                      </a:lnTo>
                      <a:lnTo>
                        <a:pt x="5792" y="2338"/>
                      </a:lnTo>
                      <a:lnTo>
                        <a:pt x="6132" y="2432"/>
                      </a:lnTo>
                      <a:lnTo>
                        <a:pt x="6430" y="2518"/>
                      </a:lnTo>
                      <a:lnTo>
                        <a:pt x="6680" y="2590"/>
                      </a:lnTo>
                      <a:lnTo>
                        <a:pt x="6870" y="2648"/>
                      </a:lnTo>
                      <a:lnTo>
                        <a:pt x="7034" y="2696"/>
                      </a:lnTo>
                      <a:lnTo>
                        <a:pt x="6918" y="2616"/>
                      </a:lnTo>
                      <a:lnTo>
                        <a:pt x="6804" y="2538"/>
                      </a:lnTo>
                      <a:lnTo>
                        <a:pt x="6582" y="2390"/>
                      </a:lnTo>
                      <a:lnTo>
                        <a:pt x="6474" y="2316"/>
                      </a:lnTo>
                      <a:lnTo>
                        <a:pt x="6368" y="2242"/>
                      </a:lnTo>
                      <a:lnTo>
                        <a:pt x="6262" y="2168"/>
                      </a:lnTo>
                      <a:lnTo>
                        <a:pt x="6158" y="2088"/>
                      </a:lnTo>
                      <a:lnTo>
                        <a:pt x="6054" y="2006"/>
                      </a:lnTo>
                      <a:lnTo>
                        <a:pt x="5952" y="1918"/>
                      </a:lnTo>
                      <a:lnTo>
                        <a:pt x="5900" y="1872"/>
                      </a:lnTo>
                      <a:lnTo>
                        <a:pt x="5848" y="1824"/>
                      </a:lnTo>
                      <a:lnTo>
                        <a:pt x="5798" y="1774"/>
                      </a:lnTo>
                      <a:lnTo>
                        <a:pt x="5746" y="1722"/>
                      </a:lnTo>
                      <a:lnTo>
                        <a:pt x="5694" y="1668"/>
                      </a:lnTo>
                      <a:lnTo>
                        <a:pt x="5642" y="1612"/>
                      </a:lnTo>
                      <a:lnTo>
                        <a:pt x="5592" y="1554"/>
                      </a:lnTo>
                      <a:lnTo>
                        <a:pt x="5540" y="1494"/>
                      </a:lnTo>
                      <a:lnTo>
                        <a:pt x="5488" y="1430"/>
                      </a:lnTo>
                      <a:lnTo>
                        <a:pt x="5436" y="1364"/>
                      </a:lnTo>
                      <a:lnTo>
                        <a:pt x="5384" y="1294"/>
                      </a:lnTo>
                      <a:lnTo>
                        <a:pt x="5330" y="1222"/>
                      </a:lnTo>
                      <a:lnTo>
                        <a:pt x="5282" y="1166"/>
                      </a:lnTo>
                      <a:lnTo>
                        <a:pt x="5226" y="1104"/>
                      </a:lnTo>
                      <a:lnTo>
                        <a:pt x="5148" y="1022"/>
                      </a:lnTo>
                      <a:lnTo>
                        <a:pt x="5050" y="926"/>
                      </a:lnTo>
                      <a:lnTo>
                        <a:pt x="4996" y="874"/>
                      </a:lnTo>
                      <a:lnTo>
                        <a:pt x="4936" y="820"/>
                      </a:lnTo>
                      <a:lnTo>
                        <a:pt x="4872" y="762"/>
                      </a:lnTo>
                      <a:lnTo>
                        <a:pt x="4804" y="706"/>
                      </a:lnTo>
                      <a:lnTo>
                        <a:pt x="4734" y="646"/>
                      </a:lnTo>
                      <a:lnTo>
                        <a:pt x="4658" y="588"/>
                      </a:lnTo>
                      <a:lnTo>
                        <a:pt x="4580" y="530"/>
                      </a:lnTo>
                      <a:lnTo>
                        <a:pt x="4500" y="472"/>
                      </a:lnTo>
                      <a:lnTo>
                        <a:pt x="4416" y="414"/>
                      </a:lnTo>
                      <a:lnTo>
                        <a:pt x="4328" y="360"/>
                      </a:lnTo>
                      <a:lnTo>
                        <a:pt x="4238" y="306"/>
                      </a:lnTo>
                      <a:lnTo>
                        <a:pt x="4146" y="256"/>
                      </a:lnTo>
                      <a:lnTo>
                        <a:pt x="4052" y="210"/>
                      </a:lnTo>
                      <a:lnTo>
                        <a:pt x="3954" y="166"/>
                      </a:lnTo>
                      <a:lnTo>
                        <a:pt x="3856" y="126"/>
                      </a:lnTo>
                      <a:lnTo>
                        <a:pt x="3806" y="108"/>
                      </a:lnTo>
                      <a:lnTo>
                        <a:pt x="3756" y="90"/>
                      </a:lnTo>
                      <a:lnTo>
                        <a:pt x="3704" y="74"/>
                      </a:lnTo>
                      <a:lnTo>
                        <a:pt x="3652" y="60"/>
                      </a:lnTo>
                      <a:lnTo>
                        <a:pt x="3602" y="48"/>
                      </a:lnTo>
                      <a:lnTo>
                        <a:pt x="3550" y="36"/>
                      </a:lnTo>
                      <a:lnTo>
                        <a:pt x="3498" y="26"/>
                      </a:lnTo>
                      <a:lnTo>
                        <a:pt x="3444" y="18"/>
                      </a:lnTo>
                      <a:lnTo>
                        <a:pt x="3392" y="10"/>
                      </a:lnTo>
                      <a:lnTo>
                        <a:pt x="3338" y="4"/>
                      </a:lnTo>
                      <a:lnTo>
                        <a:pt x="3286" y="2"/>
                      </a:lnTo>
                      <a:lnTo>
                        <a:pt x="3232" y="0"/>
                      </a:lnTo>
                      <a:lnTo>
                        <a:pt x="3178" y="0"/>
                      </a:lnTo>
                      <a:lnTo>
                        <a:pt x="3124" y="2"/>
                      </a:lnTo>
                      <a:lnTo>
                        <a:pt x="3072" y="6"/>
                      </a:lnTo>
                      <a:lnTo>
                        <a:pt x="3020" y="10"/>
                      </a:lnTo>
                      <a:lnTo>
                        <a:pt x="2970" y="16"/>
                      </a:lnTo>
                      <a:lnTo>
                        <a:pt x="2920" y="24"/>
                      </a:lnTo>
                      <a:lnTo>
                        <a:pt x="2874" y="32"/>
                      </a:lnTo>
                      <a:lnTo>
                        <a:pt x="2828" y="42"/>
                      </a:lnTo>
                      <a:lnTo>
                        <a:pt x="2784" y="52"/>
                      </a:lnTo>
                      <a:lnTo>
                        <a:pt x="2740" y="64"/>
                      </a:lnTo>
                      <a:lnTo>
                        <a:pt x="2700" y="76"/>
                      </a:lnTo>
                      <a:lnTo>
                        <a:pt x="2660" y="90"/>
                      </a:lnTo>
                      <a:lnTo>
                        <a:pt x="2620" y="104"/>
                      </a:lnTo>
                      <a:lnTo>
                        <a:pt x="2582" y="120"/>
                      </a:lnTo>
                      <a:lnTo>
                        <a:pt x="2546" y="136"/>
                      </a:lnTo>
                      <a:lnTo>
                        <a:pt x="2510" y="154"/>
                      </a:lnTo>
                      <a:lnTo>
                        <a:pt x="2476" y="172"/>
                      </a:lnTo>
                      <a:lnTo>
                        <a:pt x="2442" y="192"/>
                      </a:lnTo>
                      <a:lnTo>
                        <a:pt x="2410" y="212"/>
                      </a:lnTo>
                      <a:lnTo>
                        <a:pt x="2378" y="232"/>
                      </a:lnTo>
                      <a:lnTo>
                        <a:pt x="2318" y="276"/>
                      </a:lnTo>
                      <a:lnTo>
                        <a:pt x="2262" y="322"/>
                      </a:lnTo>
                      <a:lnTo>
                        <a:pt x="2210" y="372"/>
                      </a:lnTo>
                      <a:lnTo>
                        <a:pt x="2160" y="424"/>
                      </a:lnTo>
                      <a:lnTo>
                        <a:pt x="2114" y="478"/>
                      </a:lnTo>
                      <a:lnTo>
                        <a:pt x="2068" y="534"/>
                      </a:lnTo>
                      <a:lnTo>
                        <a:pt x="2026" y="592"/>
                      </a:lnTo>
                      <a:lnTo>
                        <a:pt x="1986" y="652"/>
                      </a:lnTo>
                      <a:lnTo>
                        <a:pt x="1946" y="714"/>
                      </a:lnTo>
                      <a:lnTo>
                        <a:pt x="1910" y="776"/>
                      </a:lnTo>
                      <a:lnTo>
                        <a:pt x="1872" y="838"/>
                      </a:lnTo>
                      <a:lnTo>
                        <a:pt x="1802" y="966"/>
                      </a:lnTo>
                      <a:lnTo>
                        <a:pt x="1732" y="1096"/>
                      </a:lnTo>
                      <a:lnTo>
                        <a:pt x="1660" y="1226"/>
                      </a:lnTo>
                      <a:lnTo>
                        <a:pt x="1624" y="1290"/>
                      </a:lnTo>
                      <a:lnTo>
                        <a:pt x="1586" y="1354"/>
                      </a:lnTo>
                      <a:lnTo>
                        <a:pt x="1546" y="1416"/>
                      </a:lnTo>
                      <a:lnTo>
                        <a:pt x="1504" y="1478"/>
                      </a:lnTo>
                      <a:lnTo>
                        <a:pt x="1460" y="1538"/>
                      </a:lnTo>
                      <a:lnTo>
                        <a:pt x="1416" y="1596"/>
                      </a:lnTo>
                      <a:lnTo>
                        <a:pt x="1394" y="1616"/>
                      </a:lnTo>
                      <a:lnTo>
                        <a:pt x="1366" y="1640"/>
                      </a:lnTo>
                      <a:lnTo>
                        <a:pt x="1332" y="1666"/>
                      </a:lnTo>
                      <a:lnTo>
                        <a:pt x="1290" y="1692"/>
                      </a:lnTo>
                      <a:lnTo>
                        <a:pt x="1244" y="1720"/>
                      </a:lnTo>
                      <a:lnTo>
                        <a:pt x="1192" y="1752"/>
                      </a:lnTo>
                      <a:lnTo>
                        <a:pt x="1074" y="1816"/>
                      </a:lnTo>
                      <a:lnTo>
                        <a:pt x="806" y="1962"/>
                      </a:lnTo>
                      <a:lnTo>
                        <a:pt x="666" y="2040"/>
                      </a:lnTo>
                      <a:lnTo>
                        <a:pt x="526" y="2122"/>
                      </a:lnTo>
                      <a:lnTo>
                        <a:pt x="458" y="2164"/>
                      </a:lnTo>
                      <a:lnTo>
                        <a:pt x="394" y="2206"/>
                      </a:lnTo>
                      <a:lnTo>
                        <a:pt x="330" y="2248"/>
                      </a:lnTo>
                      <a:lnTo>
                        <a:pt x="272" y="2292"/>
                      </a:lnTo>
                      <a:lnTo>
                        <a:pt x="218" y="2334"/>
                      </a:lnTo>
                      <a:lnTo>
                        <a:pt x="168" y="2378"/>
                      </a:lnTo>
                      <a:lnTo>
                        <a:pt x="122" y="2420"/>
                      </a:lnTo>
                      <a:lnTo>
                        <a:pt x="84" y="2464"/>
                      </a:lnTo>
                      <a:lnTo>
                        <a:pt x="66" y="2486"/>
                      </a:lnTo>
                      <a:lnTo>
                        <a:pt x="52" y="2506"/>
                      </a:lnTo>
                      <a:lnTo>
                        <a:pt x="38" y="2528"/>
                      </a:lnTo>
                      <a:lnTo>
                        <a:pt x="26" y="2550"/>
                      </a:lnTo>
                      <a:lnTo>
                        <a:pt x="16" y="2570"/>
                      </a:lnTo>
                      <a:lnTo>
                        <a:pt x="10" y="2592"/>
                      </a:lnTo>
                      <a:lnTo>
                        <a:pt x="4" y="2612"/>
                      </a:lnTo>
                      <a:lnTo>
                        <a:pt x="0" y="2632"/>
                      </a:lnTo>
                      <a:lnTo>
                        <a:pt x="0" y="2654"/>
                      </a:lnTo>
                      <a:lnTo>
                        <a:pt x="0" y="2674"/>
                      </a:lnTo>
                      <a:lnTo>
                        <a:pt x="4" y="2694"/>
                      </a:lnTo>
                      <a:lnTo>
                        <a:pt x="10" y="2714"/>
                      </a:lnTo>
                      <a:lnTo>
                        <a:pt x="18" y="2734"/>
                      </a:lnTo>
                      <a:lnTo>
                        <a:pt x="30" y="2754"/>
                      </a:lnTo>
                      <a:lnTo>
                        <a:pt x="44" y="2774"/>
                      </a:lnTo>
                      <a:lnTo>
                        <a:pt x="60" y="2792"/>
                      </a:lnTo>
                      <a:lnTo>
                        <a:pt x="80" y="2746"/>
                      </a:lnTo>
                      <a:lnTo>
                        <a:pt x="134" y="2670"/>
                      </a:lnTo>
                      <a:lnTo>
                        <a:pt x="188" y="2600"/>
                      </a:lnTo>
                      <a:lnTo>
                        <a:pt x="242" y="2532"/>
                      </a:lnTo>
                      <a:lnTo>
                        <a:pt x="300" y="2470"/>
                      </a:lnTo>
                      <a:lnTo>
                        <a:pt x="358" y="2412"/>
                      </a:lnTo>
                      <a:lnTo>
                        <a:pt x="416" y="2358"/>
                      </a:lnTo>
                      <a:lnTo>
                        <a:pt x="476" y="2308"/>
                      </a:lnTo>
                      <a:lnTo>
                        <a:pt x="538" y="2262"/>
                      </a:lnTo>
                      <a:lnTo>
                        <a:pt x="600" y="2218"/>
                      </a:lnTo>
                      <a:lnTo>
                        <a:pt x="664" y="2178"/>
                      </a:lnTo>
                      <a:lnTo>
                        <a:pt x="730" y="2142"/>
                      </a:lnTo>
                      <a:lnTo>
                        <a:pt x="796" y="2106"/>
                      </a:lnTo>
                      <a:lnTo>
                        <a:pt x="862" y="2076"/>
                      </a:lnTo>
                      <a:lnTo>
                        <a:pt x="930" y="2046"/>
                      </a:lnTo>
                      <a:lnTo>
                        <a:pt x="1000" y="2018"/>
                      </a:lnTo>
                      <a:lnTo>
                        <a:pt x="1070" y="1994"/>
                      </a:lnTo>
                      <a:lnTo>
                        <a:pt x="1142" y="1970"/>
                      </a:lnTo>
                      <a:lnTo>
                        <a:pt x="1214" y="1950"/>
                      </a:lnTo>
                      <a:lnTo>
                        <a:pt x="1288" y="1930"/>
                      </a:lnTo>
                      <a:lnTo>
                        <a:pt x="1362" y="1910"/>
                      </a:lnTo>
                      <a:lnTo>
                        <a:pt x="1438" y="1894"/>
                      </a:lnTo>
                      <a:lnTo>
                        <a:pt x="1514" y="1876"/>
                      </a:lnTo>
                      <a:lnTo>
                        <a:pt x="1670" y="1846"/>
                      </a:lnTo>
                      <a:lnTo>
                        <a:pt x="1832" y="1816"/>
                      </a:lnTo>
                      <a:lnTo>
                        <a:pt x="1996" y="1786"/>
                      </a:lnTo>
                      <a:lnTo>
                        <a:pt x="2164" y="1756"/>
                      </a:lnTo>
                      <a:lnTo>
                        <a:pt x="2336" y="1722"/>
                      </a:lnTo>
                      <a:close/>
                    </a:path>
                  </a:pathLst>
                </a:custGeom>
                <a:gradFill rotWithShape="1">
                  <a:gsLst>
                    <a:gs pos="0">
                      <a:srgbClr val="92D050"/>
                    </a:gs>
                    <a:gs pos="50000">
                      <a:srgbClr val="92D050"/>
                    </a:gs>
                    <a:gs pos="100000">
                      <a:srgbClr val="00BD4F"/>
                    </a:gs>
                  </a:gsLst>
                  <a:lin ang="13500000" scaled="1"/>
                </a:grad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ndParaRPr>
                </a:p>
              </p:txBody>
            </p:sp>
          </p:grpSp>
          <p:sp>
            <p:nvSpPr>
              <p:cNvPr id="84" name="Freeform 20"/>
              <p:cNvSpPr>
                <a:spLocks/>
              </p:cNvSpPr>
              <p:nvPr/>
            </p:nvSpPr>
            <p:spPr bwMode="auto">
              <a:xfrm>
                <a:off x="-414558" y="3186966"/>
                <a:ext cx="9982261" cy="1130807"/>
              </a:xfrm>
              <a:custGeom>
                <a:avLst/>
                <a:gdLst>
                  <a:gd name="T0" fmla="*/ 2292 w 6888"/>
                  <a:gd name="T1" fmla="*/ 112 h 1108"/>
                  <a:gd name="T2" fmla="*/ 2376 w 6888"/>
                  <a:gd name="T3" fmla="*/ 106 h 1108"/>
                  <a:gd name="T4" fmla="*/ 2472 w 6888"/>
                  <a:gd name="T5" fmla="*/ 104 h 1108"/>
                  <a:gd name="T6" fmla="*/ 2694 w 6888"/>
                  <a:gd name="T7" fmla="*/ 114 h 1108"/>
                  <a:gd name="T8" fmla="*/ 2956 w 6888"/>
                  <a:gd name="T9" fmla="*/ 142 h 1108"/>
                  <a:gd name="T10" fmla="*/ 3246 w 6888"/>
                  <a:gd name="T11" fmla="*/ 184 h 1108"/>
                  <a:gd name="T12" fmla="*/ 3564 w 6888"/>
                  <a:gd name="T13" fmla="*/ 238 h 1108"/>
                  <a:gd name="T14" fmla="*/ 3898 w 6888"/>
                  <a:gd name="T15" fmla="*/ 302 h 1108"/>
                  <a:gd name="T16" fmla="*/ 4244 w 6888"/>
                  <a:gd name="T17" fmla="*/ 376 h 1108"/>
                  <a:gd name="T18" fmla="*/ 4944 w 6888"/>
                  <a:gd name="T19" fmla="*/ 536 h 1108"/>
                  <a:gd name="T20" fmla="*/ 5616 w 6888"/>
                  <a:gd name="T21" fmla="*/ 704 h 1108"/>
                  <a:gd name="T22" fmla="*/ 6206 w 6888"/>
                  <a:gd name="T23" fmla="*/ 862 h 1108"/>
                  <a:gd name="T24" fmla="*/ 6664 w 6888"/>
                  <a:gd name="T25" fmla="*/ 990 h 1108"/>
                  <a:gd name="T26" fmla="*/ 6826 w 6888"/>
                  <a:gd name="T27" fmla="*/ 1038 h 1108"/>
                  <a:gd name="T28" fmla="*/ 6888 w 6888"/>
                  <a:gd name="T29" fmla="*/ 1016 h 1108"/>
                  <a:gd name="T30" fmla="*/ 6744 w 6888"/>
                  <a:gd name="T31" fmla="*/ 918 h 1108"/>
                  <a:gd name="T32" fmla="*/ 6346 w 6888"/>
                  <a:gd name="T33" fmla="*/ 802 h 1108"/>
                  <a:gd name="T34" fmla="*/ 5808 w 6888"/>
                  <a:gd name="T35" fmla="*/ 656 h 1108"/>
                  <a:gd name="T36" fmla="*/ 5176 w 6888"/>
                  <a:gd name="T37" fmla="*/ 492 h 1108"/>
                  <a:gd name="T38" fmla="*/ 4498 w 6888"/>
                  <a:gd name="T39" fmla="*/ 328 h 1108"/>
                  <a:gd name="T40" fmla="*/ 3988 w 6888"/>
                  <a:gd name="T41" fmla="*/ 216 h 1108"/>
                  <a:gd name="T42" fmla="*/ 3658 w 6888"/>
                  <a:gd name="T43" fmla="*/ 150 h 1108"/>
                  <a:gd name="T44" fmla="*/ 3344 w 6888"/>
                  <a:gd name="T45" fmla="*/ 94 h 1108"/>
                  <a:gd name="T46" fmla="*/ 3050 w 6888"/>
                  <a:gd name="T47" fmla="*/ 50 h 1108"/>
                  <a:gd name="T48" fmla="*/ 2784 w 6888"/>
                  <a:gd name="T49" fmla="*/ 18 h 1108"/>
                  <a:gd name="T50" fmla="*/ 2550 w 6888"/>
                  <a:gd name="T51" fmla="*/ 2 h 1108"/>
                  <a:gd name="T52" fmla="*/ 2402 w 6888"/>
                  <a:gd name="T53" fmla="*/ 2 h 1108"/>
                  <a:gd name="T54" fmla="*/ 2314 w 6888"/>
                  <a:gd name="T55" fmla="*/ 8 h 1108"/>
                  <a:gd name="T56" fmla="*/ 2276 w 6888"/>
                  <a:gd name="T57" fmla="*/ 12 h 1108"/>
                  <a:gd name="T58" fmla="*/ 1774 w 6888"/>
                  <a:gd name="T59" fmla="*/ 86 h 1108"/>
                  <a:gd name="T60" fmla="*/ 1458 w 6888"/>
                  <a:gd name="T61" fmla="*/ 142 h 1108"/>
                  <a:gd name="T62" fmla="*/ 1306 w 6888"/>
                  <a:gd name="T63" fmla="*/ 176 h 1108"/>
                  <a:gd name="T64" fmla="*/ 1158 w 6888"/>
                  <a:gd name="T65" fmla="*/ 216 h 1108"/>
                  <a:gd name="T66" fmla="*/ 1014 w 6888"/>
                  <a:gd name="T67" fmla="*/ 262 h 1108"/>
                  <a:gd name="T68" fmla="*/ 874 w 6888"/>
                  <a:gd name="T69" fmla="*/ 318 h 1108"/>
                  <a:gd name="T70" fmla="*/ 738 w 6888"/>
                  <a:gd name="T71" fmla="*/ 382 h 1108"/>
                  <a:gd name="T72" fmla="*/ 606 w 6888"/>
                  <a:gd name="T73" fmla="*/ 458 h 1108"/>
                  <a:gd name="T74" fmla="*/ 480 w 6888"/>
                  <a:gd name="T75" fmla="*/ 544 h 1108"/>
                  <a:gd name="T76" fmla="*/ 358 w 6888"/>
                  <a:gd name="T77" fmla="*/ 644 h 1108"/>
                  <a:gd name="T78" fmla="*/ 240 w 6888"/>
                  <a:gd name="T79" fmla="*/ 758 h 1108"/>
                  <a:gd name="T80" fmla="*/ 128 w 6888"/>
                  <a:gd name="T81" fmla="*/ 890 h 1108"/>
                  <a:gd name="T82" fmla="*/ 20 w 6888"/>
                  <a:gd name="T83" fmla="*/ 1036 h 1108"/>
                  <a:gd name="T84" fmla="*/ 0 w 6888"/>
                  <a:gd name="T85" fmla="*/ 1084 h 1108"/>
                  <a:gd name="T86" fmla="*/ 26 w 6888"/>
                  <a:gd name="T87" fmla="*/ 1108 h 1108"/>
                  <a:gd name="T88" fmla="*/ 32 w 6888"/>
                  <a:gd name="T89" fmla="*/ 1104 h 1108"/>
                  <a:gd name="T90" fmla="*/ 108 w 6888"/>
                  <a:gd name="T91" fmla="*/ 1034 h 1108"/>
                  <a:gd name="T92" fmla="*/ 160 w 6888"/>
                  <a:gd name="T93" fmla="*/ 968 h 1108"/>
                  <a:gd name="T94" fmla="*/ 268 w 6888"/>
                  <a:gd name="T95" fmla="*/ 846 h 1108"/>
                  <a:gd name="T96" fmla="*/ 380 w 6888"/>
                  <a:gd name="T97" fmla="*/ 738 h 1108"/>
                  <a:gd name="T98" fmla="*/ 496 w 6888"/>
                  <a:gd name="T99" fmla="*/ 640 h 1108"/>
                  <a:gd name="T100" fmla="*/ 616 w 6888"/>
                  <a:gd name="T101" fmla="*/ 556 h 1108"/>
                  <a:gd name="T102" fmla="*/ 740 w 6888"/>
                  <a:gd name="T103" fmla="*/ 482 h 1108"/>
                  <a:gd name="T104" fmla="*/ 870 w 6888"/>
                  <a:gd name="T105" fmla="*/ 420 h 1108"/>
                  <a:gd name="T106" fmla="*/ 1002 w 6888"/>
                  <a:gd name="T107" fmla="*/ 364 h 1108"/>
                  <a:gd name="T108" fmla="*/ 1138 w 6888"/>
                  <a:gd name="T109" fmla="*/ 316 h 1108"/>
                  <a:gd name="T110" fmla="*/ 1278 w 6888"/>
                  <a:gd name="T111" fmla="*/ 276 h 1108"/>
                  <a:gd name="T112" fmla="*/ 1424 w 6888"/>
                  <a:gd name="T113" fmla="*/ 242 h 1108"/>
                  <a:gd name="T114" fmla="*/ 1648 w 6888"/>
                  <a:gd name="T115" fmla="*/ 198 h 1108"/>
                  <a:gd name="T116" fmla="*/ 1962 w 6888"/>
                  <a:gd name="T117" fmla="*/ 152 h 1108"/>
                  <a:gd name="T118" fmla="*/ 2292 w 6888"/>
                  <a:gd name="T119" fmla="*/ 112 h 110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6888"/>
                  <a:gd name="T181" fmla="*/ 0 h 1108"/>
                  <a:gd name="T182" fmla="*/ 6888 w 6888"/>
                  <a:gd name="T183" fmla="*/ 1108 h 110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6888" h="1108">
                    <a:moveTo>
                      <a:pt x="2292" y="112"/>
                    </a:moveTo>
                    <a:lnTo>
                      <a:pt x="2292" y="112"/>
                    </a:lnTo>
                    <a:lnTo>
                      <a:pt x="2332" y="108"/>
                    </a:lnTo>
                    <a:lnTo>
                      <a:pt x="2376" y="106"/>
                    </a:lnTo>
                    <a:lnTo>
                      <a:pt x="2422" y="104"/>
                    </a:lnTo>
                    <a:lnTo>
                      <a:pt x="2472" y="104"/>
                    </a:lnTo>
                    <a:lnTo>
                      <a:pt x="2578" y="106"/>
                    </a:lnTo>
                    <a:lnTo>
                      <a:pt x="2694" y="114"/>
                    </a:lnTo>
                    <a:lnTo>
                      <a:pt x="2820" y="126"/>
                    </a:lnTo>
                    <a:lnTo>
                      <a:pt x="2956" y="142"/>
                    </a:lnTo>
                    <a:lnTo>
                      <a:pt x="3098" y="160"/>
                    </a:lnTo>
                    <a:lnTo>
                      <a:pt x="3246" y="184"/>
                    </a:lnTo>
                    <a:lnTo>
                      <a:pt x="3402" y="210"/>
                    </a:lnTo>
                    <a:lnTo>
                      <a:pt x="3564" y="238"/>
                    </a:lnTo>
                    <a:lnTo>
                      <a:pt x="3728" y="270"/>
                    </a:lnTo>
                    <a:lnTo>
                      <a:pt x="3898" y="302"/>
                    </a:lnTo>
                    <a:lnTo>
                      <a:pt x="4070" y="338"/>
                    </a:lnTo>
                    <a:lnTo>
                      <a:pt x="4244" y="376"/>
                    </a:lnTo>
                    <a:lnTo>
                      <a:pt x="4594" y="454"/>
                    </a:lnTo>
                    <a:lnTo>
                      <a:pt x="4944" y="536"/>
                    </a:lnTo>
                    <a:lnTo>
                      <a:pt x="5288" y="622"/>
                    </a:lnTo>
                    <a:lnTo>
                      <a:pt x="5616" y="704"/>
                    </a:lnTo>
                    <a:lnTo>
                      <a:pt x="5924" y="786"/>
                    </a:lnTo>
                    <a:lnTo>
                      <a:pt x="6206" y="862"/>
                    </a:lnTo>
                    <a:lnTo>
                      <a:pt x="6454" y="930"/>
                    </a:lnTo>
                    <a:lnTo>
                      <a:pt x="6664" y="990"/>
                    </a:lnTo>
                    <a:lnTo>
                      <a:pt x="6826" y="1038"/>
                    </a:lnTo>
                    <a:lnTo>
                      <a:pt x="6888" y="1016"/>
                    </a:lnTo>
                    <a:lnTo>
                      <a:pt x="6744" y="918"/>
                    </a:lnTo>
                    <a:lnTo>
                      <a:pt x="6566" y="866"/>
                    </a:lnTo>
                    <a:lnTo>
                      <a:pt x="6346" y="802"/>
                    </a:lnTo>
                    <a:lnTo>
                      <a:pt x="6092" y="732"/>
                    </a:lnTo>
                    <a:lnTo>
                      <a:pt x="5808" y="656"/>
                    </a:lnTo>
                    <a:lnTo>
                      <a:pt x="5500" y="574"/>
                    </a:lnTo>
                    <a:lnTo>
                      <a:pt x="5176" y="492"/>
                    </a:lnTo>
                    <a:lnTo>
                      <a:pt x="4840" y="410"/>
                    </a:lnTo>
                    <a:lnTo>
                      <a:pt x="4498" y="328"/>
                    </a:lnTo>
                    <a:lnTo>
                      <a:pt x="4156" y="252"/>
                    </a:lnTo>
                    <a:lnTo>
                      <a:pt x="3988" y="216"/>
                    </a:lnTo>
                    <a:lnTo>
                      <a:pt x="3822" y="182"/>
                    </a:lnTo>
                    <a:lnTo>
                      <a:pt x="3658" y="150"/>
                    </a:lnTo>
                    <a:lnTo>
                      <a:pt x="3498" y="122"/>
                    </a:lnTo>
                    <a:lnTo>
                      <a:pt x="3344" y="94"/>
                    </a:lnTo>
                    <a:lnTo>
                      <a:pt x="3194" y="70"/>
                    </a:lnTo>
                    <a:lnTo>
                      <a:pt x="3050" y="50"/>
                    </a:lnTo>
                    <a:lnTo>
                      <a:pt x="2914" y="32"/>
                    </a:lnTo>
                    <a:lnTo>
                      <a:pt x="2784" y="18"/>
                    </a:lnTo>
                    <a:lnTo>
                      <a:pt x="2662" y="8"/>
                    </a:lnTo>
                    <a:lnTo>
                      <a:pt x="2550" y="2"/>
                    </a:lnTo>
                    <a:lnTo>
                      <a:pt x="2448" y="0"/>
                    </a:lnTo>
                    <a:lnTo>
                      <a:pt x="2402" y="2"/>
                    </a:lnTo>
                    <a:lnTo>
                      <a:pt x="2356" y="4"/>
                    </a:lnTo>
                    <a:lnTo>
                      <a:pt x="2314" y="8"/>
                    </a:lnTo>
                    <a:lnTo>
                      <a:pt x="2276" y="12"/>
                    </a:lnTo>
                    <a:lnTo>
                      <a:pt x="1938" y="60"/>
                    </a:lnTo>
                    <a:lnTo>
                      <a:pt x="1774" y="86"/>
                    </a:lnTo>
                    <a:lnTo>
                      <a:pt x="1614" y="112"/>
                    </a:lnTo>
                    <a:lnTo>
                      <a:pt x="1458" y="142"/>
                    </a:lnTo>
                    <a:lnTo>
                      <a:pt x="1382" y="158"/>
                    </a:lnTo>
                    <a:lnTo>
                      <a:pt x="1306" y="176"/>
                    </a:lnTo>
                    <a:lnTo>
                      <a:pt x="1232" y="194"/>
                    </a:lnTo>
                    <a:lnTo>
                      <a:pt x="1158" y="216"/>
                    </a:lnTo>
                    <a:lnTo>
                      <a:pt x="1086" y="238"/>
                    </a:lnTo>
                    <a:lnTo>
                      <a:pt x="1014" y="262"/>
                    </a:lnTo>
                    <a:lnTo>
                      <a:pt x="942" y="288"/>
                    </a:lnTo>
                    <a:lnTo>
                      <a:pt x="874" y="318"/>
                    </a:lnTo>
                    <a:lnTo>
                      <a:pt x="804" y="348"/>
                    </a:lnTo>
                    <a:lnTo>
                      <a:pt x="738" y="382"/>
                    </a:lnTo>
                    <a:lnTo>
                      <a:pt x="672" y="418"/>
                    </a:lnTo>
                    <a:lnTo>
                      <a:pt x="606" y="458"/>
                    </a:lnTo>
                    <a:lnTo>
                      <a:pt x="542" y="500"/>
                    </a:lnTo>
                    <a:lnTo>
                      <a:pt x="480" y="544"/>
                    </a:lnTo>
                    <a:lnTo>
                      <a:pt x="418" y="592"/>
                    </a:lnTo>
                    <a:lnTo>
                      <a:pt x="358" y="644"/>
                    </a:lnTo>
                    <a:lnTo>
                      <a:pt x="298" y="700"/>
                    </a:lnTo>
                    <a:lnTo>
                      <a:pt x="240" y="758"/>
                    </a:lnTo>
                    <a:lnTo>
                      <a:pt x="184" y="822"/>
                    </a:lnTo>
                    <a:lnTo>
                      <a:pt x="128" y="890"/>
                    </a:lnTo>
                    <a:lnTo>
                      <a:pt x="74" y="960"/>
                    </a:lnTo>
                    <a:lnTo>
                      <a:pt x="20" y="1036"/>
                    </a:lnTo>
                    <a:lnTo>
                      <a:pt x="0" y="1084"/>
                    </a:lnTo>
                    <a:lnTo>
                      <a:pt x="26" y="1108"/>
                    </a:lnTo>
                    <a:lnTo>
                      <a:pt x="28" y="1106"/>
                    </a:lnTo>
                    <a:lnTo>
                      <a:pt x="32" y="1104"/>
                    </a:lnTo>
                    <a:lnTo>
                      <a:pt x="50" y="1090"/>
                    </a:lnTo>
                    <a:lnTo>
                      <a:pt x="108" y="1034"/>
                    </a:lnTo>
                    <a:lnTo>
                      <a:pt x="160" y="968"/>
                    </a:lnTo>
                    <a:lnTo>
                      <a:pt x="214" y="906"/>
                    </a:lnTo>
                    <a:lnTo>
                      <a:pt x="268" y="846"/>
                    </a:lnTo>
                    <a:lnTo>
                      <a:pt x="324" y="790"/>
                    </a:lnTo>
                    <a:lnTo>
                      <a:pt x="380" y="738"/>
                    </a:lnTo>
                    <a:lnTo>
                      <a:pt x="438" y="688"/>
                    </a:lnTo>
                    <a:lnTo>
                      <a:pt x="496" y="640"/>
                    </a:lnTo>
                    <a:lnTo>
                      <a:pt x="556" y="598"/>
                    </a:lnTo>
                    <a:lnTo>
                      <a:pt x="616" y="556"/>
                    </a:lnTo>
                    <a:lnTo>
                      <a:pt x="678" y="518"/>
                    </a:lnTo>
                    <a:lnTo>
                      <a:pt x="740" y="482"/>
                    </a:lnTo>
                    <a:lnTo>
                      <a:pt x="804" y="450"/>
                    </a:lnTo>
                    <a:lnTo>
                      <a:pt x="870" y="420"/>
                    </a:lnTo>
                    <a:lnTo>
                      <a:pt x="934" y="390"/>
                    </a:lnTo>
                    <a:lnTo>
                      <a:pt x="1002" y="364"/>
                    </a:lnTo>
                    <a:lnTo>
                      <a:pt x="1070" y="340"/>
                    </a:lnTo>
                    <a:lnTo>
                      <a:pt x="1138" y="316"/>
                    </a:lnTo>
                    <a:lnTo>
                      <a:pt x="1208" y="296"/>
                    </a:lnTo>
                    <a:lnTo>
                      <a:pt x="1278" y="276"/>
                    </a:lnTo>
                    <a:lnTo>
                      <a:pt x="1350" y="258"/>
                    </a:lnTo>
                    <a:lnTo>
                      <a:pt x="1424" y="242"/>
                    </a:lnTo>
                    <a:lnTo>
                      <a:pt x="1498" y="226"/>
                    </a:lnTo>
                    <a:lnTo>
                      <a:pt x="1648" y="198"/>
                    </a:lnTo>
                    <a:lnTo>
                      <a:pt x="1804" y="174"/>
                    </a:lnTo>
                    <a:lnTo>
                      <a:pt x="1962" y="152"/>
                    </a:lnTo>
                    <a:lnTo>
                      <a:pt x="2126" y="132"/>
                    </a:lnTo>
                    <a:lnTo>
                      <a:pt x="2292" y="112"/>
                    </a:lnTo>
                    <a:close/>
                  </a:path>
                </a:pathLst>
              </a:custGeom>
              <a:gradFill rotWithShape="1">
                <a:gsLst>
                  <a:gs pos="0">
                    <a:srgbClr val="006D2A"/>
                  </a:gs>
                  <a:gs pos="92999">
                    <a:srgbClr val="008E39"/>
                  </a:gs>
                  <a:gs pos="100000">
                    <a:srgbClr val="007432"/>
                  </a:gs>
                </a:gsLst>
                <a:lin ang="13500000" scaled="1"/>
              </a:grad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ndParaRPr>
              </a:p>
            </p:txBody>
          </p:sp>
        </p:grpSp>
        <p:grpSp>
          <p:nvGrpSpPr>
            <p:cNvPr id="3348" name="Gruppe 153"/>
            <p:cNvGrpSpPr>
              <a:grpSpLocks/>
            </p:cNvGrpSpPr>
            <p:nvPr/>
          </p:nvGrpSpPr>
          <p:grpSpPr bwMode="auto">
            <a:xfrm rot="218200" flipH="1">
              <a:off x="1207904" y="3882259"/>
              <a:ext cx="2003930" cy="1101108"/>
              <a:chOff x="-576612" y="1443989"/>
              <a:chExt cx="10055528" cy="3995643"/>
            </a:xfrm>
          </p:grpSpPr>
          <p:grpSp>
            <p:nvGrpSpPr>
              <p:cNvPr id="3349" name="Gruppe 16"/>
              <p:cNvGrpSpPr>
                <a:grpSpLocks/>
              </p:cNvGrpSpPr>
              <p:nvPr/>
            </p:nvGrpSpPr>
            <p:grpSpPr bwMode="auto">
              <a:xfrm>
                <a:off x="-576612" y="1443989"/>
                <a:ext cx="10055528" cy="3995643"/>
                <a:chOff x="-1933470" y="-2879092"/>
                <a:chExt cx="11208392" cy="5993464"/>
              </a:xfrm>
            </p:grpSpPr>
            <p:sp>
              <p:nvSpPr>
                <p:cNvPr id="81" name="Freeform 6"/>
                <p:cNvSpPr>
                  <a:spLocks/>
                </p:cNvSpPr>
                <p:nvPr/>
              </p:nvSpPr>
              <p:spPr bwMode="auto">
                <a:xfrm>
                  <a:off x="-1878613" y="-2875708"/>
                  <a:ext cx="11157842" cy="5993430"/>
                </a:xfrm>
                <a:custGeom>
                  <a:avLst/>
                  <a:gdLst>
                    <a:gd name="T0" fmla="*/ 5438 w 7036"/>
                    <a:gd name="T1" fmla="*/ 1364 h 3760"/>
                    <a:gd name="T2" fmla="*/ 5644 w 7036"/>
                    <a:gd name="T3" fmla="*/ 1612 h 3760"/>
                    <a:gd name="T4" fmla="*/ 5850 w 7036"/>
                    <a:gd name="T5" fmla="*/ 1824 h 3760"/>
                    <a:gd name="T6" fmla="*/ 6160 w 7036"/>
                    <a:gd name="T7" fmla="*/ 2088 h 3760"/>
                    <a:gd name="T8" fmla="*/ 6584 w 7036"/>
                    <a:gd name="T9" fmla="*/ 2390 h 3760"/>
                    <a:gd name="T10" fmla="*/ 7036 w 7036"/>
                    <a:gd name="T11" fmla="*/ 2696 h 3760"/>
                    <a:gd name="T12" fmla="*/ 5784 w 7036"/>
                    <a:gd name="T13" fmla="*/ 3094 h 3760"/>
                    <a:gd name="T14" fmla="*/ 4056 w 7036"/>
                    <a:gd name="T15" fmla="*/ 3600 h 3760"/>
                    <a:gd name="T16" fmla="*/ 3546 w 7036"/>
                    <a:gd name="T17" fmla="*/ 3734 h 3760"/>
                    <a:gd name="T18" fmla="*/ 3242 w 7036"/>
                    <a:gd name="T19" fmla="*/ 3756 h 3760"/>
                    <a:gd name="T20" fmla="*/ 2782 w 7036"/>
                    <a:gd name="T21" fmla="*/ 3750 h 3760"/>
                    <a:gd name="T22" fmla="*/ 2492 w 7036"/>
                    <a:gd name="T23" fmla="*/ 3716 h 3760"/>
                    <a:gd name="T24" fmla="*/ 2210 w 7036"/>
                    <a:gd name="T25" fmla="*/ 3654 h 3760"/>
                    <a:gd name="T26" fmla="*/ 1960 w 7036"/>
                    <a:gd name="T27" fmla="*/ 3550 h 3760"/>
                    <a:gd name="T28" fmla="*/ 1832 w 7036"/>
                    <a:gd name="T29" fmla="*/ 3462 h 3760"/>
                    <a:gd name="T30" fmla="*/ 1750 w 7036"/>
                    <a:gd name="T31" fmla="*/ 3378 h 3760"/>
                    <a:gd name="T32" fmla="*/ 1638 w 7036"/>
                    <a:gd name="T33" fmla="*/ 3208 h 3760"/>
                    <a:gd name="T34" fmla="*/ 1508 w 7036"/>
                    <a:gd name="T35" fmla="*/ 2948 h 3760"/>
                    <a:gd name="T36" fmla="*/ 1434 w 7036"/>
                    <a:gd name="T37" fmla="*/ 2732 h 3760"/>
                    <a:gd name="T38" fmla="*/ 1382 w 7036"/>
                    <a:gd name="T39" fmla="*/ 2480 h 3760"/>
                    <a:gd name="T40" fmla="*/ 1344 w 7036"/>
                    <a:gd name="T41" fmla="*/ 2330 h 3760"/>
                    <a:gd name="T42" fmla="*/ 1284 w 7036"/>
                    <a:gd name="T43" fmla="*/ 2244 h 3760"/>
                    <a:gd name="T44" fmla="*/ 1176 w 7036"/>
                    <a:gd name="T45" fmla="*/ 2182 h 3760"/>
                    <a:gd name="T46" fmla="*/ 1048 w 7036"/>
                    <a:gd name="T47" fmla="*/ 2152 h 3760"/>
                    <a:gd name="T48" fmla="*/ 928 w 7036"/>
                    <a:gd name="T49" fmla="*/ 2168 h 3760"/>
                    <a:gd name="T50" fmla="*/ 784 w 7036"/>
                    <a:gd name="T51" fmla="*/ 2238 h 3760"/>
                    <a:gd name="T52" fmla="*/ 548 w 7036"/>
                    <a:gd name="T53" fmla="*/ 2406 h 3760"/>
                    <a:gd name="T54" fmla="*/ 206 w 7036"/>
                    <a:gd name="T55" fmla="*/ 2712 h 3760"/>
                    <a:gd name="T56" fmla="*/ 88 w 7036"/>
                    <a:gd name="T57" fmla="*/ 2816 h 3760"/>
                    <a:gd name="T58" fmla="*/ 34 w 7036"/>
                    <a:gd name="T59" fmla="*/ 2758 h 3760"/>
                    <a:gd name="T60" fmla="*/ 2 w 7036"/>
                    <a:gd name="T61" fmla="*/ 2676 h 3760"/>
                    <a:gd name="T62" fmla="*/ 10 w 7036"/>
                    <a:gd name="T63" fmla="*/ 2592 h 3760"/>
                    <a:gd name="T64" fmla="*/ 54 w 7036"/>
                    <a:gd name="T65" fmla="*/ 2506 h 3760"/>
                    <a:gd name="T66" fmla="*/ 150 w 7036"/>
                    <a:gd name="T67" fmla="*/ 2396 h 3760"/>
                    <a:gd name="T68" fmla="*/ 372 w 7036"/>
                    <a:gd name="T69" fmla="*/ 2222 h 3760"/>
                    <a:gd name="T70" fmla="*/ 648 w 7036"/>
                    <a:gd name="T71" fmla="*/ 2052 h 3760"/>
                    <a:gd name="T72" fmla="*/ 1240 w 7036"/>
                    <a:gd name="T73" fmla="*/ 1724 h 3760"/>
                    <a:gd name="T74" fmla="*/ 1396 w 7036"/>
                    <a:gd name="T75" fmla="*/ 1618 h 3760"/>
                    <a:gd name="T76" fmla="*/ 1506 w 7036"/>
                    <a:gd name="T77" fmla="*/ 1478 h 3760"/>
                    <a:gd name="T78" fmla="*/ 1662 w 7036"/>
                    <a:gd name="T79" fmla="*/ 1226 h 3760"/>
                    <a:gd name="T80" fmla="*/ 1912 w 7036"/>
                    <a:gd name="T81" fmla="*/ 776 h 3760"/>
                    <a:gd name="T82" fmla="*/ 2070 w 7036"/>
                    <a:gd name="T83" fmla="*/ 534 h 3760"/>
                    <a:gd name="T84" fmla="*/ 2264 w 7036"/>
                    <a:gd name="T85" fmla="*/ 322 h 3760"/>
                    <a:gd name="T86" fmla="*/ 2444 w 7036"/>
                    <a:gd name="T87" fmla="*/ 192 h 3760"/>
                    <a:gd name="T88" fmla="*/ 2584 w 7036"/>
                    <a:gd name="T89" fmla="*/ 120 h 3760"/>
                    <a:gd name="T90" fmla="*/ 2742 w 7036"/>
                    <a:gd name="T91" fmla="*/ 64 h 3760"/>
                    <a:gd name="T92" fmla="*/ 2922 w 7036"/>
                    <a:gd name="T93" fmla="*/ 24 h 3760"/>
                    <a:gd name="T94" fmla="*/ 3126 w 7036"/>
                    <a:gd name="T95" fmla="*/ 2 h 3760"/>
                    <a:gd name="T96" fmla="*/ 3288 w 7036"/>
                    <a:gd name="T97" fmla="*/ 2 h 3760"/>
                    <a:gd name="T98" fmla="*/ 3500 w 7036"/>
                    <a:gd name="T99" fmla="*/ 26 h 3760"/>
                    <a:gd name="T100" fmla="*/ 3706 w 7036"/>
                    <a:gd name="T101" fmla="*/ 74 h 3760"/>
                    <a:gd name="T102" fmla="*/ 3956 w 7036"/>
                    <a:gd name="T103" fmla="*/ 166 h 3760"/>
                    <a:gd name="T104" fmla="*/ 4330 w 7036"/>
                    <a:gd name="T105" fmla="*/ 360 h 3760"/>
                    <a:gd name="T106" fmla="*/ 4660 w 7036"/>
                    <a:gd name="T107" fmla="*/ 588 h 3760"/>
                    <a:gd name="T108" fmla="*/ 4938 w 7036"/>
                    <a:gd name="T109" fmla="*/ 820 h 3760"/>
                    <a:gd name="T110" fmla="*/ 5228 w 7036"/>
                    <a:gd name="T111" fmla="*/ 1104 h 376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036"/>
                    <a:gd name="T169" fmla="*/ 0 h 3760"/>
                    <a:gd name="T170" fmla="*/ 7036 w 7036"/>
                    <a:gd name="T171" fmla="*/ 3760 h 376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036" h="3760">
                      <a:moveTo>
                        <a:pt x="5332" y="1222"/>
                      </a:moveTo>
                      <a:lnTo>
                        <a:pt x="5332" y="1222"/>
                      </a:lnTo>
                      <a:lnTo>
                        <a:pt x="5386" y="1294"/>
                      </a:lnTo>
                      <a:lnTo>
                        <a:pt x="5438" y="1364"/>
                      </a:lnTo>
                      <a:lnTo>
                        <a:pt x="5490" y="1430"/>
                      </a:lnTo>
                      <a:lnTo>
                        <a:pt x="5542" y="1494"/>
                      </a:lnTo>
                      <a:lnTo>
                        <a:pt x="5594" y="1554"/>
                      </a:lnTo>
                      <a:lnTo>
                        <a:pt x="5644" y="1612"/>
                      </a:lnTo>
                      <a:lnTo>
                        <a:pt x="5696" y="1668"/>
                      </a:lnTo>
                      <a:lnTo>
                        <a:pt x="5748" y="1722"/>
                      </a:lnTo>
                      <a:lnTo>
                        <a:pt x="5800" y="1774"/>
                      </a:lnTo>
                      <a:lnTo>
                        <a:pt x="5850" y="1824"/>
                      </a:lnTo>
                      <a:lnTo>
                        <a:pt x="5902" y="1872"/>
                      </a:lnTo>
                      <a:lnTo>
                        <a:pt x="5954" y="1918"/>
                      </a:lnTo>
                      <a:lnTo>
                        <a:pt x="6056" y="2006"/>
                      </a:lnTo>
                      <a:lnTo>
                        <a:pt x="6160" y="2088"/>
                      </a:lnTo>
                      <a:lnTo>
                        <a:pt x="6264" y="2168"/>
                      </a:lnTo>
                      <a:lnTo>
                        <a:pt x="6370" y="2242"/>
                      </a:lnTo>
                      <a:lnTo>
                        <a:pt x="6476" y="2316"/>
                      </a:lnTo>
                      <a:lnTo>
                        <a:pt x="6584" y="2390"/>
                      </a:lnTo>
                      <a:lnTo>
                        <a:pt x="6806" y="2538"/>
                      </a:lnTo>
                      <a:lnTo>
                        <a:pt x="6920" y="2616"/>
                      </a:lnTo>
                      <a:lnTo>
                        <a:pt x="7036" y="2696"/>
                      </a:lnTo>
                      <a:lnTo>
                        <a:pt x="6882" y="2748"/>
                      </a:lnTo>
                      <a:lnTo>
                        <a:pt x="6700" y="2808"/>
                      </a:lnTo>
                      <a:lnTo>
                        <a:pt x="6272" y="2944"/>
                      </a:lnTo>
                      <a:lnTo>
                        <a:pt x="5784" y="3094"/>
                      </a:lnTo>
                      <a:lnTo>
                        <a:pt x="5266" y="3250"/>
                      </a:lnTo>
                      <a:lnTo>
                        <a:pt x="4752" y="3400"/>
                      </a:lnTo>
                      <a:lnTo>
                        <a:pt x="4272" y="3538"/>
                      </a:lnTo>
                      <a:lnTo>
                        <a:pt x="4056" y="3600"/>
                      </a:lnTo>
                      <a:lnTo>
                        <a:pt x="3860" y="3652"/>
                      </a:lnTo>
                      <a:lnTo>
                        <a:pt x="3690" y="3698"/>
                      </a:lnTo>
                      <a:lnTo>
                        <a:pt x="3546" y="3734"/>
                      </a:lnTo>
                      <a:lnTo>
                        <a:pt x="3502" y="3740"/>
                      </a:lnTo>
                      <a:lnTo>
                        <a:pt x="3434" y="3746"/>
                      </a:lnTo>
                      <a:lnTo>
                        <a:pt x="3346" y="3752"/>
                      </a:lnTo>
                      <a:lnTo>
                        <a:pt x="3242" y="3756"/>
                      </a:lnTo>
                      <a:lnTo>
                        <a:pt x="3122" y="3760"/>
                      </a:lnTo>
                      <a:lnTo>
                        <a:pt x="2992" y="3758"/>
                      </a:lnTo>
                      <a:lnTo>
                        <a:pt x="2854" y="3754"/>
                      </a:lnTo>
                      <a:lnTo>
                        <a:pt x="2782" y="3750"/>
                      </a:lnTo>
                      <a:lnTo>
                        <a:pt x="2710" y="3744"/>
                      </a:lnTo>
                      <a:lnTo>
                        <a:pt x="2638" y="3736"/>
                      </a:lnTo>
                      <a:lnTo>
                        <a:pt x="2564" y="3728"/>
                      </a:lnTo>
                      <a:lnTo>
                        <a:pt x="2492" y="3716"/>
                      </a:lnTo>
                      <a:lnTo>
                        <a:pt x="2420" y="3704"/>
                      </a:lnTo>
                      <a:lnTo>
                        <a:pt x="2348" y="3690"/>
                      </a:lnTo>
                      <a:lnTo>
                        <a:pt x="2278" y="3672"/>
                      </a:lnTo>
                      <a:lnTo>
                        <a:pt x="2210" y="3654"/>
                      </a:lnTo>
                      <a:lnTo>
                        <a:pt x="2144" y="3632"/>
                      </a:lnTo>
                      <a:lnTo>
                        <a:pt x="2080" y="3608"/>
                      </a:lnTo>
                      <a:lnTo>
                        <a:pt x="2018" y="3580"/>
                      </a:lnTo>
                      <a:lnTo>
                        <a:pt x="1960" y="3550"/>
                      </a:lnTo>
                      <a:lnTo>
                        <a:pt x="1906" y="3518"/>
                      </a:lnTo>
                      <a:lnTo>
                        <a:pt x="1880" y="3500"/>
                      </a:lnTo>
                      <a:lnTo>
                        <a:pt x="1856" y="3482"/>
                      </a:lnTo>
                      <a:lnTo>
                        <a:pt x="1832" y="3462"/>
                      </a:lnTo>
                      <a:lnTo>
                        <a:pt x="1810" y="3444"/>
                      </a:lnTo>
                      <a:lnTo>
                        <a:pt x="1788" y="3422"/>
                      </a:lnTo>
                      <a:lnTo>
                        <a:pt x="1768" y="3400"/>
                      </a:lnTo>
                      <a:lnTo>
                        <a:pt x="1750" y="3378"/>
                      </a:lnTo>
                      <a:lnTo>
                        <a:pt x="1732" y="3356"/>
                      </a:lnTo>
                      <a:lnTo>
                        <a:pt x="1682" y="3280"/>
                      </a:lnTo>
                      <a:lnTo>
                        <a:pt x="1638" y="3208"/>
                      </a:lnTo>
                      <a:lnTo>
                        <a:pt x="1600" y="3138"/>
                      </a:lnTo>
                      <a:lnTo>
                        <a:pt x="1564" y="3072"/>
                      </a:lnTo>
                      <a:lnTo>
                        <a:pt x="1534" y="3010"/>
                      </a:lnTo>
                      <a:lnTo>
                        <a:pt x="1508" y="2948"/>
                      </a:lnTo>
                      <a:lnTo>
                        <a:pt x="1484" y="2890"/>
                      </a:lnTo>
                      <a:lnTo>
                        <a:pt x="1466" y="2836"/>
                      </a:lnTo>
                      <a:lnTo>
                        <a:pt x="1448" y="2782"/>
                      </a:lnTo>
                      <a:lnTo>
                        <a:pt x="1434" y="2732"/>
                      </a:lnTo>
                      <a:lnTo>
                        <a:pt x="1422" y="2684"/>
                      </a:lnTo>
                      <a:lnTo>
                        <a:pt x="1412" y="2640"/>
                      </a:lnTo>
                      <a:lnTo>
                        <a:pt x="1396" y="2556"/>
                      </a:lnTo>
                      <a:lnTo>
                        <a:pt x="1382" y="2480"/>
                      </a:lnTo>
                      <a:lnTo>
                        <a:pt x="1368" y="2414"/>
                      </a:lnTo>
                      <a:lnTo>
                        <a:pt x="1362" y="2384"/>
                      </a:lnTo>
                      <a:lnTo>
                        <a:pt x="1354" y="2356"/>
                      </a:lnTo>
                      <a:lnTo>
                        <a:pt x="1344" y="2330"/>
                      </a:lnTo>
                      <a:lnTo>
                        <a:pt x="1332" y="2306"/>
                      </a:lnTo>
                      <a:lnTo>
                        <a:pt x="1318" y="2284"/>
                      </a:lnTo>
                      <a:lnTo>
                        <a:pt x="1302" y="2264"/>
                      </a:lnTo>
                      <a:lnTo>
                        <a:pt x="1284" y="2244"/>
                      </a:lnTo>
                      <a:lnTo>
                        <a:pt x="1262" y="2226"/>
                      </a:lnTo>
                      <a:lnTo>
                        <a:pt x="1238" y="2210"/>
                      </a:lnTo>
                      <a:lnTo>
                        <a:pt x="1208" y="2196"/>
                      </a:lnTo>
                      <a:lnTo>
                        <a:pt x="1176" y="2182"/>
                      </a:lnTo>
                      <a:lnTo>
                        <a:pt x="1138" y="2172"/>
                      </a:lnTo>
                      <a:lnTo>
                        <a:pt x="1096" y="2160"/>
                      </a:lnTo>
                      <a:lnTo>
                        <a:pt x="1048" y="2152"/>
                      </a:lnTo>
                      <a:lnTo>
                        <a:pt x="1020" y="2150"/>
                      </a:lnTo>
                      <a:lnTo>
                        <a:pt x="992" y="2152"/>
                      </a:lnTo>
                      <a:lnTo>
                        <a:pt x="962" y="2158"/>
                      </a:lnTo>
                      <a:lnTo>
                        <a:pt x="928" y="2168"/>
                      </a:lnTo>
                      <a:lnTo>
                        <a:pt x="894" y="2180"/>
                      </a:lnTo>
                      <a:lnTo>
                        <a:pt x="858" y="2198"/>
                      </a:lnTo>
                      <a:lnTo>
                        <a:pt x="822" y="2216"/>
                      </a:lnTo>
                      <a:lnTo>
                        <a:pt x="784" y="2238"/>
                      </a:lnTo>
                      <a:lnTo>
                        <a:pt x="746" y="2262"/>
                      </a:lnTo>
                      <a:lnTo>
                        <a:pt x="706" y="2288"/>
                      </a:lnTo>
                      <a:lnTo>
                        <a:pt x="628" y="2346"/>
                      </a:lnTo>
                      <a:lnTo>
                        <a:pt x="548" y="2406"/>
                      </a:lnTo>
                      <a:lnTo>
                        <a:pt x="470" y="2472"/>
                      </a:lnTo>
                      <a:lnTo>
                        <a:pt x="396" y="2536"/>
                      </a:lnTo>
                      <a:lnTo>
                        <a:pt x="326" y="2600"/>
                      </a:lnTo>
                      <a:lnTo>
                        <a:pt x="206" y="2712"/>
                      </a:lnTo>
                      <a:lnTo>
                        <a:pt x="122" y="2790"/>
                      </a:lnTo>
                      <a:lnTo>
                        <a:pt x="98" y="2810"/>
                      </a:lnTo>
                      <a:lnTo>
                        <a:pt x="90" y="2816"/>
                      </a:lnTo>
                      <a:lnTo>
                        <a:pt x="88" y="2816"/>
                      </a:lnTo>
                      <a:lnTo>
                        <a:pt x="66" y="2798"/>
                      </a:lnTo>
                      <a:lnTo>
                        <a:pt x="50" y="2778"/>
                      </a:lnTo>
                      <a:lnTo>
                        <a:pt x="34" y="2758"/>
                      </a:lnTo>
                      <a:lnTo>
                        <a:pt x="22" y="2738"/>
                      </a:lnTo>
                      <a:lnTo>
                        <a:pt x="14" y="2718"/>
                      </a:lnTo>
                      <a:lnTo>
                        <a:pt x="6" y="2698"/>
                      </a:lnTo>
                      <a:lnTo>
                        <a:pt x="2" y="2676"/>
                      </a:lnTo>
                      <a:lnTo>
                        <a:pt x="0" y="2656"/>
                      </a:lnTo>
                      <a:lnTo>
                        <a:pt x="2" y="2634"/>
                      </a:lnTo>
                      <a:lnTo>
                        <a:pt x="6" y="2614"/>
                      </a:lnTo>
                      <a:lnTo>
                        <a:pt x="10" y="2592"/>
                      </a:lnTo>
                      <a:lnTo>
                        <a:pt x="18" y="2570"/>
                      </a:lnTo>
                      <a:lnTo>
                        <a:pt x="28" y="2550"/>
                      </a:lnTo>
                      <a:lnTo>
                        <a:pt x="40" y="2528"/>
                      </a:lnTo>
                      <a:lnTo>
                        <a:pt x="54" y="2506"/>
                      </a:lnTo>
                      <a:lnTo>
                        <a:pt x="70" y="2484"/>
                      </a:lnTo>
                      <a:lnTo>
                        <a:pt x="86" y="2462"/>
                      </a:lnTo>
                      <a:lnTo>
                        <a:pt x="106" y="2440"/>
                      </a:lnTo>
                      <a:lnTo>
                        <a:pt x="150" y="2396"/>
                      </a:lnTo>
                      <a:lnTo>
                        <a:pt x="198" y="2352"/>
                      </a:lnTo>
                      <a:lnTo>
                        <a:pt x="252" y="2308"/>
                      </a:lnTo>
                      <a:lnTo>
                        <a:pt x="310" y="2264"/>
                      </a:lnTo>
                      <a:lnTo>
                        <a:pt x="372" y="2222"/>
                      </a:lnTo>
                      <a:lnTo>
                        <a:pt x="438" y="2178"/>
                      </a:lnTo>
                      <a:lnTo>
                        <a:pt x="506" y="2136"/>
                      </a:lnTo>
                      <a:lnTo>
                        <a:pt x="576" y="2092"/>
                      </a:lnTo>
                      <a:lnTo>
                        <a:pt x="648" y="2052"/>
                      </a:lnTo>
                      <a:lnTo>
                        <a:pt x="792" y="1970"/>
                      </a:lnTo>
                      <a:lnTo>
                        <a:pt x="1066" y="1822"/>
                      </a:lnTo>
                      <a:lnTo>
                        <a:pt x="1186" y="1754"/>
                      </a:lnTo>
                      <a:lnTo>
                        <a:pt x="1240" y="1724"/>
                      </a:lnTo>
                      <a:lnTo>
                        <a:pt x="1288" y="1694"/>
                      </a:lnTo>
                      <a:lnTo>
                        <a:pt x="1332" y="1666"/>
                      </a:lnTo>
                      <a:lnTo>
                        <a:pt x="1368" y="1640"/>
                      </a:lnTo>
                      <a:lnTo>
                        <a:pt x="1396" y="1618"/>
                      </a:lnTo>
                      <a:lnTo>
                        <a:pt x="1418" y="1596"/>
                      </a:lnTo>
                      <a:lnTo>
                        <a:pt x="1462" y="1538"/>
                      </a:lnTo>
                      <a:lnTo>
                        <a:pt x="1506" y="1478"/>
                      </a:lnTo>
                      <a:lnTo>
                        <a:pt x="1548" y="1416"/>
                      </a:lnTo>
                      <a:lnTo>
                        <a:pt x="1588" y="1354"/>
                      </a:lnTo>
                      <a:lnTo>
                        <a:pt x="1626" y="1290"/>
                      </a:lnTo>
                      <a:lnTo>
                        <a:pt x="1662" y="1226"/>
                      </a:lnTo>
                      <a:lnTo>
                        <a:pt x="1734" y="1096"/>
                      </a:lnTo>
                      <a:lnTo>
                        <a:pt x="1804" y="966"/>
                      </a:lnTo>
                      <a:lnTo>
                        <a:pt x="1874" y="838"/>
                      </a:lnTo>
                      <a:lnTo>
                        <a:pt x="1912" y="776"/>
                      </a:lnTo>
                      <a:lnTo>
                        <a:pt x="1948" y="714"/>
                      </a:lnTo>
                      <a:lnTo>
                        <a:pt x="1988" y="652"/>
                      </a:lnTo>
                      <a:lnTo>
                        <a:pt x="2028" y="592"/>
                      </a:lnTo>
                      <a:lnTo>
                        <a:pt x="2070" y="534"/>
                      </a:lnTo>
                      <a:lnTo>
                        <a:pt x="2116" y="478"/>
                      </a:lnTo>
                      <a:lnTo>
                        <a:pt x="2162" y="424"/>
                      </a:lnTo>
                      <a:lnTo>
                        <a:pt x="2212" y="372"/>
                      </a:lnTo>
                      <a:lnTo>
                        <a:pt x="2264" y="322"/>
                      </a:lnTo>
                      <a:lnTo>
                        <a:pt x="2320" y="276"/>
                      </a:lnTo>
                      <a:lnTo>
                        <a:pt x="2380" y="232"/>
                      </a:lnTo>
                      <a:lnTo>
                        <a:pt x="2412" y="212"/>
                      </a:lnTo>
                      <a:lnTo>
                        <a:pt x="2444" y="192"/>
                      </a:lnTo>
                      <a:lnTo>
                        <a:pt x="2478" y="172"/>
                      </a:lnTo>
                      <a:lnTo>
                        <a:pt x="2512" y="154"/>
                      </a:lnTo>
                      <a:lnTo>
                        <a:pt x="2548" y="136"/>
                      </a:lnTo>
                      <a:lnTo>
                        <a:pt x="2584" y="120"/>
                      </a:lnTo>
                      <a:lnTo>
                        <a:pt x="2622" y="104"/>
                      </a:lnTo>
                      <a:lnTo>
                        <a:pt x="2662" y="90"/>
                      </a:lnTo>
                      <a:lnTo>
                        <a:pt x="2702" y="76"/>
                      </a:lnTo>
                      <a:lnTo>
                        <a:pt x="2742" y="64"/>
                      </a:lnTo>
                      <a:lnTo>
                        <a:pt x="2786" y="52"/>
                      </a:lnTo>
                      <a:lnTo>
                        <a:pt x="2830" y="42"/>
                      </a:lnTo>
                      <a:lnTo>
                        <a:pt x="2876" y="32"/>
                      </a:lnTo>
                      <a:lnTo>
                        <a:pt x="2922" y="24"/>
                      </a:lnTo>
                      <a:lnTo>
                        <a:pt x="2972" y="16"/>
                      </a:lnTo>
                      <a:lnTo>
                        <a:pt x="3022" y="10"/>
                      </a:lnTo>
                      <a:lnTo>
                        <a:pt x="3074" y="6"/>
                      </a:lnTo>
                      <a:lnTo>
                        <a:pt x="3126" y="2"/>
                      </a:lnTo>
                      <a:lnTo>
                        <a:pt x="3180" y="0"/>
                      </a:lnTo>
                      <a:lnTo>
                        <a:pt x="3234" y="0"/>
                      </a:lnTo>
                      <a:lnTo>
                        <a:pt x="3288" y="2"/>
                      </a:lnTo>
                      <a:lnTo>
                        <a:pt x="3340" y="4"/>
                      </a:lnTo>
                      <a:lnTo>
                        <a:pt x="3394" y="10"/>
                      </a:lnTo>
                      <a:lnTo>
                        <a:pt x="3446" y="18"/>
                      </a:lnTo>
                      <a:lnTo>
                        <a:pt x="3500" y="26"/>
                      </a:lnTo>
                      <a:lnTo>
                        <a:pt x="3552" y="36"/>
                      </a:lnTo>
                      <a:lnTo>
                        <a:pt x="3604" y="48"/>
                      </a:lnTo>
                      <a:lnTo>
                        <a:pt x="3654" y="60"/>
                      </a:lnTo>
                      <a:lnTo>
                        <a:pt x="3706" y="74"/>
                      </a:lnTo>
                      <a:lnTo>
                        <a:pt x="3758" y="90"/>
                      </a:lnTo>
                      <a:lnTo>
                        <a:pt x="3808" y="108"/>
                      </a:lnTo>
                      <a:lnTo>
                        <a:pt x="3858" y="126"/>
                      </a:lnTo>
                      <a:lnTo>
                        <a:pt x="3956" y="166"/>
                      </a:lnTo>
                      <a:lnTo>
                        <a:pt x="4054" y="210"/>
                      </a:lnTo>
                      <a:lnTo>
                        <a:pt x="4148" y="256"/>
                      </a:lnTo>
                      <a:lnTo>
                        <a:pt x="4240" y="306"/>
                      </a:lnTo>
                      <a:lnTo>
                        <a:pt x="4330" y="360"/>
                      </a:lnTo>
                      <a:lnTo>
                        <a:pt x="4418" y="414"/>
                      </a:lnTo>
                      <a:lnTo>
                        <a:pt x="4502" y="472"/>
                      </a:lnTo>
                      <a:lnTo>
                        <a:pt x="4582" y="530"/>
                      </a:lnTo>
                      <a:lnTo>
                        <a:pt x="4660" y="588"/>
                      </a:lnTo>
                      <a:lnTo>
                        <a:pt x="4736" y="646"/>
                      </a:lnTo>
                      <a:lnTo>
                        <a:pt x="4806" y="706"/>
                      </a:lnTo>
                      <a:lnTo>
                        <a:pt x="4874" y="762"/>
                      </a:lnTo>
                      <a:lnTo>
                        <a:pt x="4938" y="820"/>
                      </a:lnTo>
                      <a:lnTo>
                        <a:pt x="4998" y="874"/>
                      </a:lnTo>
                      <a:lnTo>
                        <a:pt x="5052" y="926"/>
                      </a:lnTo>
                      <a:lnTo>
                        <a:pt x="5150" y="1022"/>
                      </a:lnTo>
                      <a:lnTo>
                        <a:pt x="5228" y="1104"/>
                      </a:lnTo>
                      <a:lnTo>
                        <a:pt x="5284" y="1166"/>
                      </a:lnTo>
                      <a:lnTo>
                        <a:pt x="5332" y="1222"/>
                      </a:lnTo>
                      <a:close/>
                    </a:path>
                  </a:pathLst>
                </a:custGeom>
                <a:gradFill rotWithShape="1">
                  <a:gsLst>
                    <a:gs pos="0">
                      <a:srgbClr val="006D2A"/>
                    </a:gs>
                    <a:gs pos="50000">
                      <a:srgbClr val="009E41"/>
                    </a:gs>
                    <a:gs pos="100000">
                      <a:srgbClr val="00BD4F"/>
                    </a:gs>
                  </a:gsLst>
                  <a:lin ang="13500000" scaled="1"/>
                </a:grad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ndParaRPr>
                </a:p>
              </p:txBody>
            </p:sp>
            <p:sp>
              <p:nvSpPr>
                <p:cNvPr id="82" name="Freeform 7"/>
                <p:cNvSpPr>
                  <a:spLocks/>
                </p:cNvSpPr>
                <p:nvPr/>
              </p:nvSpPr>
              <p:spPr bwMode="auto">
                <a:xfrm>
                  <a:off x="-1769737" y="-2924173"/>
                  <a:ext cx="11157876" cy="4441577"/>
                </a:xfrm>
                <a:custGeom>
                  <a:avLst/>
                  <a:gdLst>
                    <a:gd name="T0" fmla="*/ 2382 w 7034"/>
                    <a:gd name="T1" fmla="*/ 1714 h 2792"/>
                    <a:gd name="T2" fmla="*/ 2542 w 7034"/>
                    <a:gd name="T3" fmla="*/ 1702 h 2792"/>
                    <a:gd name="T4" fmla="*/ 2734 w 7034"/>
                    <a:gd name="T5" fmla="*/ 1704 h 2792"/>
                    <a:gd name="T6" fmla="*/ 2954 w 7034"/>
                    <a:gd name="T7" fmla="*/ 1722 h 2792"/>
                    <a:gd name="T8" fmla="*/ 3462 w 7034"/>
                    <a:gd name="T9" fmla="*/ 1794 h 2792"/>
                    <a:gd name="T10" fmla="*/ 4032 w 7034"/>
                    <a:gd name="T11" fmla="*/ 1902 h 2792"/>
                    <a:gd name="T12" fmla="*/ 4632 w 7034"/>
                    <a:gd name="T13" fmla="*/ 2038 h 2792"/>
                    <a:gd name="T14" fmla="*/ 5422 w 7034"/>
                    <a:gd name="T15" fmla="*/ 2238 h 2792"/>
                    <a:gd name="T16" fmla="*/ 6430 w 7034"/>
                    <a:gd name="T17" fmla="*/ 2518 h 2792"/>
                    <a:gd name="T18" fmla="*/ 7034 w 7034"/>
                    <a:gd name="T19" fmla="*/ 2696 h 2792"/>
                    <a:gd name="T20" fmla="*/ 6804 w 7034"/>
                    <a:gd name="T21" fmla="*/ 2538 h 2792"/>
                    <a:gd name="T22" fmla="*/ 6368 w 7034"/>
                    <a:gd name="T23" fmla="*/ 2242 h 2792"/>
                    <a:gd name="T24" fmla="*/ 6054 w 7034"/>
                    <a:gd name="T25" fmla="*/ 2006 h 2792"/>
                    <a:gd name="T26" fmla="*/ 5848 w 7034"/>
                    <a:gd name="T27" fmla="*/ 1824 h 2792"/>
                    <a:gd name="T28" fmla="*/ 5694 w 7034"/>
                    <a:gd name="T29" fmla="*/ 1668 h 2792"/>
                    <a:gd name="T30" fmla="*/ 5540 w 7034"/>
                    <a:gd name="T31" fmla="*/ 1494 h 2792"/>
                    <a:gd name="T32" fmla="*/ 5384 w 7034"/>
                    <a:gd name="T33" fmla="*/ 1294 h 2792"/>
                    <a:gd name="T34" fmla="*/ 5282 w 7034"/>
                    <a:gd name="T35" fmla="*/ 1166 h 2792"/>
                    <a:gd name="T36" fmla="*/ 5050 w 7034"/>
                    <a:gd name="T37" fmla="*/ 926 h 2792"/>
                    <a:gd name="T38" fmla="*/ 4872 w 7034"/>
                    <a:gd name="T39" fmla="*/ 762 h 2792"/>
                    <a:gd name="T40" fmla="*/ 4658 w 7034"/>
                    <a:gd name="T41" fmla="*/ 588 h 2792"/>
                    <a:gd name="T42" fmla="*/ 4416 w 7034"/>
                    <a:gd name="T43" fmla="*/ 414 h 2792"/>
                    <a:gd name="T44" fmla="*/ 4146 w 7034"/>
                    <a:gd name="T45" fmla="*/ 256 h 2792"/>
                    <a:gd name="T46" fmla="*/ 3856 w 7034"/>
                    <a:gd name="T47" fmla="*/ 126 h 2792"/>
                    <a:gd name="T48" fmla="*/ 3704 w 7034"/>
                    <a:gd name="T49" fmla="*/ 74 h 2792"/>
                    <a:gd name="T50" fmla="*/ 3550 w 7034"/>
                    <a:gd name="T51" fmla="*/ 36 h 2792"/>
                    <a:gd name="T52" fmla="*/ 3392 w 7034"/>
                    <a:gd name="T53" fmla="*/ 10 h 2792"/>
                    <a:gd name="T54" fmla="*/ 3232 w 7034"/>
                    <a:gd name="T55" fmla="*/ 0 h 2792"/>
                    <a:gd name="T56" fmla="*/ 3124 w 7034"/>
                    <a:gd name="T57" fmla="*/ 2 h 2792"/>
                    <a:gd name="T58" fmla="*/ 2970 w 7034"/>
                    <a:gd name="T59" fmla="*/ 16 h 2792"/>
                    <a:gd name="T60" fmla="*/ 2828 w 7034"/>
                    <a:gd name="T61" fmla="*/ 42 h 2792"/>
                    <a:gd name="T62" fmla="*/ 2700 w 7034"/>
                    <a:gd name="T63" fmla="*/ 76 h 2792"/>
                    <a:gd name="T64" fmla="*/ 2582 w 7034"/>
                    <a:gd name="T65" fmla="*/ 120 h 2792"/>
                    <a:gd name="T66" fmla="*/ 2476 w 7034"/>
                    <a:gd name="T67" fmla="*/ 172 h 2792"/>
                    <a:gd name="T68" fmla="*/ 2378 w 7034"/>
                    <a:gd name="T69" fmla="*/ 232 h 2792"/>
                    <a:gd name="T70" fmla="*/ 2210 w 7034"/>
                    <a:gd name="T71" fmla="*/ 372 h 2792"/>
                    <a:gd name="T72" fmla="*/ 2068 w 7034"/>
                    <a:gd name="T73" fmla="*/ 534 h 2792"/>
                    <a:gd name="T74" fmla="*/ 1946 w 7034"/>
                    <a:gd name="T75" fmla="*/ 714 h 2792"/>
                    <a:gd name="T76" fmla="*/ 1802 w 7034"/>
                    <a:gd name="T77" fmla="*/ 966 h 2792"/>
                    <a:gd name="T78" fmla="*/ 1624 w 7034"/>
                    <a:gd name="T79" fmla="*/ 1290 h 2792"/>
                    <a:gd name="T80" fmla="*/ 1504 w 7034"/>
                    <a:gd name="T81" fmla="*/ 1478 h 2792"/>
                    <a:gd name="T82" fmla="*/ 1416 w 7034"/>
                    <a:gd name="T83" fmla="*/ 1596 h 2792"/>
                    <a:gd name="T84" fmla="*/ 1332 w 7034"/>
                    <a:gd name="T85" fmla="*/ 1666 h 2792"/>
                    <a:gd name="T86" fmla="*/ 1192 w 7034"/>
                    <a:gd name="T87" fmla="*/ 1752 h 2792"/>
                    <a:gd name="T88" fmla="*/ 666 w 7034"/>
                    <a:gd name="T89" fmla="*/ 2040 h 2792"/>
                    <a:gd name="T90" fmla="*/ 394 w 7034"/>
                    <a:gd name="T91" fmla="*/ 2206 h 2792"/>
                    <a:gd name="T92" fmla="*/ 218 w 7034"/>
                    <a:gd name="T93" fmla="*/ 2334 h 2792"/>
                    <a:gd name="T94" fmla="*/ 84 w 7034"/>
                    <a:gd name="T95" fmla="*/ 2464 h 2792"/>
                    <a:gd name="T96" fmla="*/ 38 w 7034"/>
                    <a:gd name="T97" fmla="*/ 2528 h 2792"/>
                    <a:gd name="T98" fmla="*/ 10 w 7034"/>
                    <a:gd name="T99" fmla="*/ 2592 h 2792"/>
                    <a:gd name="T100" fmla="*/ 0 w 7034"/>
                    <a:gd name="T101" fmla="*/ 2654 h 2792"/>
                    <a:gd name="T102" fmla="*/ 10 w 7034"/>
                    <a:gd name="T103" fmla="*/ 2714 h 2792"/>
                    <a:gd name="T104" fmla="*/ 44 w 7034"/>
                    <a:gd name="T105" fmla="*/ 2774 h 2792"/>
                    <a:gd name="T106" fmla="*/ 80 w 7034"/>
                    <a:gd name="T107" fmla="*/ 2746 h 2792"/>
                    <a:gd name="T108" fmla="*/ 242 w 7034"/>
                    <a:gd name="T109" fmla="*/ 2532 h 2792"/>
                    <a:gd name="T110" fmla="*/ 416 w 7034"/>
                    <a:gd name="T111" fmla="*/ 2358 h 2792"/>
                    <a:gd name="T112" fmla="*/ 600 w 7034"/>
                    <a:gd name="T113" fmla="*/ 2218 h 2792"/>
                    <a:gd name="T114" fmla="*/ 796 w 7034"/>
                    <a:gd name="T115" fmla="*/ 2106 h 2792"/>
                    <a:gd name="T116" fmla="*/ 1000 w 7034"/>
                    <a:gd name="T117" fmla="*/ 2018 h 2792"/>
                    <a:gd name="T118" fmla="*/ 1214 w 7034"/>
                    <a:gd name="T119" fmla="*/ 1950 h 2792"/>
                    <a:gd name="T120" fmla="*/ 1438 w 7034"/>
                    <a:gd name="T121" fmla="*/ 1894 h 2792"/>
                    <a:gd name="T122" fmla="*/ 1832 w 7034"/>
                    <a:gd name="T123" fmla="*/ 1816 h 2792"/>
                    <a:gd name="T124" fmla="*/ 2336 w 7034"/>
                    <a:gd name="T125" fmla="*/ 1722 h 27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7034"/>
                    <a:gd name="T190" fmla="*/ 0 h 2792"/>
                    <a:gd name="T191" fmla="*/ 7034 w 7034"/>
                    <a:gd name="T192" fmla="*/ 2792 h 279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7034" h="2792">
                      <a:moveTo>
                        <a:pt x="2336" y="1722"/>
                      </a:moveTo>
                      <a:lnTo>
                        <a:pt x="2336" y="1722"/>
                      </a:lnTo>
                      <a:lnTo>
                        <a:pt x="2382" y="1714"/>
                      </a:lnTo>
                      <a:lnTo>
                        <a:pt x="2432" y="1708"/>
                      </a:lnTo>
                      <a:lnTo>
                        <a:pt x="2484" y="1704"/>
                      </a:lnTo>
                      <a:lnTo>
                        <a:pt x="2542" y="1702"/>
                      </a:lnTo>
                      <a:lnTo>
                        <a:pt x="2602" y="1700"/>
                      </a:lnTo>
                      <a:lnTo>
                        <a:pt x="2666" y="1702"/>
                      </a:lnTo>
                      <a:lnTo>
                        <a:pt x="2734" y="1704"/>
                      </a:lnTo>
                      <a:lnTo>
                        <a:pt x="2804" y="1708"/>
                      </a:lnTo>
                      <a:lnTo>
                        <a:pt x="2878" y="1714"/>
                      </a:lnTo>
                      <a:lnTo>
                        <a:pt x="2954" y="1722"/>
                      </a:lnTo>
                      <a:lnTo>
                        <a:pt x="3114" y="1740"/>
                      </a:lnTo>
                      <a:lnTo>
                        <a:pt x="3284" y="1764"/>
                      </a:lnTo>
                      <a:lnTo>
                        <a:pt x="3462" y="1794"/>
                      </a:lnTo>
                      <a:lnTo>
                        <a:pt x="3646" y="1826"/>
                      </a:lnTo>
                      <a:lnTo>
                        <a:pt x="3836" y="1862"/>
                      </a:lnTo>
                      <a:lnTo>
                        <a:pt x="4032" y="1902"/>
                      </a:lnTo>
                      <a:lnTo>
                        <a:pt x="4230" y="1946"/>
                      </a:lnTo>
                      <a:lnTo>
                        <a:pt x="4430" y="1992"/>
                      </a:lnTo>
                      <a:lnTo>
                        <a:pt x="4632" y="2038"/>
                      </a:lnTo>
                      <a:lnTo>
                        <a:pt x="4834" y="2088"/>
                      </a:lnTo>
                      <a:lnTo>
                        <a:pt x="5032" y="2138"/>
                      </a:lnTo>
                      <a:lnTo>
                        <a:pt x="5422" y="2238"/>
                      </a:lnTo>
                      <a:lnTo>
                        <a:pt x="5792" y="2338"/>
                      </a:lnTo>
                      <a:lnTo>
                        <a:pt x="6132" y="2432"/>
                      </a:lnTo>
                      <a:lnTo>
                        <a:pt x="6430" y="2518"/>
                      </a:lnTo>
                      <a:lnTo>
                        <a:pt x="6680" y="2590"/>
                      </a:lnTo>
                      <a:lnTo>
                        <a:pt x="6870" y="2648"/>
                      </a:lnTo>
                      <a:lnTo>
                        <a:pt x="7034" y="2696"/>
                      </a:lnTo>
                      <a:lnTo>
                        <a:pt x="6918" y="2616"/>
                      </a:lnTo>
                      <a:lnTo>
                        <a:pt x="6804" y="2538"/>
                      </a:lnTo>
                      <a:lnTo>
                        <a:pt x="6582" y="2390"/>
                      </a:lnTo>
                      <a:lnTo>
                        <a:pt x="6474" y="2316"/>
                      </a:lnTo>
                      <a:lnTo>
                        <a:pt x="6368" y="2242"/>
                      </a:lnTo>
                      <a:lnTo>
                        <a:pt x="6262" y="2168"/>
                      </a:lnTo>
                      <a:lnTo>
                        <a:pt x="6158" y="2088"/>
                      </a:lnTo>
                      <a:lnTo>
                        <a:pt x="6054" y="2006"/>
                      </a:lnTo>
                      <a:lnTo>
                        <a:pt x="5952" y="1918"/>
                      </a:lnTo>
                      <a:lnTo>
                        <a:pt x="5900" y="1872"/>
                      </a:lnTo>
                      <a:lnTo>
                        <a:pt x="5848" y="1824"/>
                      </a:lnTo>
                      <a:lnTo>
                        <a:pt x="5798" y="1774"/>
                      </a:lnTo>
                      <a:lnTo>
                        <a:pt x="5746" y="1722"/>
                      </a:lnTo>
                      <a:lnTo>
                        <a:pt x="5694" y="1668"/>
                      </a:lnTo>
                      <a:lnTo>
                        <a:pt x="5642" y="1612"/>
                      </a:lnTo>
                      <a:lnTo>
                        <a:pt x="5592" y="1554"/>
                      </a:lnTo>
                      <a:lnTo>
                        <a:pt x="5540" y="1494"/>
                      </a:lnTo>
                      <a:lnTo>
                        <a:pt x="5488" y="1430"/>
                      </a:lnTo>
                      <a:lnTo>
                        <a:pt x="5436" y="1364"/>
                      </a:lnTo>
                      <a:lnTo>
                        <a:pt x="5384" y="1294"/>
                      </a:lnTo>
                      <a:lnTo>
                        <a:pt x="5330" y="1222"/>
                      </a:lnTo>
                      <a:lnTo>
                        <a:pt x="5282" y="1166"/>
                      </a:lnTo>
                      <a:lnTo>
                        <a:pt x="5226" y="1104"/>
                      </a:lnTo>
                      <a:lnTo>
                        <a:pt x="5148" y="1022"/>
                      </a:lnTo>
                      <a:lnTo>
                        <a:pt x="5050" y="926"/>
                      </a:lnTo>
                      <a:lnTo>
                        <a:pt x="4996" y="874"/>
                      </a:lnTo>
                      <a:lnTo>
                        <a:pt x="4936" y="820"/>
                      </a:lnTo>
                      <a:lnTo>
                        <a:pt x="4872" y="762"/>
                      </a:lnTo>
                      <a:lnTo>
                        <a:pt x="4804" y="706"/>
                      </a:lnTo>
                      <a:lnTo>
                        <a:pt x="4734" y="646"/>
                      </a:lnTo>
                      <a:lnTo>
                        <a:pt x="4658" y="588"/>
                      </a:lnTo>
                      <a:lnTo>
                        <a:pt x="4580" y="530"/>
                      </a:lnTo>
                      <a:lnTo>
                        <a:pt x="4500" y="472"/>
                      </a:lnTo>
                      <a:lnTo>
                        <a:pt x="4416" y="414"/>
                      </a:lnTo>
                      <a:lnTo>
                        <a:pt x="4328" y="360"/>
                      </a:lnTo>
                      <a:lnTo>
                        <a:pt x="4238" y="306"/>
                      </a:lnTo>
                      <a:lnTo>
                        <a:pt x="4146" y="256"/>
                      </a:lnTo>
                      <a:lnTo>
                        <a:pt x="4052" y="210"/>
                      </a:lnTo>
                      <a:lnTo>
                        <a:pt x="3954" y="166"/>
                      </a:lnTo>
                      <a:lnTo>
                        <a:pt x="3856" y="126"/>
                      </a:lnTo>
                      <a:lnTo>
                        <a:pt x="3806" y="108"/>
                      </a:lnTo>
                      <a:lnTo>
                        <a:pt x="3756" y="90"/>
                      </a:lnTo>
                      <a:lnTo>
                        <a:pt x="3704" y="74"/>
                      </a:lnTo>
                      <a:lnTo>
                        <a:pt x="3652" y="60"/>
                      </a:lnTo>
                      <a:lnTo>
                        <a:pt x="3602" y="48"/>
                      </a:lnTo>
                      <a:lnTo>
                        <a:pt x="3550" y="36"/>
                      </a:lnTo>
                      <a:lnTo>
                        <a:pt x="3498" y="26"/>
                      </a:lnTo>
                      <a:lnTo>
                        <a:pt x="3444" y="18"/>
                      </a:lnTo>
                      <a:lnTo>
                        <a:pt x="3392" y="10"/>
                      </a:lnTo>
                      <a:lnTo>
                        <a:pt x="3338" y="4"/>
                      </a:lnTo>
                      <a:lnTo>
                        <a:pt x="3286" y="2"/>
                      </a:lnTo>
                      <a:lnTo>
                        <a:pt x="3232" y="0"/>
                      </a:lnTo>
                      <a:lnTo>
                        <a:pt x="3178" y="0"/>
                      </a:lnTo>
                      <a:lnTo>
                        <a:pt x="3124" y="2"/>
                      </a:lnTo>
                      <a:lnTo>
                        <a:pt x="3072" y="6"/>
                      </a:lnTo>
                      <a:lnTo>
                        <a:pt x="3020" y="10"/>
                      </a:lnTo>
                      <a:lnTo>
                        <a:pt x="2970" y="16"/>
                      </a:lnTo>
                      <a:lnTo>
                        <a:pt x="2920" y="24"/>
                      </a:lnTo>
                      <a:lnTo>
                        <a:pt x="2874" y="32"/>
                      </a:lnTo>
                      <a:lnTo>
                        <a:pt x="2828" y="42"/>
                      </a:lnTo>
                      <a:lnTo>
                        <a:pt x="2784" y="52"/>
                      </a:lnTo>
                      <a:lnTo>
                        <a:pt x="2740" y="64"/>
                      </a:lnTo>
                      <a:lnTo>
                        <a:pt x="2700" y="76"/>
                      </a:lnTo>
                      <a:lnTo>
                        <a:pt x="2660" y="90"/>
                      </a:lnTo>
                      <a:lnTo>
                        <a:pt x="2620" y="104"/>
                      </a:lnTo>
                      <a:lnTo>
                        <a:pt x="2582" y="120"/>
                      </a:lnTo>
                      <a:lnTo>
                        <a:pt x="2546" y="136"/>
                      </a:lnTo>
                      <a:lnTo>
                        <a:pt x="2510" y="154"/>
                      </a:lnTo>
                      <a:lnTo>
                        <a:pt x="2476" y="172"/>
                      </a:lnTo>
                      <a:lnTo>
                        <a:pt x="2442" y="192"/>
                      </a:lnTo>
                      <a:lnTo>
                        <a:pt x="2410" y="212"/>
                      </a:lnTo>
                      <a:lnTo>
                        <a:pt x="2378" y="232"/>
                      </a:lnTo>
                      <a:lnTo>
                        <a:pt x="2318" y="276"/>
                      </a:lnTo>
                      <a:lnTo>
                        <a:pt x="2262" y="322"/>
                      </a:lnTo>
                      <a:lnTo>
                        <a:pt x="2210" y="372"/>
                      </a:lnTo>
                      <a:lnTo>
                        <a:pt x="2160" y="424"/>
                      </a:lnTo>
                      <a:lnTo>
                        <a:pt x="2114" y="478"/>
                      </a:lnTo>
                      <a:lnTo>
                        <a:pt x="2068" y="534"/>
                      </a:lnTo>
                      <a:lnTo>
                        <a:pt x="2026" y="592"/>
                      </a:lnTo>
                      <a:lnTo>
                        <a:pt x="1986" y="652"/>
                      </a:lnTo>
                      <a:lnTo>
                        <a:pt x="1946" y="714"/>
                      </a:lnTo>
                      <a:lnTo>
                        <a:pt x="1910" y="776"/>
                      </a:lnTo>
                      <a:lnTo>
                        <a:pt x="1872" y="838"/>
                      </a:lnTo>
                      <a:lnTo>
                        <a:pt x="1802" y="966"/>
                      </a:lnTo>
                      <a:lnTo>
                        <a:pt x="1732" y="1096"/>
                      </a:lnTo>
                      <a:lnTo>
                        <a:pt x="1660" y="1226"/>
                      </a:lnTo>
                      <a:lnTo>
                        <a:pt x="1624" y="1290"/>
                      </a:lnTo>
                      <a:lnTo>
                        <a:pt x="1586" y="1354"/>
                      </a:lnTo>
                      <a:lnTo>
                        <a:pt x="1546" y="1416"/>
                      </a:lnTo>
                      <a:lnTo>
                        <a:pt x="1504" y="1478"/>
                      </a:lnTo>
                      <a:lnTo>
                        <a:pt x="1460" y="1538"/>
                      </a:lnTo>
                      <a:lnTo>
                        <a:pt x="1416" y="1596"/>
                      </a:lnTo>
                      <a:lnTo>
                        <a:pt x="1394" y="1616"/>
                      </a:lnTo>
                      <a:lnTo>
                        <a:pt x="1366" y="1640"/>
                      </a:lnTo>
                      <a:lnTo>
                        <a:pt x="1332" y="1666"/>
                      </a:lnTo>
                      <a:lnTo>
                        <a:pt x="1290" y="1692"/>
                      </a:lnTo>
                      <a:lnTo>
                        <a:pt x="1244" y="1720"/>
                      </a:lnTo>
                      <a:lnTo>
                        <a:pt x="1192" y="1752"/>
                      </a:lnTo>
                      <a:lnTo>
                        <a:pt x="1074" y="1816"/>
                      </a:lnTo>
                      <a:lnTo>
                        <a:pt x="806" y="1962"/>
                      </a:lnTo>
                      <a:lnTo>
                        <a:pt x="666" y="2040"/>
                      </a:lnTo>
                      <a:lnTo>
                        <a:pt x="526" y="2122"/>
                      </a:lnTo>
                      <a:lnTo>
                        <a:pt x="458" y="2164"/>
                      </a:lnTo>
                      <a:lnTo>
                        <a:pt x="394" y="2206"/>
                      </a:lnTo>
                      <a:lnTo>
                        <a:pt x="330" y="2248"/>
                      </a:lnTo>
                      <a:lnTo>
                        <a:pt x="272" y="2292"/>
                      </a:lnTo>
                      <a:lnTo>
                        <a:pt x="218" y="2334"/>
                      </a:lnTo>
                      <a:lnTo>
                        <a:pt x="168" y="2378"/>
                      </a:lnTo>
                      <a:lnTo>
                        <a:pt x="122" y="2420"/>
                      </a:lnTo>
                      <a:lnTo>
                        <a:pt x="84" y="2464"/>
                      </a:lnTo>
                      <a:lnTo>
                        <a:pt x="66" y="2486"/>
                      </a:lnTo>
                      <a:lnTo>
                        <a:pt x="52" y="2506"/>
                      </a:lnTo>
                      <a:lnTo>
                        <a:pt x="38" y="2528"/>
                      </a:lnTo>
                      <a:lnTo>
                        <a:pt x="26" y="2550"/>
                      </a:lnTo>
                      <a:lnTo>
                        <a:pt x="16" y="2570"/>
                      </a:lnTo>
                      <a:lnTo>
                        <a:pt x="10" y="2592"/>
                      </a:lnTo>
                      <a:lnTo>
                        <a:pt x="4" y="2612"/>
                      </a:lnTo>
                      <a:lnTo>
                        <a:pt x="0" y="2632"/>
                      </a:lnTo>
                      <a:lnTo>
                        <a:pt x="0" y="2654"/>
                      </a:lnTo>
                      <a:lnTo>
                        <a:pt x="0" y="2674"/>
                      </a:lnTo>
                      <a:lnTo>
                        <a:pt x="4" y="2694"/>
                      </a:lnTo>
                      <a:lnTo>
                        <a:pt x="10" y="2714"/>
                      </a:lnTo>
                      <a:lnTo>
                        <a:pt x="18" y="2734"/>
                      </a:lnTo>
                      <a:lnTo>
                        <a:pt x="30" y="2754"/>
                      </a:lnTo>
                      <a:lnTo>
                        <a:pt x="44" y="2774"/>
                      </a:lnTo>
                      <a:lnTo>
                        <a:pt x="60" y="2792"/>
                      </a:lnTo>
                      <a:lnTo>
                        <a:pt x="80" y="2746"/>
                      </a:lnTo>
                      <a:lnTo>
                        <a:pt x="134" y="2670"/>
                      </a:lnTo>
                      <a:lnTo>
                        <a:pt x="188" y="2600"/>
                      </a:lnTo>
                      <a:lnTo>
                        <a:pt x="242" y="2532"/>
                      </a:lnTo>
                      <a:lnTo>
                        <a:pt x="300" y="2470"/>
                      </a:lnTo>
                      <a:lnTo>
                        <a:pt x="358" y="2412"/>
                      </a:lnTo>
                      <a:lnTo>
                        <a:pt x="416" y="2358"/>
                      </a:lnTo>
                      <a:lnTo>
                        <a:pt x="476" y="2308"/>
                      </a:lnTo>
                      <a:lnTo>
                        <a:pt x="538" y="2262"/>
                      </a:lnTo>
                      <a:lnTo>
                        <a:pt x="600" y="2218"/>
                      </a:lnTo>
                      <a:lnTo>
                        <a:pt x="664" y="2178"/>
                      </a:lnTo>
                      <a:lnTo>
                        <a:pt x="730" y="2142"/>
                      </a:lnTo>
                      <a:lnTo>
                        <a:pt x="796" y="2106"/>
                      </a:lnTo>
                      <a:lnTo>
                        <a:pt x="862" y="2076"/>
                      </a:lnTo>
                      <a:lnTo>
                        <a:pt x="930" y="2046"/>
                      </a:lnTo>
                      <a:lnTo>
                        <a:pt x="1000" y="2018"/>
                      </a:lnTo>
                      <a:lnTo>
                        <a:pt x="1070" y="1994"/>
                      </a:lnTo>
                      <a:lnTo>
                        <a:pt x="1142" y="1970"/>
                      </a:lnTo>
                      <a:lnTo>
                        <a:pt x="1214" y="1950"/>
                      </a:lnTo>
                      <a:lnTo>
                        <a:pt x="1288" y="1930"/>
                      </a:lnTo>
                      <a:lnTo>
                        <a:pt x="1362" y="1910"/>
                      </a:lnTo>
                      <a:lnTo>
                        <a:pt x="1438" y="1894"/>
                      </a:lnTo>
                      <a:lnTo>
                        <a:pt x="1514" y="1876"/>
                      </a:lnTo>
                      <a:lnTo>
                        <a:pt x="1670" y="1846"/>
                      </a:lnTo>
                      <a:lnTo>
                        <a:pt x="1832" y="1816"/>
                      </a:lnTo>
                      <a:lnTo>
                        <a:pt x="1996" y="1786"/>
                      </a:lnTo>
                      <a:lnTo>
                        <a:pt x="2164" y="1756"/>
                      </a:lnTo>
                      <a:lnTo>
                        <a:pt x="2336" y="1722"/>
                      </a:lnTo>
                      <a:close/>
                    </a:path>
                  </a:pathLst>
                </a:custGeom>
                <a:gradFill rotWithShape="1">
                  <a:gsLst>
                    <a:gs pos="0">
                      <a:srgbClr val="92D050"/>
                    </a:gs>
                    <a:gs pos="50000">
                      <a:srgbClr val="92D050"/>
                    </a:gs>
                    <a:gs pos="100000">
                      <a:srgbClr val="00BD4F"/>
                    </a:gs>
                  </a:gsLst>
                  <a:lin ang="13500000" scaled="1"/>
                </a:grad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ndParaRPr>
                </a:p>
              </p:txBody>
            </p:sp>
          </p:grpSp>
          <p:sp>
            <p:nvSpPr>
              <p:cNvPr id="80" name="Freeform 20"/>
              <p:cNvSpPr>
                <a:spLocks/>
              </p:cNvSpPr>
              <p:nvPr/>
            </p:nvSpPr>
            <p:spPr bwMode="auto">
              <a:xfrm>
                <a:off x="-398494" y="3092529"/>
                <a:ext cx="9960881" cy="1141606"/>
              </a:xfrm>
              <a:custGeom>
                <a:avLst/>
                <a:gdLst>
                  <a:gd name="T0" fmla="*/ 2292 w 6888"/>
                  <a:gd name="T1" fmla="*/ 112 h 1108"/>
                  <a:gd name="T2" fmla="*/ 2376 w 6888"/>
                  <a:gd name="T3" fmla="*/ 106 h 1108"/>
                  <a:gd name="T4" fmla="*/ 2472 w 6888"/>
                  <a:gd name="T5" fmla="*/ 104 h 1108"/>
                  <a:gd name="T6" fmla="*/ 2694 w 6888"/>
                  <a:gd name="T7" fmla="*/ 114 h 1108"/>
                  <a:gd name="T8" fmla="*/ 2956 w 6888"/>
                  <a:gd name="T9" fmla="*/ 142 h 1108"/>
                  <a:gd name="T10" fmla="*/ 3246 w 6888"/>
                  <a:gd name="T11" fmla="*/ 184 h 1108"/>
                  <a:gd name="T12" fmla="*/ 3564 w 6888"/>
                  <a:gd name="T13" fmla="*/ 238 h 1108"/>
                  <a:gd name="T14" fmla="*/ 3898 w 6888"/>
                  <a:gd name="T15" fmla="*/ 302 h 1108"/>
                  <a:gd name="T16" fmla="*/ 4244 w 6888"/>
                  <a:gd name="T17" fmla="*/ 376 h 1108"/>
                  <a:gd name="T18" fmla="*/ 4944 w 6888"/>
                  <a:gd name="T19" fmla="*/ 536 h 1108"/>
                  <a:gd name="T20" fmla="*/ 5616 w 6888"/>
                  <a:gd name="T21" fmla="*/ 704 h 1108"/>
                  <a:gd name="T22" fmla="*/ 6206 w 6888"/>
                  <a:gd name="T23" fmla="*/ 862 h 1108"/>
                  <a:gd name="T24" fmla="*/ 6664 w 6888"/>
                  <a:gd name="T25" fmla="*/ 990 h 1108"/>
                  <a:gd name="T26" fmla="*/ 6826 w 6888"/>
                  <a:gd name="T27" fmla="*/ 1038 h 1108"/>
                  <a:gd name="T28" fmla="*/ 6888 w 6888"/>
                  <a:gd name="T29" fmla="*/ 1016 h 1108"/>
                  <a:gd name="T30" fmla="*/ 6744 w 6888"/>
                  <a:gd name="T31" fmla="*/ 918 h 1108"/>
                  <a:gd name="T32" fmla="*/ 6346 w 6888"/>
                  <a:gd name="T33" fmla="*/ 802 h 1108"/>
                  <a:gd name="T34" fmla="*/ 5808 w 6888"/>
                  <a:gd name="T35" fmla="*/ 656 h 1108"/>
                  <a:gd name="T36" fmla="*/ 5176 w 6888"/>
                  <a:gd name="T37" fmla="*/ 492 h 1108"/>
                  <a:gd name="T38" fmla="*/ 4498 w 6888"/>
                  <a:gd name="T39" fmla="*/ 328 h 1108"/>
                  <a:gd name="T40" fmla="*/ 3988 w 6888"/>
                  <a:gd name="T41" fmla="*/ 216 h 1108"/>
                  <a:gd name="T42" fmla="*/ 3658 w 6888"/>
                  <a:gd name="T43" fmla="*/ 150 h 1108"/>
                  <a:gd name="T44" fmla="*/ 3344 w 6888"/>
                  <a:gd name="T45" fmla="*/ 94 h 1108"/>
                  <a:gd name="T46" fmla="*/ 3050 w 6888"/>
                  <a:gd name="T47" fmla="*/ 50 h 1108"/>
                  <a:gd name="T48" fmla="*/ 2784 w 6888"/>
                  <a:gd name="T49" fmla="*/ 18 h 1108"/>
                  <a:gd name="T50" fmla="*/ 2550 w 6888"/>
                  <a:gd name="T51" fmla="*/ 2 h 1108"/>
                  <a:gd name="T52" fmla="*/ 2402 w 6888"/>
                  <a:gd name="T53" fmla="*/ 2 h 1108"/>
                  <a:gd name="T54" fmla="*/ 2314 w 6888"/>
                  <a:gd name="T55" fmla="*/ 8 h 1108"/>
                  <a:gd name="T56" fmla="*/ 2276 w 6888"/>
                  <a:gd name="T57" fmla="*/ 12 h 1108"/>
                  <a:gd name="T58" fmla="*/ 1774 w 6888"/>
                  <a:gd name="T59" fmla="*/ 86 h 1108"/>
                  <a:gd name="T60" fmla="*/ 1458 w 6888"/>
                  <a:gd name="T61" fmla="*/ 142 h 1108"/>
                  <a:gd name="T62" fmla="*/ 1306 w 6888"/>
                  <a:gd name="T63" fmla="*/ 176 h 1108"/>
                  <a:gd name="T64" fmla="*/ 1158 w 6888"/>
                  <a:gd name="T65" fmla="*/ 216 h 1108"/>
                  <a:gd name="T66" fmla="*/ 1014 w 6888"/>
                  <a:gd name="T67" fmla="*/ 262 h 1108"/>
                  <a:gd name="T68" fmla="*/ 874 w 6888"/>
                  <a:gd name="T69" fmla="*/ 318 h 1108"/>
                  <a:gd name="T70" fmla="*/ 738 w 6888"/>
                  <a:gd name="T71" fmla="*/ 382 h 1108"/>
                  <a:gd name="T72" fmla="*/ 606 w 6888"/>
                  <a:gd name="T73" fmla="*/ 458 h 1108"/>
                  <a:gd name="T74" fmla="*/ 480 w 6888"/>
                  <a:gd name="T75" fmla="*/ 544 h 1108"/>
                  <a:gd name="T76" fmla="*/ 358 w 6888"/>
                  <a:gd name="T77" fmla="*/ 644 h 1108"/>
                  <a:gd name="T78" fmla="*/ 240 w 6888"/>
                  <a:gd name="T79" fmla="*/ 758 h 1108"/>
                  <a:gd name="T80" fmla="*/ 128 w 6888"/>
                  <a:gd name="T81" fmla="*/ 890 h 1108"/>
                  <a:gd name="T82" fmla="*/ 20 w 6888"/>
                  <a:gd name="T83" fmla="*/ 1036 h 1108"/>
                  <a:gd name="T84" fmla="*/ 0 w 6888"/>
                  <a:gd name="T85" fmla="*/ 1084 h 1108"/>
                  <a:gd name="T86" fmla="*/ 26 w 6888"/>
                  <a:gd name="T87" fmla="*/ 1108 h 1108"/>
                  <a:gd name="T88" fmla="*/ 32 w 6888"/>
                  <a:gd name="T89" fmla="*/ 1104 h 1108"/>
                  <a:gd name="T90" fmla="*/ 108 w 6888"/>
                  <a:gd name="T91" fmla="*/ 1034 h 1108"/>
                  <a:gd name="T92" fmla="*/ 160 w 6888"/>
                  <a:gd name="T93" fmla="*/ 968 h 1108"/>
                  <a:gd name="T94" fmla="*/ 268 w 6888"/>
                  <a:gd name="T95" fmla="*/ 846 h 1108"/>
                  <a:gd name="T96" fmla="*/ 380 w 6888"/>
                  <a:gd name="T97" fmla="*/ 738 h 1108"/>
                  <a:gd name="T98" fmla="*/ 496 w 6888"/>
                  <a:gd name="T99" fmla="*/ 640 h 1108"/>
                  <a:gd name="T100" fmla="*/ 616 w 6888"/>
                  <a:gd name="T101" fmla="*/ 556 h 1108"/>
                  <a:gd name="T102" fmla="*/ 740 w 6888"/>
                  <a:gd name="T103" fmla="*/ 482 h 1108"/>
                  <a:gd name="T104" fmla="*/ 870 w 6888"/>
                  <a:gd name="T105" fmla="*/ 420 h 1108"/>
                  <a:gd name="T106" fmla="*/ 1002 w 6888"/>
                  <a:gd name="T107" fmla="*/ 364 h 1108"/>
                  <a:gd name="T108" fmla="*/ 1138 w 6888"/>
                  <a:gd name="T109" fmla="*/ 316 h 1108"/>
                  <a:gd name="T110" fmla="*/ 1278 w 6888"/>
                  <a:gd name="T111" fmla="*/ 276 h 1108"/>
                  <a:gd name="T112" fmla="*/ 1424 w 6888"/>
                  <a:gd name="T113" fmla="*/ 242 h 1108"/>
                  <a:gd name="T114" fmla="*/ 1648 w 6888"/>
                  <a:gd name="T115" fmla="*/ 198 h 1108"/>
                  <a:gd name="T116" fmla="*/ 1962 w 6888"/>
                  <a:gd name="T117" fmla="*/ 152 h 1108"/>
                  <a:gd name="T118" fmla="*/ 2292 w 6888"/>
                  <a:gd name="T119" fmla="*/ 112 h 110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6888"/>
                  <a:gd name="T181" fmla="*/ 0 h 1108"/>
                  <a:gd name="T182" fmla="*/ 6888 w 6888"/>
                  <a:gd name="T183" fmla="*/ 1108 h 110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6888" h="1108">
                    <a:moveTo>
                      <a:pt x="2292" y="112"/>
                    </a:moveTo>
                    <a:lnTo>
                      <a:pt x="2292" y="112"/>
                    </a:lnTo>
                    <a:lnTo>
                      <a:pt x="2332" y="108"/>
                    </a:lnTo>
                    <a:lnTo>
                      <a:pt x="2376" y="106"/>
                    </a:lnTo>
                    <a:lnTo>
                      <a:pt x="2422" y="104"/>
                    </a:lnTo>
                    <a:lnTo>
                      <a:pt x="2472" y="104"/>
                    </a:lnTo>
                    <a:lnTo>
                      <a:pt x="2578" y="106"/>
                    </a:lnTo>
                    <a:lnTo>
                      <a:pt x="2694" y="114"/>
                    </a:lnTo>
                    <a:lnTo>
                      <a:pt x="2820" y="126"/>
                    </a:lnTo>
                    <a:lnTo>
                      <a:pt x="2956" y="142"/>
                    </a:lnTo>
                    <a:lnTo>
                      <a:pt x="3098" y="160"/>
                    </a:lnTo>
                    <a:lnTo>
                      <a:pt x="3246" y="184"/>
                    </a:lnTo>
                    <a:lnTo>
                      <a:pt x="3402" y="210"/>
                    </a:lnTo>
                    <a:lnTo>
                      <a:pt x="3564" y="238"/>
                    </a:lnTo>
                    <a:lnTo>
                      <a:pt x="3728" y="270"/>
                    </a:lnTo>
                    <a:lnTo>
                      <a:pt x="3898" y="302"/>
                    </a:lnTo>
                    <a:lnTo>
                      <a:pt x="4070" y="338"/>
                    </a:lnTo>
                    <a:lnTo>
                      <a:pt x="4244" y="376"/>
                    </a:lnTo>
                    <a:lnTo>
                      <a:pt x="4594" y="454"/>
                    </a:lnTo>
                    <a:lnTo>
                      <a:pt x="4944" y="536"/>
                    </a:lnTo>
                    <a:lnTo>
                      <a:pt x="5288" y="622"/>
                    </a:lnTo>
                    <a:lnTo>
                      <a:pt x="5616" y="704"/>
                    </a:lnTo>
                    <a:lnTo>
                      <a:pt x="5924" y="786"/>
                    </a:lnTo>
                    <a:lnTo>
                      <a:pt x="6206" y="862"/>
                    </a:lnTo>
                    <a:lnTo>
                      <a:pt x="6454" y="930"/>
                    </a:lnTo>
                    <a:lnTo>
                      <a:pt x="6664" y="990"/>
                    </a:lnTo>
                    <a:lnTo>
                      <a:pt x="6826" y="1038"/>
                    </a:lnTo>
                    <a:lnTo>
                      <a:pt x="6888" y="1016"/>
                    </a:lnTo>
                    <a:lnTo>
                      <a:pt x="6744" y="918"/>
                    </a:lnTo>
                    <a:lnTo>
                      <a:pt x="6566" y="866"/>
                    </a:lnTo>
                    <a:lnTo>
                      <a:pt x="6346" y="802"/>
                    </a:lnTo>
                    <a:lnTo>
                      <a:pt x="6092" y="732"/>
                    </a:lnTo>
                    <a:lnTo>
                      <a:pt x="5808" y="656"/>
                    </a:lnTo>
                    <a:lnTo>
                      <a:pt x="5500" y="574"/>
                    </a:lnTo>
                    <a:lnTo>
                      <a:pt x="5176" y="492"/>
                    </a:lnTo>
                    <a:lnTo>
                      <a:pt x="4840" y="410"/>
                    </a:lnTo>
                    <a:lnTo>
                      <a:pt x="4498" y="328"/>
                    </a:lnTo>
                    <a:lnTo>
                      <a:pt x="4156" y="252"/>
                    </a:lnTo>
                    <a:lnTo>
                      <a:pt x="3988" y="216"/>
                    </a:lnTo>
                    <a:lnTo>
                      <a:pt x="3822" y="182"/>
                    </a:lnTo>
                    <a:lnTo>
                      <a:pt x="3658" y="150"/>
                    </a:lnTo>
                    <a:lnTo>
                      <a:pt x="3498" y="122"/>
                    </a:lnTo>
                    <a:lnTo>
                      <a:pt x="3344" y="94"/>
                    </a:lnTo>
                    <a:lnTo>
                      <a:pt x="3194" y="70"/>
                    </a:lnTo>
                    <a:lnTo>
                      <a:pt x="3050" y="50"/>
                    </a:lnTo>
                    <a:lnTo>
                      <a:pt x="2914" y="32"/>
                    </a:lnTo>
                    <a:lnTo>
                      <a:pt x="2784" y="18"/>
                    </a:lnTo>
                    <a:lnTo>
                      <a:pt x="2662" y="8"/>
                    </a:lnTo>
                    <a:lnTo>
                      <a:pt x="2550" y="2"/>
                    </a:lnTo>
                    <a:lnTo>
                      <a:pt x="2448" y="0"/>
                    </a:lnTo>
                    <a:lnTo>
                      <a:pt x="2402" y="2"/>
                    </a:lnTo>
                    <a:lnTo>
                      <a:pt x="2356" y="4"/>
                    </a:lnTo>
                    <a:lnTo>
                      <a:pt x="2314" y="8"/>
                    </a:lnTo>
                    <a:lnTo>
                      <a:pt x="2276" y="12"/>
                    </a:lnTo>
                    <a:lnTo>
                      <a:pt x="1938" y="60"/>
                    </a:lnTo>
                    <a:lnTo>
                      <a:pt x="1774" y="86"/>
                    </a:lnTo>
                    <a:lnTo>
                      <a:pt x="1614" y="112"/>
                    </a:lnTo>
                    <a:lnTo>
                      <a:pt x="1458" y="142"/>
                    </a:lnTo>
                    <a:lnTo>
                      <a:pt x="1382" y="158"/>
                    </a:lnTo>
                    <a:lnTo>
                      <a:pt x="1306" y="176"/>
                    </a:lnTo>
                    <a:lnTo>
                      <a:pt x="1232" y="194"/>
                    </a:lnTo>
                    <a:lnTo>
                      <a:pt x="1158" y="216"/>
                    </a:lnTo>
                    <a:lnTo>
                      <a:pt x="1086" y="238"/>
                    </a:lnTo>
                    <a:lnTo>
                      <a:pt x="1014" y="262"/>
                    </a:lnTo>
                    <a:lnTo>
                      <a:pt x="942" y="288"/>
                    </a:lnTo>
                    <a:lnTo>
                      <a:pt x="874" y="318"/>
                    </a:lnTo>
                    <a:lnTo>
                      <a:pt x="804" y="348"/>
                    </a:lnTo>
                    <a:lnTo>
                      <a:pt x="738" y="382"/>
                    </a:lnTo>
                    <a:lnTo>
                      <a:pt x="672" y="418"/>
                    </a:lnTo>
                    <a:lnTo>
                      <a:pt x="606" y="458"/>
                    </a:lnTo>
                    <a:lnTo>
                      <a:pt x="542" y="500"/>
                    </a:lnTo>
                    <a:lnTo>
                      <a:pt x="480" y="544"/>
                    </a:lnTo>
                    <a:lnTo>
                      <a:pt x="418" y="592"/>
                    </a:lnTo>
                    <a:lnTo>
                      <a:pt x="358" y="644"/>
                    </a:lnTo>
                    <a:lnTo>
                      <a:pt x="298" y="700"/>
                    </a:lnTo>
                    <a:lnTo>
                      <a:pt x="240" y="758"/>
                    </a:lnTo>
                    <a:lnTo>
                      <a:pt x="184" y="822"/>
                    </a:lnTo>
                    <a:lnTo>
                      <a:pt x="128" y="890"/>
                    </a:lnTo>
                    <a:lnTo>
                      <a:pt x="74" y="960"/>
                    </a:lnTo>
                    <a:lnTo>
                      <a:pt x="20" y="1036"/>
                    </a:lnTo>
                    <a:lnTo>
                      <a:pt x="0" y="1084"/>
                    </a:lnTo>
                    <a:lnTo>
                      <a:pt x="26" y="1108"/>
                    </a:lnTo>
                    <a:lnTo>
                      <a:pt x="28" y="1106"/>
                    </a:lnTo>
                    <a:lnTo>
                      <a:pt x="32" y="1104"/>
                    </a:lnTo>
                    <a:lnTo>
                      <a:pt x="50" y="1090"/>
                    </a:lnTo>
                    <a:lnTo>
                      <a:pt x="108" y="1034"/>
                    </a:lnTo>
                    <a:lnTo>
                      <a:pt x="160" y="968"/>
                    </a:lnTo>
                    <a:lnTo>
                      <a:pt x="214" y="906"/>
                    </a:lnTo>
                    <a:lnTo>
                      <a:pt x="268" y="846"/>
                    </a:lnTo>
                    <a:lnTo>
                      <a:pt x="324" y="790"/>
                    </a:lnTo>
                    <a:lnTo>
                      <a:pt x="380" y="738"/>
                    </a:lnTo>
                    <a:lnTo>
                      <a:pt x="438" y="688"/>
                    </a:lnTo>
                    <a:lnTo>
                      <a:pt x="496" y="640"/>
                    </a:lnTo>
                    <a:lnTo>
                      <a:pt x="556" y="598"/>
                    </a:lnTo>
                    <a:lnTo>
                      <a:pt x="616" y="556"/>
                    </a:lnTo>
                    <a:lnTo>
                      <a:pt x="678" y="518"/>
                    </a:lnTo>
                    <a:lnTo>
                      <a:pt x="740" y="482"/>
                    </a:lnTo>
                    <a:lnTo>
                      <a:pt x="804" y="450"/>
                    </a:lnTo>
                    <a:lnTo>
                      <a:pt x="870" y="420"/>
                    </a:lnTo>
                    <a:lnTo>
                      <a:pt x="934" y="390"/>
                    </a:lnTo>
                    <a:lnTo>
                      <a:pt x="1002" y="364"/>
                    </a:lnTo>
                    <a:lnTo>
                      <a:pt x="1070" y="340"/>
                    </a:lnTo>
                    <a:lnTo>
                      <a:pt x="1138" y="316"/>
                    </a:lnTo>
                    <a:lnTo>
                      <a:pt x="1208" y="296"/>
                    </a:lnTo>
                    <a:lnTo>
                      <a:pt x="1278" y="276"/>
                    </a:lnTo>
                    <a:lnTo>
                      <a:pt x="1350" y="258"/>
                    </a:lnTo>
                    <a:lnTo>
                      <a:pt x="1424" y="242"/>
                    </a:lnTo>
                    <a:lnTo>
                      <a:pt x="1498" y="226"/>
                    </a:lnTo>
                    <a:lnTo>
                      <a:pt x="1648" y="198"/>
                    </a:lnTo>
                    <a:lnTo>
                      <a:pt x="1804" y="174"/>
                    </a:lnTo>
                    <a:lnTo>
                      <a:pt x="1962" y="152"/>
                    </a:lnTo>
                    <a:lnTo>
                      <a:pt x="2126" y="132"/>
                    </a:lnTo>
                    <a:lnTo>
                      <a:pt x="2292" y="112"/>
                    </a:lnTo>
                    <a:close/>
                  </a:path>
                </a:pathLst>
              </a:custGeom>
              <a:gradFill rotWithShape="1">
                <a:gsLst>
                  <a:gs pos="0">
                    <a:srgbClr val="006D2A"/>
                  </a:gs>
                  <a:gs pos="92999">
                    <a:srgbClr val="008E39"/>
                  </a:gs>
                  <a:gs pos="100000">
                    <a:srgbClr val="007432"/>
                  </a:gs>
                </a:gsLst>
                <a:lin ang="13500000" scaled="1"/>
              </a:grad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ndParaRPr>
              </a:p>
            </p:txBody>
          </p:sp>
        </p:grpSp>
      </p:grpSp>
      <p:sp>
        <p:nvSpPr>
          <p:cNvPr id="105" name="Metin kutusu 104"/>
          <p:cNvSpPr txBox="1"/>
          <p:nvPr/>
        </p:nvSpPr>
        <p:spPr>
          <a:xfrm>
            <a:off x="1683414" y="1484784"/>
            <a:ext cx="5684083" cy="954107"/>
          </a:xfrm>
          <a:prstGeom prst="rect">
            <a:avLst/>
          </a:prstGeom>
          <a:noFill/>
        </p:spPr>
        <p:txBody>
          <a:bodyPr wrap="square" rtlCol="0">
            <a:spAutoFit/>
          </a:bodyPr>
          <a:lstStyle/>
          <a:p>
            <a:pPr algn="ctr"/>
            <a:r>
              <a:rPr lang="tr-TR" sz="2800" b="1" dirty="0">
                <a:solidFill>
                  <a:schemeClr val="tx2">
                    <a:lumMod val="50000"/>
                  </a:schemeClr>
                </a:solidFill>
                <a:latin typeface="+mj-lt"/>
              </a:rPr>
              <a:t>E-FATURA </a:t>
            </a:r>
            <a:r>
              <a:rPr lang="tr-TR" sz="2800" b="1" dirty="0" smtClean="0">
                <a:solidFill>
                  <a:schemeClr val="tx2">
                    <a:lumMod val="50000"/>
                  </a:schemeClr>
                </a:solidFill>
                <a:latin typeface="+mj-lt"/>
              </a:rPr>
              <a:t>UYGULAMASINDAN</a:t>
            </a:r>
          </a:p>
          <a:p>
            <a:pPr algn="ctr"/>
            <a:r>
              <a:rPr lang="tr-TR" sz="2800" b="1" dirty="0" smtClean="0">
                <a:solidFill>
                  <a:schemeClr val="tx2">
                    <a:lumMod val="50000"/>
                  </a:schemeClr>
                </a:solidFill>
                <a:latin typeface="+mj-lt"/>
              </a:rPr>
              <a:t> </a:t>
            </a:r>
            <a:r>
              <a:rPr lang="tr-TR" sz="2800" b="1" dirty="0">
                <a:solidFill>
                  <a:schemeClr val="tx2">
                    <a:lumMod val="50000"/>
                  </a:schemeClr>
                </a:solidFill>
                <a:latin typeface="+mj-lt"/>
              </a:rPr>
              <a:t>FAYDALANMA YÖNTEMLERİ</a:t>
            </a:r>
          </a:p>
        </p:txBody>
      </p:sp>
      <p:sp>
        <p:nvSpPr>
          <p:cNvPr id="106" name="Rektangel 14"/>
          <p:cNvSpPr/>
          <p:nvPr/>
        </p:nvSpPr>
        <p:spPr bwMode="auto">
          <a:xfrm>
            <a:off x="6215801" y="4035398"/>
            <a:ext cx="1977579" cy="830997"/>
          </a:xfrm>
          <a:prstGeom prst="rect">
            <a:avLst/>
          </a:prstGeom>
        </p:spPr>
        <p:txBody>
          <a:bodyPr wrap="square">
            <a:spAutoFit/>
          </a:bodyPr>
          <a:lstStyle/>
          <a:p>
            <a:pPr algn="ctr" fontAlgn="auto">
              <a:spcBef>
                <a:spcPts val="0"/>
              </a:spcBef>
              <a:spcAft>
                <a:spcPts val="0"/>
              </a:spcAft>
              <a:defRPr/>
            </a:pPr>
            <a:r>
              <a:rPr lang="tr-TR" sz="2400" b="1" kern="0" noProof="1" smtClean="0">
                <a:solidFill>
                  <a:schemeClr val="tx2">
                    <a:lumMod val="50000"/>
                  </a:schemeClr>
                </a:solidFill>
                <a:latin typeface="Calibri" pitchFamily="34" charset="0"/>
                <a:cs typeface="Arial" charset="0"/>
              </a:rPr>
              <a:t>Özel Entegrasyon</a:t>
            </a:r>
            <a:endParaRPr lang="da-DK" sz="2800" kern="0" dirty="0">
              <a:solidFill>
                <a:schemeClr val="tx2">
                  <a:lumMod val="50000"/>
                </a:schemeClr>
              </a:solidFill>
              <a:latin typeface="Arial" pitchFamily="34" charset="0"/>
            </a:endParaRPr>
          </a:p>
        </p:txBody>
      </p:sp>
      <p:sp>
        <p:nvSpPr>
          <p:cNvPr id="17" name="Rektangel 16"/>
          <p:cNvSpPr/>
          <p:nvPr/>
        </p:nvSpPr>
        <p:spPr bwMode="auto">
          <a:xfrm>
            <a:off x="765747" y="3861048"/>
            <a:ext cx="1764642" cy="830997"/>
          </a:xfrm>
          <a:prstGeom prst="rect">
            <a:avLst/>
          </a:prstGeom>
        </p:spPr>
        <p:txBody>
          <a:bodyPr wrap="square">
            <a:spAutoFit/>
          </a:bodyPr>
          <a:lstStyle/>
          <a:p>
            <a:pPr fontAlgn="auto">
              <a:spcBef>
                <a:spcPts val="0"/>
              </a:spcBef>
              <a:spcAft>
                <a:spcPts val="0"/>
              </a:spcAft>
              <a:defRPr/>
            </a:pPr>
            <a:r>
              <a:rPr lang="tr-TR" sz="2400" b="1" kern="0" noProof="1" smtClean="0">
                <a:solidFill>
                  <a:schemeClr val="tx2">
                    <a:lumMod val="50000"/>
                  </a:schemeClr>
                </a:solidFill>
                <a:latin typeface="Calibri" pitchFamily="34" charset="0"/>
                <a:cs typeface="Arial" charset="0"/>
              </a:rPr>
              <a:t>e – Fatura Portal</a:t>
            </a:r>
            <a:endParaRPr lang="da-DK" sz="3200" kern="0" dirty="0">
              <a:solidFill>
                <a:schemeClr val="tx2">
                  <a:lumMod val="50000"/>
                </a:schemeClr>
              </a:solidFill>
              <a:latin typeface="Arial" pitchFamily="34" charset="0"/>
            </a:endParaRPr>
          </a:p>
        </p:txBody>
      </p:sp>
      <p:pic>
        <p:nvPicPr>
          <p:cNvPr id="110" name="Picture 2"/>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9067" t="9932" r="11889" b="16671"/>
          <a:stretch/>
        </p:blipFill>
        <p:spPr bwMode="auto">
          <a:xfrm rot="20097013">
            <a:off x="233224" y="4971484"/>
            <a:ext cx="1755508" cy="136232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71" name="Gruppe 408"/>
          <p:cNvGrpSpPr>
            <a:grpSpLocks/>
          </p:cNvGrpSpPr>
          <p:nvPr/>
        </p:nvGrpSpPr>
        <p:grpSpPr bwMode="auto">
          <a:xfrm>
            <a:off x="2553195" y="3861048"/>
            <a:ext cx="1334295" cy="1054599"/>
            <a:chOff x="3584575" y="3621705"/>
            <a:chExt cx="1966913" cy="2061545"/>
          </a:xfrm>
        </p:grpSpPr>
        <p:grpSp>
          <p:nvGrpSpPr>
            <p:cNvPr id="72" name="Gruppe 530"/>
            <p:cNvGrpSpPr>
              <a:grpSpLocks/>
            </p:cNvGrpSpPr>
            <p:nvPr/>
          </p:nvGrpSpPr>
          <p:grpSpPr bwMode="auto">
            <a:xfrm>
              <a:off x="3738563" y="3621705"/>
              <a:ext cx="1521618" cy="1519240"/>
              <a:chOff x="4018280" y="2291865"/>
              <a:chExt cx="1013460" cy="1013462"/>
            </a:xfrm>
          </p:grpSpPr>
          <p:sp>
            <p:nvSpPr>
              <p:cNvPr id="74" name="Ellipse 235"/>
              <p:cNvSpPr/>
              <p:nvPr/>
            </p:nvSpPr>
            <p:spPr>
              <a:xfrm>
                <a:off x="4018280" y="2291865"/>
                <a:ext cx="1013460" cy="1013462"/>
              </a:xfrm>
              <a:prstGeom prst="ellipse">
                <a:avLst/>
              </a:prstGeom>
              <a:solidFill>
                <a:schemeClr val="bg1">
                  <a:lumMod val="85000"/>
                </a:schemeClr>
              </a:solidFill>
              <a:ln w="9525" cap="flat" cmpd="sng" algn="ctr">
                <a:noFill/>
                <a:prstDash val="solid"/>
              </a:ln>
              <a:effectLst/>
            </p:spPr>
            <p:txBody>
              <a:bodyPr anchor="ctr"/>
              <a:lstStyle/>
              <a:p>
                <a:pPr algn="ctr" fontAlgn="auto">
                  <a:spcBef>
                    <a:spcPts val="0"/>
                  </a:spcBef>
                  <a:spcAft>
                    <a:spcPts val="0"/>
                  </a:spcAft>
                  <a:defRPr/>
                </a:pPr>
                <a:endParaRPr lang="da-DK" kern="0" dirty="0">
                  <a:solidFill>
                    <a:sysClr val="window" lastClr="FFFFFF"/>
                  </a:solidFill>
                  <a:latin typeface="Calibri"/>
                  <a:ea typeface="ＭＳ Ｐゴシック" pitchFamily="-97" charset="-128"/>
                  <a:cs typeface="+mn-cs"/>
                </a:endParaRPr>
              </a:p>
            </p:txBody>
          </p:sp>
          <p:grpSp>
            <p:nvGrpSpPr>
              <p:cNvPr id="75" name="Gruppe 352"/>
              <p:cNvGrpSpPr>
                <a:grpSpLocks/>
              </p:cNvGrpSpPr>
              <p:nvPr/>
            </p:nvGrpSpPr>
            <p:grpSpPr bwMode="auto">
              <a:xfrm>
                <a:off x="4244617" y="2571374"/>
                <a:ext cx="525503" cy="640456"/>
                <a:chOff x="4768533" y="2411730"/>
                <a:chExt cx="406400" cy="495300"/>
              </a:xfrm>
            </p:grpSpPr>
            <p:sp>
              <p:nvSpPr>
                <p:cNvPr id="77" name="Freeform 21"/>
                <p:cNvSpPr>
                  <a:spLocks noEditPoints="1"/>
                </p:cNvSpPr>
                <p:nvPr/>
              </p:nvSpPr>
              <p:spPr bwMode="auto">
                <a:xfrm>
                  <a:off x="4768533" y="2411730"/>
                  <a:ext cx="276225" cy="390525"/>
                </a:xfrm>
                <a:custGeom>
                  <a:avLst/>
                  <a:gdLst>
                    <a:gd name="T0" fmla="*/ 2147483647 w 174"/>
                    <a:gd name="T1" fmla="*/ 2147483647 h 246"/>
                    <a:gd name="T2" fmla="*/ 2147483647 w 174"/>
                    <a:gd name="T3" fmla="*/ 0 h 246"/>
                    <a:gd name="T4" fmla="*/ 2147483647 w 174"/>
                    <a:gd name="T5" fmla="*/ 2147483647 h 246"/>
                    <a:gd name="T6" fmla="*/ 2147483647 w 174"/>
                    <a:gd name="T7" fmla="*/ 2147483647 h 246"/>
                    <a:gd name="T8" fmla="*/ 2147483647 w 174"/>
                    <a:gd name="T9" fmla="*/ 2147483647 h 246"/>
                    <a:gd name="T10" fmla="*/ 0 w 174"/>
                    <a:gd name="T11" fmla="*/ 2147483647 h 246"/>
                    <a:gd name="T12" fmla="*/ 0 w 174"/>
                    <a:gd name="T13" fmla="*/ 0 h 246"/>
                    <a:gd name="T14" fmla="*/ 2147483647 w 174"/>
                    <a:gd name="T15" fmla="*/ 0 h 246"/>
                    <a:gd name="T16" fmla="*/ 2147483647 w 174"/>
                    <a:gd name="T17" fmla="*/ 2147483647 h 246"/>
                    <a:gd name="T18" fmla="*/ 2147483647 w 174"/>
                    <a:gd name="T19" fmla="*/ 2147483647 h 246"/>
                    <a:gd name="T20" fmla="*/ 2147483647 w 174"/>
                    <a:gd name="T21" fmla="*/ 2147483647 h 246"/>
                    <a:gd name="T22" fmla="*/ 0 w 174"/>
                    <a:gd name="T23" fmla="*/ 2147483647 h 24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74"/>
                    <a:gd name="T37" fmla="*/ 0 h 246"/>
                    <a:gd name="T38" fmla="*/ 174 w 174"/>
                    <a:gd name="T39" fmla="*/ 246 h 24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74" h="246">
                      <a:moveTo>
                        <a:pt x="174" y="26"/>
                      </a:moveTo>
                      <a:lnTo>
                        <a:pt x="148" y="0"/>
                      </a:lnTo>
                      <a:lnTo>
                        <a:pt x="148" y="26"/>
                      </a:lnTo>
                      <a:lnTo>
                        <a:pt x="174" y="26"/>
                      </a:lnTo>
                      <a:close/>
                      <a:moveTo>
                        <a:pt x="0" y="246"/>
                      </a:moveTo>
                      <a:lnTo>
                        <a:pt x="0" y="0"/>
                      </a:lnTo>
                      <a:lnTo>
                        <a:pt x="138" y="0"/>
                      </a:lnTo>
                      <a:lnTo>
                        <a:pt x="138" y="36"/>
                      </a:lnTo>
                      <a:lnTo>
                        <a:pt x="174" y="36"/>
                      </a:lnTo>
                      <a:lnTo>
                        <a:pt x="174" y="246"/>
                      </a:lnTo>
                      <a:lnTo>
                        <a:pt x="0" y="246"/>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tr-TR"/>
                </a:p>
              </p:txBody>
            </p:sp>
            <p:sp>
              <p:nvSpPr>
                <p:cNvPr id="98" name="Freeform 22"/>
                <p:cNvSpPr>
                  <a:spLocks noEditPoints="1"/>
                </p:cNvSpPr>
                <p:nvPr/>
              </p:nvSpPr>
              <p:spPr bwMode="auto">
                <a:xfrm>
                  <a:off x="4816158" y="2453005"/>
                  <a:ext cx="196850" cy="311150"/>
                </a:xfrm>
                <a:custGeom>
                  <a:avLst/>
                  <a:gdLst>
                    <a:gd name="T0" fmla="*/ 0 w 124"/>
                    <a:gd name="T1" fmla="*/ 0 h 196"/>
                    <a:gd name="T2" fmla="*/ 2147483647 w 124"/>
                    <a:gd name="T3" fmla="*/ 0 h 196"/>
                    <a:gd name="T4" fmla="*/ 2147483647 w 124"/>
                    <a:gd name="T5" fmla="*/ 2147483647 h 196"/>
                    <a:gd name="T6" fmla="*/ 0 w 124"/>
                    <a:gd name="T7" fmla="*/ 2147483647 h 196"/>
                    <a:gd name="T8" fmla="*/ 0 w 124"/>
                    <a:gd name="T9" fmla="*/ 0 h 196"/>
                    <a:gd name="T10" fmla="*/ 0 w 124"/>
                    <a:gd name="T11" fmla="*/ 0 h 196"/>
                    <a:gd name="T12" fmla="*/ 0 w 124"/>
                    <a:gd name="T13" fmla="*/ 2147483647 h 196"/>
                    <a:gd name="T14" fmla="*/ 2147483647 w 124"/>
                    <a:gd name="T15" fmla="*/ 2147483647 h 196"/>
                    <a:gd name="T16" fmla="*/ 2147483647 w 124"/>
                    <a:gd name="T17" fmla="*/ 2147483647 h 196"/>
                    <a:gd name="T18" fmla="*/ 0 w 124"/>
                    <a:gd name="T19" fmla="*/ 2147483647 h 196"/>
                    <a:gd name="T20" fmla="*/ 0 w 124"/>
                    <a:gd name="T21" fmla="*/ 2147483647 h 196"/>
                    <a:gd name="T22" fmla="*/ 0 w 124"/>
                    <a:gd name="T23" fmla="*/ 2147483647 h 196"/>
                    <a:gd name="T24" fmla="*/ 2147483647 w 124"/>
                    <a:gd name="T25" fmla="*/ 2147483647 h 196"/>
                    <a:gd name="T26" fmla="*/ 2147483647 w 124"/>
                    <a:gd name="T27" fmla="*/ 2147483647 h 196"/>
                    <a:gd name="T28" fmla="*/ 0 w 124"/>
                    <a:gd name="T29" fmla="*/ 2147483647 h 196"/>
                    <a:gd name="T30" fmla="*/ 0 w 124"/>
                    <a:gd name="T31" fmla="*/ 2147483647 h 196"/>
                    <a:gd name="T32" fmla="*/ 2147483647 w 124"/>
                    <a:gd name="T33" fmla="*/ 2147483647 h 196"/>
                    <a:gd name="T34" fmla="*/ 2147483647 w 124"/>
                    <a:gd name="T35" fmla="*/ 2147483647 h 196"/>
                    <a:gd name="T36" fmla="*/ 2147483647 w 124"/>
                    <a:gd name="T37" fmla="*/ 2147483647 h 196"/>
                    <a:gd name="T38" fmla="*/ 2147483647 w 124"/>
                    <a:gd name="T39" fmla="*/ 2147483647 h 196"/>
                    <a:gd name="T40" fmla="*/ 0 w 124"/>
                    <a:gd name="T41" fmla="*/ 2147483647 h 196"/>
                    <a:gd name="T42" fmla="*/ 0 w 124"/>
                    <a:gd name="T43" fmla="*/ 2147483647 h 196"/>
                    <a:gd name="T44" fmla="*/ 2147483647 w 124"/>
                    <a:gd name="T45" fmla="*/ 2147483647 h 196"/>
                    <a:gd name="T46" fmla="*/ 2147483647 w 124"/>
                    <a:gd name="T47" fmla="*/ 2147483647 h 196"/>
                    <a:gd name="T48" fmla="*/ 2147483647 w 124"/>
                    <a:gd name="T49" fmla="*/ 2147483647 h 196"/>
                    <a:gd name="T50" fmla="*/ 2147483647 w 124"/>
                    <a:gd name="T51" fmla="*/ 2147483647 h 196"/>
                    <a:gd name="T52" fmla="*/ 0 w 124"/>
                    <a:gd name="T53" fmla="*/ 2147483647 h 196"/>
                    <a:gd name="T54" fmla="*/ 0 w 124"/>
                    <a:gd name="T55" fmla="*/ 2147483647 h 196"/>
                    <a:gd name="T56" fmla="*/ 2147483647 w 124"/>
                    <a:gd name="T57" fmla="*/ 2147483647 h 196"/>
                    <a:gd name="T58" fmla="*/ 2147483647 w 124"/>
                    <a:gd name="T59" fmla="*/ 2147483647 h 196"/>
                    <a:gd name="T60" fmla="*/ 2147483647 w 124"/>
                    <a:gd name="T61" fmla="*/ 2147483647 h 196"/>
                    <a:gd name="T62" fmla="*/ 2147483647 w 124"/>
                    <a:gd name="T63" fmla="*/ 2147483647 h 196"/>
                    <a:gd name="T64" fmla="*/ 0 w 124"/>
                    <a:gd name="T65" fmla="*/ 2147483647 h 196"/>
                    <a:gd name="T66" fmla="*/ 0 w 124"/>
                    <a:gd name="T67" fmla="*/ 2147483647 h 196"/>
                    <a:gd name="T68" fmla="*/ 2147483647 w 124"/>
                    <a:gd name="T69" fmla="*/ 2147483647 h 196"/>
                    <a:gd name="T70" fmla="*/ 2147483647 w 124"/>
                    <a:gd name="T71" fmla="*/ 2147483647 h 196"/>
                    <a:gd name="T72" fmla="*/ 0 w 124"/>
                    <a:gd name="T73" fmla="*/ 2147483647 h 196"/>
                    <a:gd name="T74" fmla="*/ 2147483647 w 124"/>
                    <a:gd name="T75" fmla="*/ 2147483647 h 196"/>
                    <a:gd name="T76" fmla="*/ 2147483647 w 124"/>
                    <a:gd name="T77" fmla="*/ 2147483647 h 196"/>
                    <a:gd name="T78" fmla="*/ 0 w 124"/>
                    <a:gd name="T79" fmla="*/ 2147483647 h 196"/>
                    <a:gd name="T80" fmla="*/ 0 w 124"/>
                    <a:gd name="T81" fmla="*/ 2147483647 h 196"/>
                    <a:gd name="T82" fmla="*/ 0 w 124"/>
                    <a:gd name="T83" fmla="*/ 2147483647 h 196"/>
                    <a:gd name="T84" fmla="*/ 2147483647 w 124"/>
                    <a:gd name="T85" fmla="*/ 2147483647 h 196"/>
                    <a:gd name="T86" fmla="*/ 2147483647 w 124"/>
                    <a:gd name="T87" fmla="*/ 2147483647 h 196"/>
                    <a:gd name="T88" fmla="*/ 0 w 124"/>
                    <a:gd name="T89" fmla="*/ 2147483647 h 196"/>
                    <a:gd name="T90" fmla="*/ 0 w 124"/>
                    <a:gd name="T91" fmla="*/ 2147483647 h 196"/>
                    <a:gd name="T92" fmla="*/ 2147483647 w 124"/>
                    <a:gd name="T93" fmla="*/ 2147483647 h 19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24"/>
                    <a:gd name="T142" fmla="*/ 0 h 196"/>
                    <a:gd name="T143" fmla="*/ 124 w 124"/>
                    <a:gd name="T144" fmla="*/ 196 h 19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24" h="196">
                      <a:moveTo>
                        <a:pt x="0" y="0"/>
                      </a:moveTo>
                      <a:lnTo>
                        <a:pt x="94" y="0"/>
                      </a:lnTo>
                      <a:lnTo>
                        <a:pt x="94" y="8"/>
                      </a:lnTo>
                      <a:lnTo>
                        <a:pt x="0" y="8"/>
                      </a:lnTo>
                      <a:lnTo>
                        <a:pt x="0" y="0"/>
                      </a:lnTo>
                      <a:close/>
                      <a:moveTo>
                        <a:pt x="0" y="26"/>
                      </a:moveTo>
                      <a:lnTo>
                        <a:pt x="124" y="26"/>
                      </a:lnTo>
                      <a:lnTo>
                        <a:pt x="124" y="36"/>
                      </a:lnTo>
                      <a:lnTo>
                        <a:pt x="0" y="36"/>
                      </a:lnTo>
                      <a:lnTo>
                        <a:pt x="0" y="26"/>
                      </a:lnTo>
                      <a:close/>
                      <a:moveTo>
                        <a:pt x="124" y="160"/>
                      </a:moveTo>
                      <a:lnTo>
                        <a:pt x="124" y="168"/>
                      </a:lnTo>
                      <a:lnTo>
                        <a:pt x="0" y="168"/>
                      </a:lnTo>
                      <a:lnTo>
                        <a:pt x="0" y="160"/>
                      </a:lnTo>
                      <a:lnTo>
                        <a:pt x="124" y="160"/>
                      </a:lnTo>
                      <a:close/>
                      <a:moveTo>
                        <a:pt x="124" y="52"/>
                      </a:moveTo>
                      <a:lnTo>
                        <a:pt x="124" y="62"/>
                      </a:lnTo>
                      <a:lnTo>
                        <a:pt x="0" y="62"/>
                      </a:lnTo>
                      <a:lnTo>
                        <a:pt x="0" y="52"/>
                      </a:lnTo>
                      <a:lnTo>
                        <a:pt x="124" y="52"/>
                      </a:lnTo>
                      <a:close/>
                      <a:moveTo>
                        <a:pt x="124" y="106"/>
                      </a:moveTo>
                      <a:lnTo>
                        <a:pt x="124" y="116"/>
                      </a:lnTo>
                      <a:lnTo>
                        <a:pt x="0" y="116"/>
                      </a:lnTo>
                      <a:lnTo>
                        <a:pt x="0" y="106"/>
                      </a:lnTo>
                      <a:lnTo>
                        <a:pt x="124" y="106"/>
                      </a:lnTo>
                      <a:close/>
                      <a:moveTo>
                        <a:pt x="124" y="132"/>
                      </a:moveTo>
                      <a:lnTo>
                        <a:pt x="124" y="142"/>
                      </a:lnTo>
                      <a:lnTo>
                        <a:pt x="0" y="142"/>
                      </a:lnTo>
                      <a:lnTo>
                        <a:pt x="0" y="132"/>
                      </a:lnTo>
                      <a:lnTo>
                        <a:pt x="124" y="132"/>
                      </a:lnTo>
                      <a:close/>
                      <a:moveTo>
                        <a:pt x="0" y="186"/>
                      </a:moveTo>
                      <a:lnTo>
                        <a:pt x="124" y="186"/>
                      </a:lnTo>
                      <a:lnTo>
                        <a:pt x="124" y="196"/>
                      </a:lnTo>
                      <a:lnTo>
                        <a:pt x="0" y="196"/>
                      </a:lnTo>
                      <a:lnTo>
                        <a:pt x="0" y="186"/>
                      </a:lnTo>
                      <a:close/>
                      <a:moveTo>
                        <a:pt x="124" y="80"/>
                      </a:moveTo>
                      <a:lnTo>
                        <a:pt x="124" y="88"/>
                      </a:lnTo>
                      <a:lnTo>
                        <a:pt x="0" y="88"/>
                      </a:lnTo>
                      <a:lnTo>
                        <a:pt x="0" y="80"/>
                      </a:lnTo>
                      <a:lnTo>
                        <a:pt x="124" y="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tr-TR"/>
                </a:p>
              </p:txBody>
            </p:sp>
            <p:sp>
              <p:nvSpPr>
                <p:cNvPr id="99" name="Freeform 23"/>
                <p:cNvSpPr>
                  <a:spLocks noEditPoints="1"/>
                </p:cNvSpPr>
                <p:nvPr/>
              </p:nvSpPr>
              <p:spPr bwMode="auto">
                <a:xfrm>
                  <a:off x="4901883" y="2516505"/>
                  <a:ext cx="273050" cy="390525"/>
                </a:xfrm>
                <a:custGeom>
                  <a:avLst/>
                  <a:gdLst>
                    <a:gd name="T0" fmla="*/ 2147483647 w 172"/>
                    <a:gd name="T1" fmla="*/ 2147483647 h 246"/>
                    <a:gd name="T2" fmla="*/ 2147483647 w 172"/>
                    <a:gd name="T3" fmla="*/ 0 h 246"/>
                    <a:gd name="T4" fmla="*/ 2147483647 w 172"/>
                    <a:gd name="T5" fmla="*/ 2147483647 h 246"/>
                    <a:gd name="T6" fmla="*/ 2147483647 w 172"/>
                    <a:gd name="T7" fmla="*/ 2147483647 h 246"/>
                    <a:gd name="T8" fmla="*/ 2147483647 w 172"/>
                    <a:gd name="T9" fmla="*/ 2147483647 h 246"/>
                    <a:gd name="T10" fmla="*/ 0 w 172"/>
                    <a:gd name="T11" fmla="*/ 2147483647 h 246"/>
                    <a:gd name="T12" fmla="*/ 0 w 172"/>
                    <a:gd name="T13" fmla="*/ 0 h 246"/>
                    <a:gd name="T14" fmla="*/ 2147483647 w 172"/>
                    <a:gd name="T15" fmla="*/ 0 h 246"/>
                    <a:gd name="T16" fmla="*/ 2147483647 w 172"/>
                    <a:gd name="T17" fmla="*/ 2147483647 h 246"/>
                    <a:gd name="T18" fmla="*/ 2147483647 w 172"/>
                    <a:gd name="T19" fmla="*/ 2147483647 h 246"/>
                    <a:gd name="T20" fmla="*/ 2147483647 w 172"/>
                    <a:gd name="T21" fmla="*/ 2147483647 h 246"/>
                    <a:gd name="T22" fmla="*/ 0 w 172"/>
                    <a:gd name="T23" fmla="*/ 2147483647 h 24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72"/>
                    <a:gd name="T37" fmla="*/ 0 h 246"/>
                    <a:gd name="T38" fmla="*/ 172 w 172"/>
                    <a:gd name="T39" fmla="*/ 246 h 24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72" h="246">
                      <a:moveTo>
                        <a:pt x="172" y="28"/>
                      </a:moveTo>
                      <a:lnTo>
                        <a:pt x="146" y="0"/>
                      </a:lnTo>
                      <a:lnTo>
                        <a:pt x="146" y="28"/>
                      </a:lnTo>
                      <a:lnTo>
                        <a:pt x="172" y="28"/>
                      </a:lnTo>
                      <a:close/>
                      <a:moveTo>
                        <a:pt x="0" y="246"/>
                      </a:moveTo>
                      <a:lnTo>
                        <a:pt x="0" y="0"/>
                      </a:lnTo>
                      <a:lnTo>
                        <a:pt x="138" y="0"/>
                      </a:lnTo>
                      <a:lnTo>
                        <a:pt x="138" y="36"/>
                      </a:lnTo>
                      <a:lnTo>
                        <a:pt x="172" y="36"/>
                      </a:lnTo>
                      <a:lnTo>
                        <a:pt x="172" y="246"/>
                      </a:lnTo>
                      <a:lnTo>
                        <a:pt x="0" y="246"/>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tr-TR"/>
                </a:p>
              </p:txBody>
            </p:sp>
            <p:sp>
              <p:nvSpPr>
                <p:cNvPr id="100" name="Freeform 24"/>
                <p:cNvSpPr>
                  <a:spLocks noEditPoints="1"/>
                </p:cNvSpPr>
                <p:nvPr/>
              </p:nvSpPr>
              <p:spPr bwMode="auto">
                <a:xfrm>
                  <a:off x="4946333" y="2557780"/>
                  <a:ext cx="200025" cy="307975"/>
                </a:xfrm>
                <a:custGeom>
                  <a:avLst/>
                  <a:gdLst>
                    <a:gd name="T0" fmla="*/ 0 w 126"/>
                    <a:gd name="T1" fmla="*/ 0 h 194"/>
                    <a:gd name="T2" fmla="*/ 2147483647 w 126"/>
                    <a:gd name="T3" fmla="*/ 0 h 194"/>
                    <a:gd name="T4" fmla="*/ 2147483647 w 126"/>
                    <a:gd name="T5" fmla="*/ 2147483647 h 194"/>
                    <a:gd name="T6" fmla="*/ 0 w 126"/>
                    <a:gd name="T7" fmla="*/ 2147483647 h 194"/>
                    <a:gd name="T8" fmla="*/ 0 w 126"/>
                    <a:gd name="T9" fmla="*/ 0 h 194"/>
                    <a:gd name="T10" fmla="*/ 0 w 126"/>
                    <a:gd name="T11" fmla="*/ 0 h 194"/>
                    <a:gd name="T12" fmla="*/ 0 w 126"/>
                    <a:gd name="T13" fmla="*/ 2147483647 h 194"/>
                    <a:gd name="T14" fmla="*/ 2147483647 w 126"/>
                    <a:gd name="T15" fmla="*/ 2147483647 h 194"/>
                    <a:gd name="T16" fmla="*/ 2147483647 w 126"/>
                    <a:gd name="T17" fmla="*/ 2147483647 h 194"/>
                    <a:gd name="T18" fmla="*/ 0 w 126"/>
                    <a:gd name="T19" fmla="*/ 2147483647 h 194"/>
                    <a:gd name="T20" fmla="*/ 0 w 126"/>
                    <a:gd name="T21" fmla="*/ 2147483647 h 194"/>
                    <a:gd name="T22" fmla="*/ 0 w 126"/>
                    <a:gd name="T23" fmla="*/ 2147483647 h 194"/>
                    <a:gd name="T24" fmla="*/ 2147483647 w 126"/>
                    <a:gd name="T25" fmla="*/ 2147483647 h 194"/>
                    <a:gd name="T26" fmla="*/ 2147483647 w 126"/>
                    <a:gd name="T27" fmla="*/ 2147483647 h 194"/>
                    <a:gd name="T28" fmla="*/ 0 w 126"/>
                    <a:gd name="T29" fmla="*/ 2147483647 h 194"/>
                    <a:gd name="T30" fmla="*/ 0 w 126"/>
                    <a:gd name="T31" fmla="*/ 2147483647 h 194"/>
                    <a:gd name="T32" fmla="*/ 2147483647 w 126"/>
                    <a:gd name="T33" fmla="*/ 2147483647 h 194"/>
                    <a:gd name="T34" fmla="*/ 2147483647 w 126"/>
                    <a:gd name="T35" fmla="*/ 2147483647 h 194"/>
                    <a:gd name="T36" fmla="*/ 2147483647 w 126"/>
                    <a:gd name="T37" fmla="*/ 2147483647 h 194"/>
                    <a:gd name="T38" fmla="*/ 2147483647 w 126"/>
                    <a:gd name="T39" fmla="*/ 2147483647 h 194"/>
                    <a:gd name="T40" fmla="*/ 0 w 126"/>
                    <a:gd name="T41" fmla="*/ 2147483647 h 194"/>
                    <a:gd name="T42" fmla="*/ 0 w 126"/>
                    <a:gd name="T43" fmla="*/ 2147483647 h 194"/>
                    <a:gd name="T44" fmla="*/ 2147483647 w 126"/>
                    <a:gd name="T45" fmla="*/ 2147483647 h 194"/>
                    <a:gd name="T46" fmla="*/ 2147483647 w 126"/>
                    <a:gd name="T47" fmla="*/ 2147483647 h 194"/>
                    <a:gd name="T48" fmla="*/ 2147483647 w 126"/>
                    <a:gd name="T49" fmla="*/ 2147483647 h 194"/>
                    <a:gd name="T50" fmla="*/ 2147483647 w 126"/>
                    <a:gd name="T51" fmla="*/ 2147483647 h 194"/>
                    <a:gd name="T52" fmla="*/ 0 w 126"/>
                    <a:gd name="T53" fmla="*/ 2147483647 h 194"/>
                    <a:gd name="T54" fmla="*/ 0 w 126"/>
                    <a:gd name="T55" fmla="*/ 2147483647 h 194"/>
                    <a:gd name="T56" fmla="*/ 2147483647 w 126"/>
                    <a:gd name="T57" fmla="*/ 2147483647 h 194"/>
                    <a:gd name="T58" fmla="*/ 2147483647 w 126"/>
                    <a:gd name="T59" fmla="*/ 2147483647 h 194"/>
                    <a:gd name="T60" fmla="*/ 2147483647 w 126"/>
                    <a:gd name="T61" fmla="*/ 2147483647 h 194"/>
                    <a:gd name="T62" fmla="*/ 2147483647 w 126"/>
                    <a:gd name="T63" fmla="*/ 2147483647 h 194"/>
                    <a:gd name="T64" fmla="*/ 0 w 126"/>
                    <a:gd name="T65" fmla="*/ 2147483647 h 194"/>
                    <a:gd name="T66" fmla="*/ 0 w 126"/>
                    <a:gd name="T67" fmla="*/ 2147483647 h 194"/>
                    <a:gd name="T68" fmla="*/ 2147483647 w 126"/>
                    <a:gd name="T69" fmla="*/ 2147483647 h 194"/>
                    <a:gd name="T70" fmla="*/ 2147483647 w 126"/>
                    <a:gd name="T71" fmla="*/ 2147483647 h 194"/>
                    <a:gd name="T72" fmla="*/ 0 w 126"/>
                    <a:gd name="T73" fmla="*/ 2147483647 h 194"/>
                    <a:gd name="T74" fmla="*/ 2147483647 w 126"/>
                    <a:gd name="T75" fmla="*/ 2147483647 h 194"/>
                    <a:gd name="T76" fmla="*/ 2147483647 w 126"/>
                    <a:gd name="T77" fmla="*/ 2147483647 h 194"/>
                    <a:gd name="T78" fmla="*/ 0 w 126"/>
                    <a:gd name="T79" fmla="*/ 2147483647 h 194"/>
                    <a:gd name="T80" fmla="*/ 0 w 126"/>
                    <a:gd name="T81" fmla="*/ 2147483647 h 194"/>
                    <a:gd name="T82" fmla="*/ 0 w 126"/>
                    <a:gd name="T83" fmla="*/ 2147483647 h 194"/>
                    <a:gd name="T84" fmla="*/ 2147483647 w 126"/>
                    <a:gd name="T85" fmla="*/ 2147483647 h 194"/>
                    <a:gd name="T86" fmla="*/ 2147483647 w 126"/>
                    <a:gd name="T87" fmla="*/ 2147483647 h 194"/>
                    <a:gd name="T88" fmla="*/ 0 w 126"/>
                    <a:gd name="T89" fmla="*/ 2147483647 h 194"/>
                    <a:gd name="T90" fmla="*/ 0 w 126"/>
                    <a:gd name="T91" fmla="*/ 2147483647 h 194"/>
                    <a:gd name="T92" fmla="*/ 2147483647 w 126"/>
                    <a:gd name="T93" fmla="*/ 2147483647 h 19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26"/>
                    <a:gd name="T142" fmla="*/ 0 h 194"/>
                    <a:gd name="T143" fmla="*/ 126 w 126"/>
                    <a:gd name="T144" fmla="*/ 194 h 19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26" h="194">
                      <a:moveTo>
                        <a:pt x="0" y="0"/>
                      </a:moveTo>
                      <a:lnTo>
                        <a:pt x="96" y="0"/>
                      </a:lnTo>
                      <a:lnTo>
                        <a:pt x="96" y="8"/>
                      </a:lnTo>
                      <a:lnTo>
                        <a:pt x="0" y="8"/>
                      </a:lnTo>
                      <a:lnTo>
                        <a:pt x="0" y="0"/>
                      </a:lnTo>
                      <a:close/>
                      <a:moveTo>
                        <a:pt x="0" y="26"/>
                      </a:moveTo>
                      <a:lnTo>
                        <a:pt x="126" y="26"/>
                      </a:lnTo>
                      <a:lnTo>
                        <a:pt x="126" y="34"/>
                      </a:lnTo>
                      <a:lnTo>
                        <a:pt x="0" y="34"/>
                      </a:lnTo>
                      <a:lnTo>
                        <a:pt x="0" y="26"/>
                      </a:lnTo>
                      <a:close/>
                      <a:moveTo>
                        <a:pt x="126" y="160"/>
                      </a:moveTo>
                      <a:lnTo>
                        <a:pt x="126" y="168"/>
                      </a:lnTo>
                      <a:lnTo>
                        <a:pt x="0" y="168"/>
                      </a:lnTo>
                      <a:lnTo>
                        <a:pt x="0" y="160"/>
                      </a:lnTo>
                      <a:lnTo>
                        <a:pt x="126" y="160"/>
                      </a:lnTo>
                      <a:close/>
                      <a:moveTo>
                        <a:pt x="126" y="54"/>
                      </a:moveTo>
                      <a:lnTo>
                        <a:pt x="126" y="62"/>
                      </a:lnTo>
                      <a:lnTo>
                        <a:pt x="0" y="62"/>
                      </a:lnTo>
                      <a:lnTo>
                        <a:pt x="0" y="54"/>
                      </a:lnTo>
                      <a:lnTo>
                        <a:pt x="126" y="54"/>
                      </a:lnTo>
                      <a:close/>
                      <a:moveTo>
                        <a:pt x="126" y="106"/>
                      </a:moveTo>
                      <a:lnTo>
                        <a:pt x="126" y="114"/>
                      </a:lnTo>
                      <a:lnTo>
                        <a:pt x="0" y="114"/>
                      </a:lnTo>
                      <a:lnTo>
                        <a:pt x="0" y="106"/>
                      </a:lnTo>
                      <a:lnTo>
                        <a:pt x="126" y="106"/>
                      </a:lnTo>
                      <a:close/>
                      <a:moveTo>
                        <a:pt x="126" y="132"/>
                      </a:moveTo>
                      <a:lnTo>
                        <a:pt x="126" y="142"/>
                      </a:lnTo>
                      <a:lnTo>
                        <a:pt x="0" y="142"/>
                      </a:lnTo>
                      <a:lnTo>
                        <a:pt x="0" y="132"/>
                      </a:lnTo>
                      <a:lnTo>
                        <a:pt x="126" y="132"/>
                      </a:lnTo>
                      <a:close/>
                      <a:moveTo>
                        <a:pt x="0" y="186"/>
                      </a:moveTo>
                      <a:lnTo>
                        <a:pt x="126" y="186"/>
                      </a:lnTo>
                      <a:lnTo>
                        <a:pt x="126" y="194"/>
                      </a:lnTo>
                      <a:lnTo>
                        <a:pt x="0" y="194"/>
                      </a:lnTo>
                      <a:lnTo>
                        <a:pt x="0" y="186"/>
                      </a:lnTo>
                      <a:close/>
                      <a:moveTo>
                        <a:pt x="126" y="80"/>
                      </a:moveTo>
                      <a:lnTo>
                        <a:pt x="126" y="88"/>
                      </a:lnTo>
                      <a:lnTo>
                        <a:pt x="0" y="88"/>
                      </a:lnTo>
                      <a:lnTo>
                        <a:pt x="0" y="80"/>
                      </a:lnTo>
                      <a:lnTo>
                        <a:pt x="126" y="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tr-TR"/>
                </a:p>
              </p:txBody>
            </p:sp>
          </p:grpSp>
          <p:sp>
            <p:nvSpPr>
              <p:cNvPr id="76" name="Ellipse 45"/>
              <p:cNvSpPr/>
              <p:nvPr/>
            </p:nvSpPr>
            <p:spPr bwMode="auto">
              <a:xfrm>
                <a:off x="4162078" y="2430178"/>
                <a:ext cx="723221" cy="540089"/>
              </a:xfrm>
              <a:prstGeom prst="ellipse">
                <a:avLst/>
              </a:prstGeom>
              <a:gradFill flip="none" rotWithShape="1">
                <a:gsLst>
                  <a:gs pos="0">
                    <a:srgbClr val="FFFFFF">
                      <a:lumMod val="40000"/>
                      <a:lumOff val="60000"/>
                      <a:alpha val="0"/>
                    </a:srgbClr>
                  </a:gs>
                  <a:gs pos="100000">
                    <a:srgbClr val="FFFCF9">
                      <a:alpha val="77000"/>
                    </a:srgbClr>
                  </a:gs>
                </a:gsLst>
                <a:lin ang="16200000" scaled="0"/>
                <a:tileRect/>
              </a:gradFill>
              <a:ln w="9525" cap="flat" cmpd="sng" algn="ctr">
                <a:noFill/>
                <a:prstDash val="solid"/>
              </a:ln>
              <a:effectLst/>
            </p:spPr>
            <p:txBody>
              <a:bodyPr anchor="ctr"/>
              <a:lstStyle/>
              <a:p>
                <a:pPr algn="ctr" fontAlgn="auto">
                  <a:spcBef>
                    <a:spcPts val="0"/>
                  </a:spcBef>
                  <a:spcAft>
                    <a:spcPts val="0"/>
                  </a:spcAft>
                  <a:defRPr/>
                </a:pPr>
                <a:endParaRPr lang="da-DK" kern="0" dirty="0">
                  <a:solidFill>
                    <a:sysClr val="window" lastClr="FFFFFF"/>
                  </a:solidFill>
                  <a:latin typeface="Calibri"/>
                  <a:ea typeface="ＭＳ Ｐゴシック" pitchFamily="-97" charset="-128"/>
                  <a:cs typeface="+mn-cs"/>
                </a:endParaRPr>
              </a:p>
            </p:txBody>
          </p:sp>
        </p:grpSp>
        <p:sp>
          <p:nvSpPr>
            <p:cNvPr id="73" name="Ellipse 395"/>
            <p:cNvSpPr/>
            <p:nvPr/>
          </p:nvSpPr>
          <p:spPr bwMode="auto">
            <a:xfrm>
              <a:off x="3584575" y="5426212"/>
              <a:ext cx="1966913" cy="257038"/>
            </a:xfrm>
            <a:prstGeom prst="ellipse">
              <a:avLst/>
            </a:prstGeom>
            <a:gradFill flip="none" rotWithShape="1">
              <a:gsLst>
                <a:gs pos="24000">
                  <a:sysClr val="windowText" lastClr="000000">
                    <a:alpha val="22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fontAlgn="auto">
                <a:spcBef>
                  <a:spcPts val="0"/>
                </a:spcBef>
                <a:spcAft>
                  <a:spcPts val="0"/>
                </a:spcAft>
                <a:defRPr/>
              </a:pPr>
              <a:endParaRPr lang="da-DK" kern="0" dirty="0" err="1">
                <a:solidFill>
                  <a:sysClr val="window" lastClr="FFFFFF"/>
                </a:solidFill>
                <a:latin typeface="Calibri"/>
                <a:ea typeface="ＭＳ Ｐゴシック" pitchFamily="-97" charset="-128"/>
                <a:cs typeface="+mn-cs"/>
              </a:endParaRPr>
            </a:p>
          </p:txBody>
        </p:sp>
      </p:grpSp>
    </p:spTree>
    <p:extLst>
      <p:ext uri="{BB962C8B-B14F-4D97-AF65-F5344CB8AC3E}">
        <p14:creationId xmlns:p14="http://schemas.microsoft.com/office/powerpoint/2010/main" val="2216959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Billede 32" descr="Blue sky Corner.jpg"/>
          <p:cNvPicPr>
            <a:picLocks noChangeAspect="1"/>
          </p:cNvPicPr>
          <p:nvPr/>
        </p:nvPicPr>
        <p:blipFill>
          <a:blip r:embed="rId3"/>
          <a:srcRect/>
          <a:stretch>
            <a:fillRect/>
          </a:stretch>
        </p:blipFill>
        <p:spPr bwMode="auto">
          <a:xfrm>
            <a:off x="6341" y="-2020"/>
            <a:ext cx="9144000" cy="5255060"/>
          </a:xfrm>
          <a:prstGeom prst="rect">
            <a:avLst/>
          </a:prstGeom>
          <a:noFill/>
          <a:ln w="9525">
            <a:noFill/>
            <a:miter lim="800000"/>
            <a:headEnd/>
            <a:tailEnd/>
          </a:ln>
        </p:spPr>
      </p:pic>
      <p:grpSp>
        <p:nvGrpSpPr>
          <p:cNvPr id="147" name="Grup 146"/>
          <p:cNvGrpSpPr/>
          <p:nvPr/>
        </p:nvGrpSpPr>
        <p:grpSpPr>
          <a:xfrm>
            <a:off x="4638276" y="3592945"/>
            <a:ext cx="4502199" cy="3265055"/>
            <a:chOff x="4638276" y="3025959"/>
            <a:chExt cx="4502199" cy="3832041"/>
          </a:xfrm>
        </p:grpSpPr>
        <p:sp>
          <p:nvSpPr>
            <p:cNvPr id="150" name="Freeform 69"/>
            <p:cNvSpPr>
              <a:spLocks/>
            </p:cNvSpPr>
            <p:nvPr/>
          </p:nvSpPr>
          <p:spPr bwMode="auto">
            <a:xfrm>
              <a:off x="4666480" y="3025959"/>
              <a:ext cx="4473994" cy="2342048"/>
            </a:xfrm>
            <a:custGeom>
              <a:avLst/>
              <a:gdLst/>
              <a:ahLst/>
              <a:cxnLst>
                <a:cxn ang="0">
                  <a:pos x="2538" y="1530"/>
                </a:cxn>
                <a:cxn ang="0">
                  <a:pos x="2538" y="0"/>
                </a:cxn>
                <a:cxn ang="0">
                  <a:pos x="0" y="0"/>
                </a:cxn>
                <a:cxn ang="0">
                  <a:pos x="2538" y="1530"/>
                </a:cxn>
              </a:cxnLst>
              <a:rect l="0" t="0" r="r" b="b"/>
              <a:pathLst>
                <a:path w="2538" h="1530">
                  <a:moveTo>
                    <a:pt x="2538" y="1530"/>
                  </a:moveTo>
                  <a:lnTo>
                    <a:pt x="2538" y="0"/>
                  </a:lnTo>
                  <a:lnTo>
                    <a:pt x="0" y="0"/>
                  </a:lnTo>
                  <a:lnTo>
                    <a:pt x="2538" y="1530"/>
                  </a:lnTo>
                  <a:close/>
                </a:path>
              </a:pathLst>
            </a:custGeom>
            <a:solidFill>
              <a:schemeClr val="bg1">
                <a:lumMod val="95000"/>
              </a:schemeClr>
            </a:solidFill>
            <a:ln w="28575" cap="flat" cmpd="sng" algn="ctr">
              <a:noFill/>
              <a:prstDash val="solid"/>
            </a:ln>
            <a:effectLst/>
          </p:spPr>
          <p:txBody>
            <a:bodyPr anchor="ctr"/>
            <a:lstStyle/>
            <a:p>
              <a:pPr algn="ctr" fontAlgn="auto">
                <a:spcBef>
                  <a:spcPts val="0"/>
                </a:spcBef>
                <a:spcAft>
                  <a:spcPts val="0"/>
                </a:spcAft>
                <a:defRPr/>
              </a:pPr>
              <a:endParaRPr lang="da-DK" kern="0">
                <a:solidFill>
                  <a:sysClr val="window" lastClr="FFFFFF"/>
                </a:solidFill>
                <a:latin typeface="Calibri"/>
              </a:endParaRPr>
            </a:p>
          </p:txBody>
        </p:sp>
        <p:sp>
          <p:nvSpPr>
            <p:cNvPr id="151" name="Freeform 71"/>
            <p:cNvSpPr>
              <a:spLocks/>
            </p:cNvSpPr>
            <p:nvPr/>
          </p:nvSpPr>
          <p:spPr bwMode="auto">
            <a:xfrm>
              <a:off x="4638276" y="3028900"/>
              <a:ext cx="4502199" cy="3829100"/>
            </a:xfrm>
            <a:custGeom>
              <a:avLst/>
              <a:gdLst/>
              <a:ahLst/>
              <a:cxnLst>
                <a:cxn ang="0">
                  <a:pos x="1230" y="2604"/>
                </a:cxn>
                <a:cxn ang="0">
                  <a:pos x="1230" y="2604"/>
                </a:cxn>
                <a:cxn ang="0">
                  <a:pos x="2554" y="2604"/>
                </a:cxn>
                <a:cxn ang="0">
                  <a:pos x="2554" y="1540"/>
                </a:cxn>
                <a:cxn ang="0">
                  <a:pos x="0" y="0"/>
                </a:cxn>
                <a:cxn ang="0">
                  <a:pos x="1230" y="2604"/>
                </a:cxn>
              </a:cxnLst>
              <a:rect l="0" t="0" r="r" b="b"/>
              <a:pathLst>
                <a:path w="2554" h="2604">
                  <a:moveTo>
                    <a:pt x="1230" y="2604"/>
                  </a:moveTo>
                  <a:lnTo>
                    <a:pt x="1230" y="2604"/>
                  </a:lnTo>
                  <a:lnTo>
                    <a:pt x="2554" y="2604"/>
                  </a:lnTo>
                  <a:lnTo>
                    <a:pt x="2554" y="1540"/>
                  </a:lnTo>
                  <a:lnTo>
                    <a:pt x="0" y="0"/>
                  </a:lnTo>
                  <a:lnTo>
                    <a:pt x="1230" y="2604"/>
                  </a:lnTo>
                  <a:close/>
                </a:path>
              </a:pathLst>
            </a:custGeom>
            <a:solidFill>
              <a:schemeClr val="bg1">
                <a:lumMod val="95000"/>
              </a:schemeClr>
            </a:solidFill>
            <a:ln w="28575" cap="flat" cmpd="sng" algn="ctr">
              <a:noFill/>
              <a:prstDash val="solid"/>
            </a:ln>
            <a:effectLst/>
          </p:spPr>
          <p:txBody>
            <a:bodyPr anchor="ctr"/>
            <a:lstStyle/>
            <a:p>
              <a:pPr algn="ctr" fontAlgn="auto">
                <a:spcBef>
                  <a:spcPts val="0"/>
                </a:spcBef>
                <a:spcAft>
                  <a:spcPts val="0"/>
                </a:spcAft>
                <a:defRPr/>
              </a:pPr>
              <a:endParaRPr lang="da-DK" kern="0">
                <a:solidFill>
                  <a:sysClr val="window" lastClr="FFFFFF"/>
                </a:solidFill>
                <a:latin typeface="Calibri"/>
              </a:endParaRPr>
            </a:p>
          </p:txBody>
        </p:sp>
      </p:grpSp>
      <p:grpSp>
        <p:nvGrpSpPr>
          <p:cNvPr id="159" name="Grup 158"/>
          <p:cNvGrpSpPr/>
          <p:nvPr/>
        </p:nvGrpSpPr>
        <p:grpSpPr>
          <a:xfrm>
            <a:off x="2104" y="3592945"/>
            <a:ext cx="4604441" cy="3265055"/>
            <a:chOff x="2104" y="3025959"/>
            <a:chExt cx="4604441" cy="3832041"/>
          </a:xfrm>
          <a:solidFill>
            <a:schemeClr val="tx2">
              <a:lumMod val="75000"/>
            </a:schemeClr>
          </a:solidFill>
        </p:grpSpPr>
        <p:sp>
          <p:nvSpPr>
            <p:cNvPr id="160" name="Freeform 68"/>
            <p:cNvSpPr>
              <a:spLocks/>
            </p:cNvSpPr>
            <p:nvPr/>
          </p:nvSpPr>
          <p:spPr bwMode="auto">
            <a:xfrm>
              <a:off x="2104" y="3028900"/>
              <a:ext cx="4604441" cy="3829100"/>
            </a:xfrm>
            <a:custGeom>
              <a:avLst/>
              <a:gdLst/>
              <a:ahLst/>
              <a:cxnLst>
                <a:cxn ang="0">
                  <a:pos x="0" y="1562"/>
                </a:cxn>
                <a:cxn ang="0">
                  <a:pos x="0" y="2604"/>
                </a:cxn>
                <a:cxn ang="0">
                  <a:pos x="1272" y="2604"/>
                </a:cxn>
                <a:cxn ang="0">
                  <a:pos x="2612" y="0"/>
                </a:cxn>
                <a:cxn ang="0">
                  <a:pos x="0" y="1562"/>
                </a:cxn>
              </a:cxnLst>
              <a:rect l="0" t="0" r="r" b="b"/>
              <a:pathLst>
                <a:path w="2612" h="2604">
                  <a:moveTo>
                    <a:pt x="0" y="1562"/>
                  </a:moveTo>
                  <a:lnTo>
                    <a:pt x="0" y="2604"/>
                  </a:lnTo>
                  <a:lnTo>
                    <a:pt x="1272" y="2604"/>
                  </a:lnTo>
                  <a:lnTo>
                    <a:pt x="2612" y="0"/>
                  </a:lnTo>
                  <a:lnTo>
                    <a:pt x="0" y="1562"/>
                  </a:lnTo>
                  <a:close/>
                </a:path>
              </a:pathLst>
            </a:custGeom>
            <a:grpFill/>
            <a:ln w="28575" cap="flat" cmpd="sng" algn="ctr">
              <a:noFill/>
              <a:prstDash val="solid"/>
            </a:ln>
            <a:effectLst/>
          </p:spPr>
          <p:txBody>
            <a:bodyPr anchor="ctr"/>
            <a:lstStyle/>
            <a:p>
              <a:pPr algn="ctr" fontAlgn="auto">
                <a:spcBef>
                  <a:spcPts val="0"/>
                </a:spcBef>
                <a:spcAft>
                  <a:spcPts val="0"/>
                </a:spcAft>
              </a:pPr>
              <a:endParaRPr lang="da-DK" kern="0">
                <a:solidFill>
                  <a:sysClr val="window" lastClr="FFFFFF"/>
                </a:solidFill>
                <a:latin typeface="Calibri"/>
              </a:endParaRPr>
            </a:p>
          </p:txBody>
        </p:sp>
        <p:sp>
          <p:nvSpPr>
            <p:cNvPr id="161" name="Freeform 72"/>
            <p:cNvSpPr>
              <a:spLocks/>
            </p:cNvSpPr>
            <p:nvPr/>
          </p:nvSpPr>
          <p:spPr bwMode="auto">
            <a:xfrm>
              <a:off x="2104" y="3025959"/>
              <a:ext cx="4576237" cy="2342048"/>
            </a:xfrm>
            <a:custGeom>
              <a:avLst/>
              <a:gdLst/>
              <a:ahLst/>
              <a:cxnLst>
                <a:cxn ang="0">
                  <a:pos x="2592" y="0"/>
                </a:cxn>
                <a:cxn ang="0">
                  <a:pos x="0" y="0"/>
                </a:cxn>
                <a:cxn ang="0">
                  <a:pos x="0" y="1552"/>
                </a:cxn>
                <a:cxn ang="0">
                  <a:pos x="2596" y="0"/>
                </a:cxn>
                <a:cxn ang="0">
                  <a:pos x="2592" y="0"/>
                </a:cxn>
              </a:cxnLst>
              <a:rect l="0" t="0" r="r" b="b"/>
              <a:pathLst>
                <a:path w="2596" h="1552">
                  <a:moveTo>
                    <a:pt x="2592" y="0"/>
                  </a:moveTo>
                  <a:lnTo>
                    <a:pt x="0" y="0"/>
                  </a:lnTo>
                  <a:lnTo>
                    <a:pt x="0" y="1552"/>
                  </a:lnTo>
                  <a:lnTo>
                    <a:pt x="2596" y="0"/>
                  </a:lnTo>
                  <a:lnTo>
                    <a:pt x="2592" y="0"/>
                  </a:lnTo>
                  <a:close/>
                </a:path>
              </a:pathLst>
            </a:custGeom>
            <a:grpFill/>
            <a:ln w="28575" cap="flat" cmpd="sng" algn="ctr">
              <a:noFill/>
              <a:prstDash val="solid"/>
            </a:ln>
            <a:effectLst/>
          </p:spPr>
          <p:txBody>
            <a:bodyPr anchor="ctr"/>
            <a:lstStyle/>
            <a:p>
              <a:pPr algn="ctr" fontAlgn="auto">
                <a:spcBef>
                  <a:spcPts val="0"/>
                </a:spcBef>
                <a:spcAft>
                  <a:spcPts val="0"/>
                </a:spcAft>
              </a:pPr>
              <a:endParaRPr lang="da-DK" kern="0">
                <a:solidFill>
                  <a:sysClr val="window" lastClr="FFFFFF"/>
                </a:solidFill>
                <a:latin typeface="Calibri"/>
              </a:endParaRPr>
            </a:p>
          </p:txBody>
        </p:sp>
      </p:grpSp>
      <p:sp>
        <p:nvSpPr>
          <p:cNvPr id="146" name="Freeform 70"/>
          <p:cNvSpPr>
            <a:spLocks/>
          </p:cNvSpPr>
          <p:nvPr/>
        </p:nvSpPr>
        <p:spPr bwMode="auto">
          <a:xfrm>
            <a:off x="2262017" y="3597956"/>
            <a:ext cx="4526878" cy="3260044"/>
          </a:xfrm>
          <a:custGeom>
            <a:avLst/>
            <a:gdLst/>
            <a:ahLst/>
            <a:cxnLst>
              <a:cxn ang="0">
                <a:pos x="0" y="2602"/>
              </a:cxn>
              <a:cxn ang="0">
                <a:pos x="2568" y="2602"/>
              </a:cxn>
              <a:cxn ang="0">
                <a:pos x="1338" y="0"/>
              </a:cxn>
              <a:cxn ang="0">
                <a:pos x="0" y="2602"/>
              </a:cxn>
            </a:cxnLst>
            <a:rect l="0" t="0" r="r" b="b"/>
            <a:pathLst>
              <a:path w="2568" h="2602">
                <a:moveTo>
                  <a:pt x="0" y="2602"/>
                </a:moveTo>
                <a:lnTo>
                  <a:pt x="2568" y="2602"/>
                </a:lnTo>
                <a:lnTo>
                  <a:pt x="1338" y="0"/>
                </a:lnTo>
                <a:lnTo>
                  <a:pt x="0" y="2602"/>
                </a:lnTo>
                <a:close/>
              </a:path>
            </a:pathLst>
          </a:custGeom>
          <a:gradFill rotWithShape="1">
            <a:gsLst>
              <a:gs pos="0">
                <a:srgbClr val="E6E6E6">
                  <a:tint val="100000"/>
                  <a:shade val="100000"/>
                  <a:satMod val="130000"/>
                </a:srgbClr>
              </a:gs>
              <a:gs pos="100000">
                <a:srgbClr val="E6E6E6">
                  <a:tint val="50000"/>
                  <a:shade val="100000"/>
                  <a:satMod val="350000"/>
                </a:srgbClr>
              </a:gs>
            </a:gsLst>
            <a:lin ang="16200000" scaled="0"/>
          </a:gradFill>
          <a:ln w="28575" cap="flat" cmpd="sng" algn="ctr">
            <a:gradFill flip="none" rotWithShape="1">
              <a:gsLst>
                <a:gs pos="50000">
                  <a:schemeClr val="accent5">
                    <a:lumMod val="60000"/>
                    <a:lumOff val="40000"/>
                  </a:schemeClr>
                </a:gs>
                <a:gs pos="100000">
                  <a:srgbClr val="002060"/>
                </a:gs>
              </a:gsLst>
              <a:lin ang="5400000" scaled="1"/>
              <a:tileRect/>
            </a:gradFill>
            <a:prstDash val="solid"/>
          </a:ln>
          <a:effectLst/>
        </p:spPr>
        <p:txBody>
          <a:bodyPr anchor="ctr"/>
          <a:lstStyle/>
          <a:p>
            <a:pPr algn="ctr" fontAlgn="auto">
              <a:spcBef>
                <a:spcPts val="0"/>
              </a:spcBef>
              <a:spcAft>
                <a:spcPts val="0"/>
              </a:spcAft>
              <a:defRPr/>
            </a:pPr>
            <a:endParaRPr lang="da-DK" kern="0" dirty="0">
              <a:solidFill>
                <a:sysClr val="window" lastClr="FFFFFF"/>
              </a:solidFill>
              <a:latin typeface="Calibri"/>
            </a:endParaRPr>
          </a:p>
        </p:txBody>
      </p:sp>
      <p:sp>
        <p:nvSpPr>
          <p:cNvPr id="15" name="Rektangel 14"/>
          <p:cNvSpPr/>
          <p:nvPr/>
        </p:nvSpPr>
        <p:spPr bwMode="auto">
          <a:xfrm>
            <a:off x="3563888" y="5099682"/>
            <a:ext cx="1977579" cy="461665"/>
          </a:xfrm>
          <a:prstGeom prst="rect">
            <a:avLst/>
          </a:prstGeom>
        </p:spPr>
        <p:txBody>
          <a:bodyPr wrap="square">
            <a:spAutoFit/>
          </a:bodyPr>
          <a:lstStyle/>
          <a:p>
            <a:pPr algn="ctr" fontAlgn="auto">
              <a:spcBef>
                <a:spcPts val="0"/>
              </a:spcBef>
              <a:spcAft>
                <a:spcPts val="0"/>
              </a:spcAft>
              <a:defRPr/>
            </a:pPr>
            <a:r>
              <a:rPr lang="tr-TR" sz="2400" b="1" kern="0" noProof="1" smtClean="0">
                <a:solidFill>
                  <a:schemeClr val="tx2">
                    <a:lumMod val="50000"/>
                  </a:schemeClr>
                </a:solidFill>
                <a:latin typeface="Calibri" pitchFamily="34" charset="0"/>
                <a:cs typeface="Arial" charset="0"/>
              </a:rPr>
              <a:t>Entegrasyon</a:t>
            </a:r>
            <a:endParaRPr lang="da-DK" sz="2800" kern="0" dirty="0">
              <a:solidFill>
                <a:schemeClr val="tx2">
                  <a:lumMod val="50000"/>
                </a:schemeClr>
              </a:solidFill>
              <a:latin typeface="Arial" pitchFamily="34" charset="0"/>
            </a:endParaRPr>
          </a:p>
        </p:txBody>
      </p:sp>
      <p:grpSp>
        <p:nvGrpSpPr>
          <p:cNvPr id="3099" name="Gruppe 158"/>
          <p:cNvGrpSpPr>
            <a:grpSpLocks/>
          </p:cNvGrpSpPr>
          <p:nvPr/>
        </p:nvGrpSpPr>
        <p:grpSpPr bwMode="auto">
          <a:xfrm>
            <a:off x="4791868" y="5703248"/>
            <a:ext cx="1376362" cy="1143000"/>
            <a:chOff x="1957594" y="3932767"/>
            <a:chExt cx="1651328" cy="1371122"/>
          </a:xfrm>
        </p:grpSpPr>
        <p:grpSp>
          <p:nvGrpSpPr>
            <p:cNvPr id="20" name="Gruppe 376"/>
            <p:cNvGrpSpPr/>
            <p:nvPr/>
          </p:nvGrpSpPr>
          <p:grpSpPr>
            <a:xfrm>
              <a:off x="2620111" y="3932767"/>
              <a:ext cx="988811" cy="971071"/>
              <a:chOff x="2360448" y="750203"/>
              <a:chExt cx="4325435" cy="4247827"/>
            </a:xfrm>
            <a:solidFill>
              <a:schemeClr val="tx1"/>
            </a:solidFill>
            <a:effectLst>
              <a:outerShdw blurRad="50800" dist="38100" dir="2700000" algn="tl" rotWithShape="0">
                <a:prstClr val="black">
                  <a:alpha val="40000"/>
                </a:prstClr>
              </a:outerShdw>
            </a:effectLst>
          </p:grpSpPr>
          <p:sp>
            <p:nvSpPr>
              <p:cNvPr id="126" name="Blokbue 125"/>
              <p:cNvSpPr/>
              <p:nvPr/>
            </p:nvSpPr>
            <p:spPr bwMode="auto">
              <a:xfrm rot="10843925">
                <a:off x="2516174" y="1020923"/>
                <a:ext cx="3842697" cy="3842328"/>
              </a:xfrm>
              <a:prstGeom prst="blockArc">
                <a:avLst>
                  <a:gd name="adj1" fmla="val 12299351"/>
                  <a:gd name="adj2" fmla="val 15897654"/>
                  <a:gd name="adj3" fmla="val 26577"/>
                </a:avLst>
              </a:prstGeom>
              <a:solidFill>
                <a:schemeClr val="accent1">
                  <a:lumMod val="20000"/>
                  <a:lumOff val="80000"/>
                </a:schemeClr>
              </a:solidFill>
              <a:ln w="3175" cap="flat" cmpd="sng">
                <a:solidFill>
                  <a:schemeClr val="bg1">
                    <a:lumMod val="50000"/>
                  </a:schemeClr>
                </a:solidFill>
                <a:prstDash val="solid"/>
                <a:round/>
                <a:headEnd type="none" w="med" len="med"/>
                <a:tailEnd type="none" w="med" len="med"/>
              </a:ln>
              <a:effectLst/>
            </p:spPr>
            <p:txBody>
              <a:bodyPr/>
              <a:lstStyle/>
              <a:p>
                <a:pPr fontAlgn="auto">
                  <a:spcBef>
                    <a:spcPts val="0"/>
                  </a:spcBef>
                  <a:spcAft>
                    <a:spcPts val="0"/>
                  </a:spcAft>
                  <a:defRPr/>
                </a:pPr>
                <a:endParaRPr lang="da-DK" kern="0">
                  <a:solidFill>
                    <a:sysClr val="windowText" lastClr="000000">
                      <a:lumMod val="95000"/>
                      <a:lumOff val="5000"/>
                    </a:sysClr>
                  </a:solidFill>
                  <a:latin typeface="Calibri"/>
                </a:endParaRPr>
              </a:p>
            </p:txBody>
          </p:sp>
          <p:sp>
            <p:nvSpPr>
              <p:cNvPr id="127" name="Blokbue 126"/>
              <p:cNvSpPr/>
              <p:nvPr/>
            </p:nvSpPr>
            <p:spPr bwMode="auto">
              <a:xfrm rot="14446858">
                <a:off x="2411090" y="1028057"/>
                <a:ext cx="3842697" cy="3842328"/>
              </a:xfrm>
              <a:prstGeom prst="blockArc">
                <a:avLst>
                  <a:gd name="adj1" fmla="val 12299351"/>
                  <a:gd name="adj2" fmla="val 15897654"/>
                  <a:gd name="adj3" fmla="val 26577"/>
                </a:avLst>
              </a:prstGeom>
              <a:solidFill>
                <a:schemeClr val="accent1">
                  <a:lumMod val="20000"/>
                  <a:lumOff val="80000"/>
                </a:schemeClr>
              </a:solidFill>
              <a:ln w="3175" cap="flat" cmpd="sng">
                <a:solidFill>
                  <a:schemeClr val="bg1">
                    <a:lumMod val="50000"/>
                  </a:schemeClr>
                </a:solidFill>
                <a:prstDash val="solid"/>
                <a:round/>
                <a:headEnd type="none" w="med" len="med"/>
                <a:tailEnd type="none" w="med" len="med"/>
              </a:ln>
              <a:effectLst/>
            </p:spPr>
            <p:txBody>
              <a:bodyPr/>
              <a:lstStyle/>
              <a:p>
                <a:pPr fontAlgn="auto">
                  <a:spcBef>
                    <a:spcPts val="0"/>
                  </a:spcBef>
                  <a:spcAft>
                    <a:spcPts val="0"/>
                  </a:spcAft>
                  <a:defRPr/>
                </a:pPr>
                <a:endParaRPr lang="da-DK" kern="0">
                  <a:solidFill>
                    <a:sysClr val="windowText" lastClr="000000">
                      <a:lumMod val="95000"/>
                      <a:lumOff val="5000"/>
                    </a:sysClr>
                  </a:solidFill>
                  <a:latin typeface="Calibri"/>
                </a:endParaRPr>
              </a:p>
            </p:txBody>
          </p:sp>
          <p:sp>
            <p:nvSpPr>
              <p:cNvPr id="128" name="Blokbue 127"/>
              <p:cNvSpPr/>
              <p:nvPr/>
            </p:nvSpPr>
            <p:spPr bwMode="auto">
              <a:xfrm rot="18033862">
                <a:off x="2382907" y="921207"/>
                <a:ext cx="3842328" cy="3842697"/>
              </a:xfrm>
              <a:prstGeom prst="blockArc">
                <a:avLst>
                  <a:gd name="adj1" fmla="val 12299351"/>
                  <a:gd name="adj2" fmla="val 15897654"/>
                  <a:gd name="adj3" fmla="val 26577"/>
                </a:avLst>
              </a:prstGeom>
              <a:solidFill>
                <a:schemeClr val="accent1">
                  <a:lumMod val="20000"/>
                  <a:lumOff val="80000"/>
                </a:schemeClr>
              </a:solidFill>
              <a:ln w="3175" cap="flat" cmpd="sng">
                <a:solidFill>
                  <a:schemeClr val="bg1">
                    <a:lumMod val="50000"/>
                  </a:schemeClr>
                </a:solidFill>
                <a:prstDash val="solid"/>
                <a:round/>
                <a:headEnd type="none" w="med" len="med"/>
                <a:tailEnd type="none" w="med" len="med"/>
              </a:ln>
              <a:effectLst/>
            </p:spPr>
            <p:txBody>
              <a:bodyPr/>
              <a:lstStyle/>
              <a:p>
                <a:pPr fontAlgn="auto">
                  <a:spcBef>
                    <a:spcPts val="0"/>
                  </a:spcBef>
                  <a:spcAft>
                    <a:spcPts val="0"/>
                  </a:spcAft>
                  <a:defRPr/>
                </a:pPr>
                <a:endParaRPr lang="da-DK" kern="0">
                  <a:solidFill>
                    <a:sysClr val="windowText" lastClr="000000">
                      <a:lumMod val="95000"/>
                      <a:lumOff val="5000"/>
                    </a:sysClr>
                  </a:solidFill>
                  <a:latin typeface="Calibri"/>
                </a:endParaRPr>
              </a:p>
            </p:txBody>
          </p:sp>
          <p:sp>
            <p:nvSpPr>
              <p:cNvPr id="129" name="Blokbue 128"/>
              <p:cNvSpPr/>
              <p:nvPr/>
            </p:nvSpPr>
            <p:spPr bwMode="auto">
              <a:xfrm rot="14285">
                <a:off x="2443889" y="844858"/>
                <a:ext cx="3842697" cy="3842328"/>
              </a:xfrm>
              <a:prstGeom prst="blockArc">
                <a:avLst>
                  <a:gd name="adj1" fmla="val 12299351"/>
                  <a:gd name="adj2" fmla="val 15897654"/>
                  <a:gd name="adj3" fmla="val 26577"/>
                </a:avLst>
              </a:prstGeom>
              <a:solidFill>
                <a:schemeClr val="accent1">
                  <a:lumMod val="20000"/>
                  <a:lumOff val="80000"/>
                </a:schemeClr>
              </a:solidFill>
              <a:ln w="3175" cap="flat" cmpd="sng">
                <a:solidFill>
                  <a:schemeClr val="bg1">
                    <a:lumMod val="50000"/>
                  </a:schemeClr>
                </a:solidFill>
                <a:prstDash val="solid"/>
                <a:round/>
                <a:headEnd type="none" w="med" len="med"/>
                <a:tailEnd type="none" w="med" len="med"/>
              </a:ln>
              <a:effectLst/>
            </p:spPr>
            <p:txBody>
              <a:bodyPr/>
              <a:lstStyle/>
              <a:p>
                <a:pPr fontAlgn="auto">
                  <a:spcBef>
                    <a:spcPts val="0"/>
                  </a:spcBef>
                  <a:spcAft>
                    <a:spcPts val="0"/>
                  </a:spcAft>
                  <a:defRPr/>
                </a:pPr>
                <a:endParaRPr lang="da-DK" kern="0">
                  <a:solidFill>
                    <a:sysClr val="windowText" lastClr="000000">
                      <a:lumMod val="95000"/>
                      <a:lumOff val="5000"/>
                    </a:sysClr>
                  </a:solidFill>
                  <a:latin typeface="Calibri"/>
                </a:endParaRPr>
              </a:p>
            </p:txBody>
          </p:sp>
          <p:sp>
            <p:nvSpPr>
              <p:cNvPr id="130" name="Blokbue 129"/>
              <p:cNvSpPr/>
              <p:nvPr/>
            </p:nvSpPr>
            <p:spPr bwMode="auto">
              <a:xfrm rot="3730573">
                <a:off x="2518962" y="839770"/>
                <a:ext cx="3842697" cy="3842328"/>
              </a:xfrm>
              <a:prstGeom prst="blockArc">
                <a:avLst>
                  <a:gd name="adj1" fmla="val 12299351"/>
                  <a:gd name="adj2" fmla="val 15897654"/>
                  <a:gd name="adj3" fmla="val 26577"/>
                </a:avLst>
              </a:prstGeom>
              <a:solidFill>
                <a:schemeClr val="accent1">
                  <a:lumMod val="20000"/>
                  <a:lumOff val="80000"/>
                </a:schemeClr>
              </a:solidFill>
              <a:ln w="3175" cap="flat" cmpd="sng">
                <a:solidFill>
                  <a:schemeClr val="bg1">
                    <a:lumMod val="50000"/>
                  </a:schemeClr>
                </a:solidFill>
                <a:prstDash val="solid"/>
                <a:round/>
                <a:headEnd type="none" w="med" len="med"/>
                <a:tailEnd type="none" w="med" len="med"/>
              </a:ln>
              <a:effectLst/>
            </p:spPr>
            <p:txBody>
              <a:bodyPr/>
              <a:lstStyle/>
              <a:p>
                <a:pPr fontAlgn="auto">
                  <a:spcBef>
                    <a:spcPts val="0"/>
                  </a:spcBef>
                  <a:spcAft>
                    <a:spcPts val="0"/>
                  </a:spcAft>
                  <a:defRPr/>
                </a:pPr>
                <a:endParaRPr lang="da-DK" kern="0">
                  <a:solidFill>
                    <a:sysClr val="windowText" lastClr="000000">
                      <a:lumMod val="95000"/>
                      <a:lumOff val="5000"/>
                    </a:sysClr>
                  </a:solidFill>
                  <a:latin typeface="Calibri"/>
                </a:endParaRPr>
              </a:p>
            </p:txBody>
          </p:sp>
          <p:sp>
            <p:nvSpPr>
              <p:cNvPr id="131" name="Cirkulær pil 130"/>
              <p:cNvSpPr/>
              <p:nvPr/>
            </p:nvSpPr>
            <p:spPr>
              <a:xfrm rot="14216451" flipH="1" flipV="1">
                <a:off x="2399252" y="711399"/>
                <a:ext cx="4247827" cy="4325435"/>
              </a:xfrm>
              <a:prstGeom prst="circularArrow">
                <a:avLst>
                  <a:gd name="adj1" fmla="val 25269"/>
                  <a:gd name="adj2" fmla="val 1142319"/>
                  <a:gd name="adj3" fmla="val 20391973"/>
                  <a:gd name="adj4" fmla="val 16090810"/>
                  <a:gd name="adj5" fmla="val 17581"/>
                </a:avLst>
              </a:prstGeom>
              <a:solidFill>
                <a:schemeClr val="bg2">
                  <a:lumMod val="75000"/>
                </a:schemeClr>
              </a:solidFill>
              <a:ln w="9525" cap="flat" cmpd="sng" algn="ctr">
                <a:solidFill>
                  <a:schemeClr val="bg1">
                    <a:lumMod val="50000"/>
                  </a:schemeClr>
                </a:solidFill>
                <a:prstDash val="solid"/>
              </a:ln>
              <a:effectLst/>
            </p:spPr>
            <p:txBody>
              <a:bodyPr anchor="ctr"/>
              <a:lstStyle/>
              <a:p>
                <a:pPr algn="ctr" fontAlgn="auto">
                  <a:spcBef>
                    <a:spcPts val="0"/>
                  </a:spcBef>
                  <a:spcAft>
                    <a:spcPts val="0"/>
                  </a:spcAft>
                  <a:defRPr/>
                </a:pPr>
                <a:endParaRPr lang="da-DK" kern="0">
                  <a:solidFill>
                    <a:sysClr val="window" lastClr="FFFFFF"/>
                  </a:solidFill>
                  <a:latin typeface="Calibri"/>
                </a:endParaRPr>
              </a:p>
            </p:txBody>
          </p:sp>
        </p:grpSp>
        <p:grpSp>
          <p:nvGrpSpPr>
            <p:cNvPr id="21" name="Gruppe 376"/>
            <p:cNvGrpSpPr/>
            <p:nvPr/>
          </p:nvGrpSpPr>
          <p:grpSpPr>
            <a:xfrm>
              <a:off x="1957594" y="4332818"/>
              <a:ext cx="988811" cy="971071"/>
              <a:chOff x="2360449" y="750202"/>
              <a:chExt cx="4325434" cy="4247827"/>
            </a:xfrm>
            <a:solidFill>
              <a:schemeClr val="tx1"/>
            </a:solidFill>
            <a:effectLst>
              <a:outerShdw blurRad="50800" dist="38100" dir="2700000" algn="tl" rotWithShape="0">
                <a:prstClr val="black">
                  <a:alpha val="40000"/>
                </a:prstClr>
              </a:outerShdw>
            </a:effectLst>
          </p:grpSpPr>
          <p:sp>
            <p:nvSpPr>
              <p:cNvPr id="133" name="Blokbue 132"/>
              <p:cNvSpPr/>
              <p:nvPr/>
            </p:nvSpPr>
            <p:spPr bwMode="auto">
              <a:xfrm rot="10843925">
                <a:off x="2516174" y="1020923"/>
                <a:ext cx="3842697" cy="3842328"/>
              </a:xfrm>
              <a:prstGeom prst="blockArc">
                <a:avLst>
                  <a:gd name="adj1" fmla="val 12299351"/>
                  <a:gd name="adj2" fmla="val 15897654"/>
                  <a:gd name="adj3" fmla="val 26577"/>
                </a:avLst>
              </a:prstGeom>
              <a:solidFill>
                <a:schemeClr val="accent1">
                  <a:lumMod val="20000"/>
                  <a:lumOff val="80000"/>
                </a:schemeClr>
              </a:solidFill>
              <a:ln w="3175" cap="flat" cmpd="sng">
                <a:solidFill>
                  <a:schemeClr val="bg1">
                    <a:lumMod val="50000"/>
                  </a:schemeClr>
                </a:solidFill>
                <a:prstDash val="solid"/>
                <a:round/>
                <a:headEnd type="none" w="med" len="med"/>
                <a:tailEnd type="none" w="med" len="med"/>
              </a:ln>
              <a:effectLst/>
            </p:spPr>
            <p:txBody>
              <a:bodyPr/>
              <a:lstStyle/>
              <a:p>
                <a:pPr fontAlgn="auto">
                  <a:spcBef>
                    <a:spcPts val="0"/>
                  </a:spcBef>
                  <a:spcAft>
                    <a:spcPts val="0"/>
                  </a:spcAft>
                  <a:defRPr/>
                </a:pPr>
                <a:endParaRPr lang="da-DK" kern="0">
                  <a:solidFill>
                    <a:sysClr val="windowText" lastClr="000000">
                      <a:lumMod val="95000"/>
                      <a:lumOff val="5000"/>
                    </a:sysClr>
                  </a:solidFill>
                  <a:latin typeface="Calibri"/>
                </a:endParaRPr>
              </a:p>
            </p:txBody>
          </p:sp>
          <p:sp>
            <p:nvSpPr>
              <p:cNvPr id="134" name="Blokbue 133"/>
              <p:cNvSpPr/>
              <p:nvPr/>
            </p:nvSpPr>
            <p:spPr bwMode="auto">
              <a:xfrm rot="14446858">
                <a:off x="2411090" y="1028057"/>
                <a:ext cx="3842697" cy="3842328"/>
              </a:xfrm>
              <a:prstGeom prst="blockArc">
                <a:avLst>
                  <a:gd name="adj1" fmla="val 12299351"/>
                  <a:gd name="adj2" fmla="val 15897654"/>
                  <a:gd name="adj3" fmla="val 26577"/>
                </a:avLst>
              </a:prstGeom>
              <a:solidFill>
                <a:schemeClr val="accent1">
                  <a:lumMod val="20000"/>
                  <a:lumOff val="80000"/>
                </a:schemeClr>
              </a:solidFill>
              <a:ln w="3175" cap="flat" cmpd="sng">
                <a:solidFill>
                  <a:schemeClr val="bg1">
                    <a:lumMod val="50000"/>
                  </a:schemeClr>
                </a:solidFill>
                <a:prstDash val="solid"/>
                <a:round/>
                <a:headEnd type="none" w="med" len="med"/>
                <a:tailEnd type="none" w="med" len="med"/>
              </a:ln>
              <a:effectLst/>
            </p:spPr>
            <p:txBody>
              <a:bodyPr/>
              <a:lstStyle/>
              <a:p>
                <a:pPr fontAlgn="auto">
                  <a:spcBef>
                    <a:spcPts val="0"/>
                  </a:spcBef>
                  <a:spcAft>
                    <a:spcPts val="0"/>
                  </a:spcAft>
                  <a:defRPr/>
                </a:pPr>
                <a:endParaRPr lang="da-DK" kern="0">
                  <a:solidFill>
                    <a:sysClr val="windowText" lastClr="000000">
                      <a:lumMod val="95000"/>
                      <a:lumOff val="5000"/>
                    </a:sysClr>
                  </a:solidFill>
                  <a:latin typeface="Calibri"/>
                </a:endParaRPr>
              </a:p>
            </p:txBody>
          </p:sp>
          <p:sp>
            <p:nvSpPr>
              <p:cNvPr id="135" name="Blokbue 134"/>
              <p:cNvSpPr/>
              <p:nvPr/>
            </p:nvSpPr>
            <p:spPr bwMode="auto">
              <a:xfrm rot="18033862">
                <a:off x="2382907" y="921207"/>
                <a:ext cx="3842328" cy="3842697"/>
              </a:xfrm>
              <a:prstGeom prst="blockArc">
                <a:avLst>
                  <a:gd name="adj1" fmla="val 12299351"/>
                  <a:gd name="adj2" fmla="val 15897654"/>
                  <a:gd name="adj3" fmla="val 26577"/>
                </a:avLst>
              </a:prstGeom>
              <a:solidFill>
                <a:schemeClr val="accent1">
                  <a:lumMod val="20000"/>
                  <a:lumOff val="80000"/>
                </a:schemeClr>
              </a:solidFill>
              <a:ln w="3175" cap="flat" cmpd="sng">
                <a:solidFill>
                  <a:schemeClr val="bg1">
                    <a:lumMod val="50000"/>
                  </a:schemeClr>
                </a:solidFill>
                <a:prstDash val="solid"/>
                <a:round/>
                <a:headEnd type="none" w="med" len="med"/>
                <a:tailEnd type="none" w="med" len="med"/>
              </a:ln>
              <a:effectLst/>
            </p:spPr>
            <p:txBody>
              <a:bodyPr/>
              <a:lstStyle/>
              <a:p>
                <a:pPr fontAlgn="auto">
                  <a:spcBef>
                    <a:spcPts val="0"/>
                  </a:spcBef>
                  <a:spcAft>
                    <a:spcPts val="0"/>
                  </a:spcAft>
                  <a:defRPr/>
                </a:pPr>
                <a:endParaRPr lang="da-DK" kern="0">
                  <a:solidFill>
                    <a:sysClr val="windowText" lastClr="000000">
                      <a:lumMod val="95000"/>
                      <a:lumOff val="5000"/>
                    </a:sysClr>
                  </a:solidFill>
                  <a:latin typeface="Calibri"/>
                </a:endParaRPr>
              </a:p>
            </p:txBody>
          </p:sp>
          <p:sp>
            <p:nvSpPr>
              <p:cNvPr id="136" name="Blokbue 135"/>
              <p:cNvSpPr/>
              <p:nvPr/>
            </p:nvSpPr>
            <p:spPr bwMode="auto">
              <a:xfrm rot="14285">
                <a:off x="2443889" y="844858"/>
                <a:ext cx="3842697" cy="3842328"/>
              </a:xfrm>
              <a:prstGeom prst="blockArc">
                <a:avLst>
                  <a:gd name="adj1" fmla="val 12299351"/>
                  <a:gd name="adj2" fmla="val 15897654"/>
                  <a:gd name="adj3" fmla="val 26577"/>
                </a:avLst>
              </a:prstGeom>
              <a:solidFill>
                <a:schemeClr val="accent1">
                  <a:lumMod val="20000"/>
                  <a:lumOff val="80000"/>
                </a:schemeClr>
              </a:solidFill>
              <a:ln w="3175" cap="flat" cmpd="sng">
                <a:solidFill>
                  <a:schemeClr val="bg1">
                    <a:lumMod val="50000"/>
                  </a:schemeClr>
                </a:solidFill>
                <a:prstDash val="solid"/>
                <a:round/>
                <a:headEnd type="none" w="med" len="med"/>
                <a:tailEnd type="none" w="med" len="med"/>
              </a:ln>
              <a:effectLst/>
            </p:spPr>
            <p:txBody>
              <a:bodyPr/>
              <a:lstStyle/>
              <a:p>
                <a:pPr fontAlgn="auto">
                  <a:spcBef>
                    <a:spcPts val="0"/>
                  </a:spcBef>
                  <a:spcAft>
                    <a:spcPts val="0"/>
                  </a:spcAft>
                  <a:defRPr/>
                </a:pPr>
                <a:endParaRPr lang="da-DK" kern="0">
                  <a:solidFill>
                    <a:sysClr val="windowText" lastClr="000000">
                      <a:lumMod val="95000"/>
                      <a:lumOff val="5000"/>
                    </a:sysClr>
                  </a:solidFill>
                  <a:latin typeface="Calibri"/>
                </a:endParaRPr>
              </a:p>
            </p:txBody>
          </p:sp>
          <p:sp>
            <p:nvSpPr>
              <p:cNvPr id="137" name="Blokbue 136"/>
              <p:cNvSpPr/>
              <p:nvPr/>
            </p:nvSpPr>
            <p:spPr bwMode="auto">
              <a:xfrm rot="3730573">
                <a:off x="2518962" y="839770"/>
                <a:ext cx="3842697" cy="3842328"/>
              </a:xfrm>
              <a:prstGeom prst="blockArc">
                <a:avLst>
                  <a:gd name="adj1" fmla="val 12299351"/>
                  <a:gd name="adj2" fmla="val 15897654"/>
                  <a:gd name="adj3" fmla="val 26577"/>
                </a:avLst>
              </a:prstGeom>
              <a:solidFill>
                <a:schemeClr val="accent1">
                  <a:lumMod val="20000"/>
                  <a:lumOff val="80000"/>
                </a:schemeClr>
              </a:solidFill>
              <a:ln w="3175" cap="flat" cmpd="sng">
                <a:solidFill>
                  <a:schemeClr val="bg1">
                    <a:lumMod val="50000"/>
                  </a:schemeClr>
                </a:solidFill>
                <a:prstDash val="solid"/>
                <a:round/>
                <a:headEnd type="none" w="med" len="med"/>
                <a:tailEnd type="none" w="med" len="med"/>
              </a:ln>
              <a:effectLst/>
            </p:spPr>
            <p:txBody>
              <a:bodyPr/>
              <a:lstStyle/>
              <a:p>
                <a:pPr fontAlgn="auto">
                  <a:spcBef>
                    <a:spcPts val="0"/>
                  </a:spcBef>
                  <a:spcAft>
                    <a:spcPts val="0"/>
                  </a:spcAft>
                  <a:defRPr/>
                </a:pPr>
                <a:endParaRPr lang="da-DK" kern="0">
                  <a:solidFill>
                    <a:sysClr val="windowText" lastClr="000000">
                      <a:lumMod val="95000"/>
                      <a:lumOff val="5000"/>
                    </a:sysClr>
                  </a:solidFill>
                  <a:latin typeface="Calibri"/>
                </a:endParaRPr>
              </a:p>
            </p:txBody>
          </p:sp>
          <p:sp>
            <p:nvSpPr>
              <p:cNvPr id="138" name="Cirkulær pil 137"/>
              <p:cNvSpPr/>
              <p:nvPr/>
            </p:nvSpPr>
            <p:spPr>
              <a:xfrm rot="14216451" flipH="1" flipV="1">
                <a:off x="2399252" y="711399"/>
                <a:ext cx="4247827" cy="4325434"/>
              </a:xfrm>
              <a:prstGeom prst="circularArrow">
                <a:avLst>
                  <a:gd name="adj1" fmla="val 25269"/>
                  <a:gd name="adj2" fmla="val 1142319"/>
                  <a:gd name="adj3" fmla="val 20391973"/>
                  <a:gd name="adj4" fmla="val 16090810"/>
                  <a:gd name="adj5" fmla="val 17581"/>
                </a:avLst>
              </a:prstGeom>
              <a:solidFill>
                <a:schemeClr val="bg2">
                  <a:lumMod val="75000"/>
                </a:schemeClr>
              </a:solidFill>
              <a:ln w="9525" cap="flat" cmpd="sng" algn="ctr">
                <a:solidFill>
                  <a:schemeClr val="bg1">
                    <a:lumMod val="50000"/>
                  </a:schemeClr>
                </a:solidFill>
                <a:prstDash val="solid"/>
              </a:ln>
              <a:effectLst/>
            </p:spPr>
            <p:txBody>
              <a:bodyPr anchor="ctr"/>
              <a:lstStyle/>
              <a:p>
                <a:pPr algn="ctr" fontAlgn="auto">
                  <a:spcBef>
                    <a:spcPts val="0"/>
                  </a:spcBef>
                  <a:spcAft>
                    <a:spcPts val="0"/>
                  </a:spcAft>
                  <a:defRPr/>
                </a:pPr>
                <a:endParaRPr lang="da-DK" kern="0">
                  <a:solidFill>
                    <a:sysClr val="window" lastClr="FFFFFF"/>
                  </a:solidFill>
                  <a:latin typeface="Calibri"/>
                </a:endParaRPr>
              </a:p>
            </p:txBody>
          </p:sp>
        </p:grpSp>
      </p:grpSp>
      <p:grpSp>
        <p:nvGrpSpPr>
          <p:cNvPr id="22" name="Gruppe 230"/>
          <p:cNvGrpSpPr/>
          <p:nvPr/>
        </p:nvGrpSpPr>
        <p:grpSpPr>
          <a:xfrm>
            <a:off x="7852992" y="5021792"/>
            <a:ext cx="750088" cy="912281"/>
            <a:chOff x="544185" y="1026430"/>
            <a:chExt cx="5195568" cy="4987350"/>
          </a:xfrm>
          <a:effectLst>
            <a:outerShdw blurRad="50800" dist="38100" dir="2700000" algn="tl" rotWithShape="0">
              <a:prstClr val="black">
                <a:alpha val="40000"/>
              </a:prstClr>
            </a:outerShdw>
          </a:effectLst>
        </p:grpSpPr>
        <p:grpSp>
          <p:nvGrpSpPr>
            <p:cNvPr id="23" name="Gruppe 56"/>
            <p:cNvGrpSpPr>
              <a:grpSpLocks/>
            </p:cNvGrpSpPr>
            <p:nvPr/>
          </p:nvGrpSpPr>
          <p:grpSpPr bwMode="auto">
            <a:xfrm>
              <a:off x="544185" y="1026430"/>
              <a:ext cx="5195568" cy="4987349"/>
              <a:chOff x="543539" y="1027095"/>
              <a:chExt cx="5196840" cy="4986342"/>
            </a:xfrm>
          </p:grpSpPr>
          <p:grpSp>
            <p:nvGrpSpPr>
              <p:cNvPr id="24" name="Gruppe 25"/>
              <p:cNvGrpSpPr>
                <a:grpSpLocks/>
              </p:cNvGrpSpPr>
              <p:nvPr/>
            </p:nvGrpSpPr>
            <p:grpSpPr bwMode="auto">
              <a:xfrm>
                <a:off x="543539" y="1027095"/>
                <a:ext cx="5196840" cy="4986342"/>
                <a:chOff x="543539" y="1027095"/>
                <a:chExt cx="5196840" cy="4986342"/>
              </a:xfrm>
            </p:grpSpPr>
            <p:sp>
              <p:nvSpPr>
                <p:cNvPr id="155" name="Rektangel 154"/>
                <p:cNvSpPr/>
                <p:nvPr/>
              </p:nvSpPr>
              <p:spPr>
                <a:xfrm rot="16200000">
                  <a:off x="2619785" y="2821356"/>
                  <a:ext cx="4137778" cy="1391816"/>
                </a:xfrm>
                <a:prstGeom prst="rect">
                  <a:avLst/>
                </a:prstGeom>
                <a:solidFill>
                  <a:schemeClr val="accent1">
                    <a:lumMod val="20000"/>
                    <a:lumOff val="80000"/>
                  </a:schemeClr>
                </a:solidFill>
                <a:ln w="9525" cap="flat" cmpd="sng" algn="ctr">
                  <a:solidFill>
                    <a:sysClr val="window" lastClr="FFFFFF">
                      <a:lumMod val="95000"/>
                    </a:sysClr>
                  </a:solidFill>
                  <a:prstDash val="solid"/>
                </a:ln>
                <a:effectLst/>
              </p:spPr>
              <p:txBody>
                <a:bodyPr anchor="ctr"/>
                <a:lstStyle/>
                <a:p>
                  <a:pPr algn="ctr" fontAlgn="auto">
                    <a:spcBef>
                      <a:spcPts val="0"/>
                    </a:spcBef>
                    <a:spcAft>
                      <a:spcPts val="0"/>
                    </a:spcAft>
                    <a:defRPr/>
                  </a:pPr>
                  <a:endParaRPr lang="da-DK" kern="0" dirty="0">
                    <a:solidFill>
                      <a:sysClr val="window" lastClr="FFFFFF"/>
                    </a:solidFill>
                    <a:latin typeface="Calibri"/>
                  </a:endParaRPr>
                </a:p>
              </p:txBody>
            </p:sp>
            <p:sp>
              <p:nvSpPr>
                <p:cNvPr id="156" name="Venstre-opadgående pil 155"/>
                <p:cNvSpPr/>
                <p:nvPr/>
              </p:nvSpPr>
              <p:spPr>
                <a:xfrm flipH="1">
                  <a:off x="543539" y="1027095"/>
                  <a:ext cx="5196840" cy="4986342"/>
                </a:xfrm>
                <a:prstGeom prst="leftUpArrow">
                  <a:avLst>
                    <a:gd name="adj1" fmla="val 3074"/>
                    <a:gd name="adj2" fmla="val 4126"/>
                    <a:gd name="adj3" fmla="val 4936"/>
                  </a:avLst>
                </a:prstGeom>
                <a:gradFill flip="none" rotWithShape="1">
                  <a:gsLst>
                    <a:gs pos="51000">
                      <a:srgbClr val="FFFFFF">
                        <a:lumMod val="50000"/>
                      </a:srgbClr>
                    </a:gs>
                    <a:gs pos="69000">
                      <a:srgbClr val="FFFFFF">
                        <a:lumMod val="65000"/>
                      </a:srgbClr>
                    </a:gs>
                    <a:gs pos="100000">
                      <a:sysClr val="window" lastClr="FFFFFF">
                        <a:lumMod val="85000"/>
                        <a:alpha val="63000"/>
                      </a:sysClr>
                    </a:gs>
                  </a:gsLst>
                  <a:lin ang="2700000" scaled="1"/>
                  <a:tileRect/>
                </a:gradFill>
                <a:ln w="25400" cap="flat" cmpd="sng" algn="ctr">
                  <a:noFill/>
                  <a:prstDash val="solid"/>
                </a:ln>
                <a:effectLst/>
              </p:spPr>
              <p:txBody>
                <a:bodyPr anchor="ctr"/>
                <a:lstStyle/>
                <a:p>
                  <a:pPr algn="ctr" fontAlgn="auto">
                    <a:spcBef>
                      <a:spcPts val="0"/>
                    </a:spcBef>
                    <a:spcAft>
                      <a:spcPts val="0"/>
                    </a:spcAft>
                    <a:defRPr/>
                  </a:pPr>
                  <a:endParaRPr lang="da-DK" kern="0" dirty="0" err="1">
                    <a:solidFill>
                      <a:sysClr val="window" lastClr="FFFFFF"/>
                    </a:solidFill>
                    <a:latin typeface="Calibri"/>
                  </a:endParaRPr>
                </a:p>
              </p:txBody>
            </p:sp>
            <p:sp>
              <p:nvSpPr>
                <p:cNvPr id="157" name="Rektangel 156"/>
                <p:cNvSpPr/>
                <p:nvPr/>
              </p:nvSpPr>
              <p:spPr>
                <a:xfrm rot="16200000">
                  <a:off x="1120401" y="2782074"/>
                  <a:ext cx="4137777" cy="1470385"/>
                </a:xfrm>
                <a:prstGeom prst="rect">
                  <a:avLst/>
                </a:prstGeom>
                <a:solidFill>
                  <a:schemeClr val="accent1">
                    <a:lumMod val="20000"/>
                    <a:lumOff val="80000"/>
                  </a:schemeClr>
                </a:solidFill>
                <a:ln w="9525" cap="flat" cmpd="sng" algn="ctr">
                  <a:solidFill>
                    <a:sysClr val="window" lastClr="FFFFFF">
                      <a:lumMod val="95000"/>
                    </a:sysClr>
                  </a:solidFill>
                  <a:prstDash val="solid"/>
                </a:ln>
                <a:effectLst/>
              </p:spPr>
              <p:txBody>
                <a:bodyPr anchor="ctr"/>
                <a:lstStyle/>
                <a:p>
                  <a:pPr algn="ctr" fontAlgn="auto">
                    <a:spcBef>
                      <a:spcPts val="0"/>
                    </a:spcBef>
                    <a:spcAft>
                      <a:spcPts val="0"/>
                    </a:spcAft>
                    <a:defRPr/>
                  </a:pPr>
                  <a:endParaRPr lang="da-DK" kern="0" dirty="0">
                    <a:solidFill>
                      <a:sysClr val="window" lastClr="FFFFFF"/>
                    </a:solidFill>
                    <a:latin typeface="Calibri"/>
                  </a:endParaRPr>
                </a:p>
              </p:txBody>
            </p:sp>
            <p:sp>
              <p:nvSpPr>
                <p:cNvPr id="158" name="Rektangel 157"/>
                <p:cNvSpPr/>
                <p:nvPr/>
              </p:nvSpPr>
              <p:spPr>
                <a:xfrm rot="16200000">
                  <a:off x="-354035" y="2846301"/>
                  <a:ext cx="4137778" cy="1341926"/>
                </a:xfrm>
                <a:prstGeom prst="rect">
                  <a:avLst/>
                </a:prstGeom>
                <a:solidFill>
                  <a:schemeClr val="accent1">
                    <a:lumMod val="20000"/>
                    <a:lumOff val="80000"/>
                  </a:schemeClr>
                </a:solidFill>
                <a:ln w="9525" cap="flat" cmpd="sng" algn="ctr">
                  <a:solidFill>
                    <a:sysClr val="window" lastClr="FFFFFF">
                      <a:lumMod val="95000"/>
                    </a:sysClr>
                  </a:solidFill>
                  <a:prstDash val="solid"/>
                </a:ln>
                <a:effectLst/>
              </p:spPr>
              <p:txBody>
                <a:bodyPr anchor="ctr"/>
                <a:lstStyle/>
                <a:p>
                  <a:pPr algn="ctr" fontAlgn="auto">
                    <a:spcBef>
                      <a:spcPts val="0"/>
                    </a:spcBef>
                    <a:spcAft>
                      <a:spcPts val="0"/>
                    </a:spcAft>
                    <a:defRPr/>
                  </a:pPr>
                  <a:endParaRPr lang="da-DK" kern="0" dirty="0">
                    <a:solidFill>
                      <a:sysClr val="window" lastClr="FFFFFF"/>
                    </a:solidFill>
                    <a:latin typeface="Calibri"/>
                  </a:endParaRPr>
                </a:p>
              </p:txBody>
            </p:sp>
          </p:grpSp>
          <p:grpSp>
            <p:nvGrpSpPr>
              <p:cNvPr id="25" name="Gruppe 55"/>
              <p:cNvGrpSpPr>
                <a:grpSpLocks/>
              </p:cNvGrpSpPr>
              <p:nvPr/>
            </p:nvGrpSpPr>
            <p:grpSpPr bwMode="auto">
              <a:xfrm>
                <a:off x="897966" y="2443540"/>
                <a:ext cx="4542950" cy="2150627"/>
                <a:chOff x="898000" y="2443540"/>
                <a:chExt cx="4263183" cy="2150627"/>
              </a:xfrm>
            </p:grpSpPr>
            <p:cxnSp>
              <p:nvCxnSpPr>
                <p:cNvPr id="152" name="Lige forbindelse 151"/>
                <p:cNvCxnSpPr/>
                <p:nvPr/>
              </p:nvCxnSpPr>
              <p:spPr bwMode="auto">
                <a:xfrm flipH="1" flipV="1">
                  <a:off x="898000" y="4592580"/>
                  <a:ext cx="4263183" cy="1587"/>
                </a:xfrm>
                <a:prstGeom prst="line">
                  <a:avLst/>
                </a:prstGeom>
                <a:noFill/>
                <a:ln w="6350" cap="flat" cmpd="sng" algn="ctr">
                  <a:solidFill>
                    <a:srgbClr val="FFFFFF">
                      <a:lumMod val="75000"/>
                    </a:srgbClr>
                  </a:solidFill>
                  <a:prstDash val="sysDash"/>
                </a:ln>
                <a:effectLst/>
              </p:spPr>
            </p:cxnSp>
            <p:cxnSp>
              <p:nvCxnSpPr>
                <p:cNvPr id="153" name="Lige forbindelse 152"/>
                <p:cNvCxnSpPr/>
                <p:nvPr/>
              </p:nvCxnSpPr>
              <p:spPr bwMode="auto">
                <a:xfrm flipH="1" flipV="1">
                  <a:off x="898000" y="3510124"/>
                  <a:ext cx="4263183" cy="1587"/>
                </a:xfrm>
                <a:prstGeom prst="line">
                  <a:avLst/>
                </a:prstGeom>
                <a:noFill/>
                <a:ln w="6350" cap="flat" cmpd="sng" algn="ctr">
                  <a:solidFill>
                    <a:srgbClr val="FFFFFF">
                      <a:lumMod val="75000"/>
                    </a:srgbClr>
                  </a:solidFill>
                  <a:prstDash val="sysDash"/>
                </a:ln>
                <a:effectLst/>
              </p:spPr>
            </p:cxnSp>
            <p:cxnSp>
              <p:nvCxnSpPr>
                <p:cNvPr id="154" name="Lige forbindelse 153"/>
                <p:cNvCxnSpPr/>
                <p:nvPr/>
              </p:nvCxnSpPr>
              <p:spPr bwMode="auto">
                <a:xfrm flipH="1" flipV="1">
                  <a:off x="898000" y="2443540"/>
                  <a:ext cx="4263183" cy="1587"/>
                </a:xfrm>
                <a:prstGeom prst="line">
                  <a:avLst/>
                </a:prstGeom>
                <a:noFill/>
                <a:ln w="6350" cap="flat" cmpd="sng" algn="ctr">
                  <a:solidFill>
                    <a:srgbClr val="FFFFFF">
                      <a:lumMod val="75000"/>
                    </a:srgbClr>
                  </a:solidFill>
                  <a:prstDash val="sysDash"/>
                </a:ln>
                <a:effectLst/>
              </p:spPr>
            </p:cxnSp>
          </p:grpSp>
        </p:grpSp>
        <p:sp>
          <p:nvSpPr>
            <p:cNvPr id="148" name="Kombinationstegning 147"/>
            <p:cNvSpPr/>
            <p:nvPr/>
          </p:nvSpPr>
          <p:spPr>
            <a:xfrm>
              <a:off x="1082673" y="1463675"/>
              <a:ext cx="3163106" cy="3900487"/>
            </a:xfrm>
            <a:custGeom>
              <a:avLst/>
              <a:gdLst>
                <a:gd name="connsiteX0" fmla="*/ 0 w 2804160"/>
                <a:gd name="connsiteY0" fmla="*/ 3901440 h 3901440"/>
                <a:gd name="connsiteX1" fmla="*/ 1844040 w 2804160"/>
                <a:gd name="connsiteY1" fmla="*/ 2453640 h 3901440"/>
                <a:gd name="connsiteX2" fmla="*/ 2804160 w 2804160"/>
                <a:gd name="connsiteY2" fmla="*/ 0 h 3901440"/>
              </a:gdLst>
              <a:ahLst/>
              <a:cxnLst>
                <a:cxn ang="0">
                  <a:pos x="connsiteX0" y="connsiteY0"/>
                </a:cxn>
                <a:cxn ang="0">
                  <a:pos x="connsiteX1" y="connsiteY1"/>
                </a:cxn>
                <a:cxn ang="0">
                  <a:pos x="connsiteX2" y="connsiteY2"/>
                </a:cxn>
              </a:cxnLst>
              <a:rect l="l" t="t" r="r" b="b"/>
              <a:pathLst>
                <a:path w="2804160" h="3901440">
                  <a:moveTo>
                    <a:pt x="0" y="3901440"/>
                  </a:moveTo>
                  <a:cubicBezTo>
                    <a:pt x="688340" y="3502660"/>
                    <a:pt x="1376680" y="3103880"/>
                    <a:pt x="1844040" y="2453640"/>
                  </a:cubicBezTo>
                  <a:cubicBezTo>
                    <a:pt x="2311400" y="1803400"/>
                    <a:pt x="2557780" y="901700"/>
                    <a:pt x="2804160" y="0"/>
                  </a:cubicBezTo>
                </a:path>
              </a:pathLst>
            </a:custGeom>
            <a:noFill/>
            <a:ln w="25400" cap="flat" cmpd="sng" algn="ctr">
              <a:solidFill>
                <a:srgbClr val="FF0000"/>
              </a:solidFill>
              <a:prstDash val="solid"/>
              <a:tailEnd type="triangle"/>
            </a:ln>
            <a:effectLst>
              <a:outerShdw blurRad="40000" dist="20000" dir="5400000" rotWithShape="0">
                <a:srgbClr val="000000">
                  <a:alpha val="38000"/>
                </a:srgbClr>
              </a:outerShdw>
            </a:effectLst>
          </p:spPr>
          <p:txBody>
            <a:bodyPr anchor="ctr"/>
            <a:lstStyle/>
            <a:p>
              <a:pPr algn="ctr" fontAlgn="auto">
                <a:spcBef>
                  <a:spcPts val="0"/>
                </a:spcBef>
                <a:spcAft>
                  <a:spcPts val="0"/>
                </a:spcAft>
                <a:defRPr/>
              </a:pPr>
              <a:endParaRPr lang="da-DK" kern="0">
                <a:solidFill>
                  <a:sysClr val="window" lastClr="FFFFFF"/>
                </a:solidFill>
                <a:latin typeface="Calibri"/>
              </a:endParaRPr>
            </a:p>
          </p:txBody>
        </p:sp>
        <p:sp>
          <p:nvSpPr>
            <p:cNvPr id="149" name="Kombinationstegning 148"/>
            <p:cNvSpPr/>
            <p:nvPr/>
          </p:nvSpPr>
          <p:spPr>
            <a:xfrm>
              <a:off x="1084263" y="1463675"/>
              <a:ext cx="4356100" cy="3930650"/>
            </a:xfrm>
            <a:custGeom>
              <a:avLst/>
              <a:gdLst>
                <a:gd name="connsiteX0" fmla="*/ 27940 w 4356100"/>
                <a:gd name="connsiteY0" fmla="*/ 3931920 h 3931920"/>
                <a:gd name="connsiteX1" fmla="*/ 378460 w 4356100"/>
                <a:gd name="connsiteY1" fmla="*/ 2712720 h 3931920"/>
                <a:gd name="connsiteX2" fmla="*/ 2298700 w 4356100"/>
                <a:gd name="connsiteY2" fmla="*/ 2133600 h 3931920"/>
                <a:gd name="connsiteX3" fmla="*/ 3548380 w 4356100"/>
                <a:gd name="connsiteY3" fmla="*/ 792480 h 3931920"/>
                <a:gd name="connsiteX4" fmla="*/ 4356100 w 4356100"/>
                <a:gd name="connsiteY4" fmla="*/ 0 h 393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6100" h="3931920">
                  <a:moveTo>
                    <a:pt x="27940" y="3931920"/>
                  </a:moveTo>
                  <a:cubicBezTo>
                    <a:pt x="13970" y="3472180"/>
                    <a:pt x="0" y="3012440"/>
                    <a:pt x="378460" y="2712720"/>
                  </a:cubicBezTo>
                  <a:cubicBezTo>
                    <a:pt x="756920" y="2413000"/>
                    <a:pt x="1770380" y="2453640"/>
                    <a:pt x="2298700" y="2133600"/>
                  </a:cubicBezTo>
                  <a:cubicBezTo>
                    <a:pt x="2827020" y="1813560"/>
                    <a:pt x="3205480" y="1148080"/>
                    <a:pt x="3548380" y="792480"/>
                  </a:cubicBezTo>
                  <a:cubicBezTo>
                    <a:pt x="3891280" y="436880"/>
                    <a:pt x="4123690" y="218440"/>
                    <a:pt x="4356100" y="0"/>
                  </a:cubicBezTo>
                </a:path>
              </a:pathLst>
            </a:custGeom>
            <a:noFill/>
            <a:ln w="25400" cap="flat" cmpd="sng" algn="ctr">
              <a:solidFill>
                <a:srgbClr val="FF0000"/>
              </a:solidFill>
              <a:prstDash val="sysDash"/>
              <a:tailEnd type="triangle"/>
            </a:ln>
            <a:effectLst>
              <a:outerShdw blurRad="40000" dist="20000" dir="5400000" rotWithShape="0">
                <a:srgbClr val="000000">
                  <a:alpha val="38000"/>
                </a:srgbClr>
              </a:outerShdw>
            </a:effectLst>
          </p:spPr>
          <p:txBody>
            <a:bodyPr anchor="ctr"/>
            <a:lstStyle/>
            <a:p>
              <a:pPr algn="ctr" fontAlgn="auto">
                <a:spcBef>
                  <a:spcPts val="0"/>
                </a:spcBef>
                <a:spcAft>
                  <a:spcPts val="0"/>
                </a:spcAft>
                <a:defRPr/>
              </a:pPr>
              <a:endParaRPr lang="da-DK" kern="0">
                <a:solidFill>
                  <a:sysClr val="window" lastClr="FFFFFF"/>
                </a:solidFill>
                <a:latin typeface="Calibri"/>
              </a:endParaRPr>
            </a:p>
          </p:txBody>
        </p:sp>
      </p:grpSp>
      <p:grpSp>
        <p:nvGrpSpPr>
          <p:cNvPr id="3097" name="Gruppe 311"/>
          <p:cNvGrpSpPr>
            <a:grpSpLocks/>
          </p:cNvGrpSpPr>
          <p:nvPr/>
        </p:nvGrpSpPr>
        <p:grpSpPr bwMode="auto">
          <a:xfrm>
            <a:off x="8380667" y="2868597"/>
            <a:ext cx="812800" cy="762000"/>
            <a:chOff x="1216932" y="1129784"/>
            <a:chExt cx="5031467" cy="4719019"/>
          </a:xfrm>
        </p:grpSpPr>
        <p:grpSp>
          <p:nvGrpSpPr>
            <p:cNvPr id="3346" name="Gruppe 179"/>
            <p:cNvGrpSpPr>
              <a:grpSpLocks/>
            </p:cNvGrpSpPr>
            <p:nvPr/>
          </p:nvGrpSpPr>
          <p:grpSpPr bwMode="auto">
            <a:xfrm>
              <a:off x="3034938" y="3361493"/>
              <a:ext cx="3213712" cy="2487311"/>
              <a:chOff x="4700923" y="3673354"/>
              <a:chExt cx="4275477" cy="3310059"/>
            </a:xfrm>
          </p:grpSpPr>
          <p:sp>
            <p:nvSpPr>
              <p:cNvPr id="87" name="Freeform 5"/>
              <p:cNvSpPr>
                <a:spLocks/>
              </p:cNvSpPr>
              <p:nvPr/>
            </p:nvSpPr>
            <p:spPr bwMode="auto">
              <a:xfrm>
                <a:off x="4700931" y="3673338"/>
                <a:ext cx="732133" cy="3310067"/>
              </a:xfrm>
              <a:custGeom>
                <a:avLst/>
                <a:gdLst/>
                <a:ahLst/>
                <a:cxnLst>
                  <a:cxn ang="0">
                    <a:pos x="305" y="5"/>
                  </a:cxn>
                  <a:cxn ang="0">
                    <a:pos x="298" y="12"/>
                  </a:cxn>
                  <a:cxn ang="0">
                    <a:pos x="293" y="28"/>
                  </a:cxn>
                  <a:cxn ang="0">
                    <a:pos x="289" y="54"/>
                  </a:cxn>
                  <a:cxn ang="0">
                    <a:pos x="288" y="164"/>
                  </a:cxn>
                  <a:cxn ang="0">
                    <a:pos x="278" y="344"/>
                  </a:cxn>
                  <a:cxn ang="0">
                    <a:pos x="261" y="523"/>
                  </a:cxn>
                  <a:cxn ang="0">
                    <a:pos x="238" y="701"/>
                  </a:cxn>
                  <a:cxn ang="0">
                    <a:pos x="223" y="824"/>
                  </a:cxn>
                  <a:cxn ang="0">
                    <a:pos x="218" y="910"/>
                  </a:cxn>
                  <a:cxn ang="0">
                    <a:pos x="211" y="1002"/>
                  </a:cxn>
                  <a:cxn ang="0">
                    <a:pos x="194" y="1083"/>
                  </a:cxn>
                  <a:cxn ang="0">
                    <a:pos x="156" y="1114"/>
                  </a:cxn>
                  <a:cxn ang="0">
                    <a:pos x="111" y="1103"/>
                  </a:cxn>
                  <a:cxn ang="0">
                    <a:pos x="69" y="1087"/>
                  </a:cxn>
                  <a:cxn ang="0">
                    <a:pos x="26" y="1071"/>
                  </a:cxn>
                  <a:cxn ang="0">
                    <a:pos x="0" y="1065"/>
                  </a:cxn>
                  <a:cxn ang="0">
                    <a:pos x="1" y="1070"/>
                  </a:cxn>
                  <a:cxn ang="0">
                    <a:pos x="11" y="1082"/>
                  </a:cxn>
                  <a:cxn ang="0">
                    <a:pos x="62" y="1126"/>
                  </a:cxn>
                  <a:cxn ang="0">
                    <a:pos x="119" y="1169"/>
                  </a:cxn>
                  <a:cxn ang="0">
                    <a:pos x="150" y="1196"/>
                  </a:cxn>
                  <a:cxn ang="0">
                    <a:pos x="165" y="1225"/>
                  </a:cxn>
                  <a:cxn ang="0">
                    <a:pos x="169" y="1279"/>
                  </a:cxn>
                  <a:cxn ang="0">
                    <a:pos x="152" y="1479"/>
                  </a:cxn>
                  <a:cxn ang="0">
                    <a:pos x="119" y="1758"/>
                  </a:cxn>
                  <a:cxn ang="0">
                    <a:pos x="85" y="1996"/>
                  </a:cxn>
                  <a:cxn ang="0">
                    <a:pos x="84" y="2076"/>
                  </a:cxn>
                  <a:cxn ang="0">
                    <a:pos x="118" y="2087"/>
                  </a:cxn>
                  <a:cxn ang="0">
                    <a:pos x="157" y="2079"/>
                  </a:cxn>
                  <a:cxn ang="0">
                    <a:pos x="192" y="2058"/>
                  </a:cxn>
                  <a:cxn ang="0">
                    <a:pos x="200" y="1951"/>
                  </a:cxn>
                  <a:cxn ang="0">
                    <a:pos x="199" y="1762"/>
                  </a:cxn>
                  <a:cxn ang="0">
                    <a:pos x="209" y="1572"/>
                  </a:cxn>
                  <a:cxn ang="0">
                    <a:pos x="235" y="1384"/>
                  </a:cxn>
                  <a:cxn ang="0">
                    <a:pos x="256" y="1245"/>
                  </a:cxn>
                  <a:cxn ang="0">
                    <a:pos x="256" y="1147"/>
                  </a:cxn>
                  <a:cxn ang="0">
                    <a:pos x="261" y="1047"/>
                  </a:cxn>
                  <a:cxn ang="0">
                    <a:pos x="279" y="949"/>
                  </a:cxn>
                  <a:cxn ang="0">
                    <a:pos x="316" y="870"/>
                  </a:cxn>
                  <a:cxn ang="0">
                    <a:pos x="353" y="825"/>
                  </a:cxn>
                  <a:cxn ang="0">
                    <a:pos x="390" y="788"/>
                  </a:cxn>
                  <a:cxn ang="0">
                    <a:pos x="436" y="747"/>
                  </a:cxn>
                  <a:cxn ang="0">
                    <a:pos x="463" y="712"/>
                  </a:cxn>
                  <a:cxn ang="0">
                    <a:pos x="461" y="705"/>
                  </a:cxn>
                  <a:cxn ang="0">
                    <a:pos x="432" y="719"/>
                  </a:cxn>
                  <a:cxn ang="0">
                    <a:pos x="386" y="751"/>
                  </a:cxn>
                  <a:cxn ang="0">
                    <a:pos x="350" y="781"/>
                  </a:cxn>
                  <a:cxn ang="0">
                    <a:pos x="316" y="804"/>
                  </a:cxn>
                  <a:cxn ang="0">
                    <a:pos x="296" y="785"/>
                  </a:cxn>
                  <a:cxn ang="0">
                    <a:pos x="298" y="727"/>
                  </a:cxn>
                  <a:cxn ang="0">
                    <a:pos x="304" y="667"/>
                  </a:cxn>
                  <a:cxn ang="0">
                    <a:pos x="311" y="607"/>
                  </a:cxn>
                  <a:cxn ang="0">
                    <a:pos x="322" y="508"/>
                  </a:cxn>
                  <a:cxn ang="0">
                    <a:pos x="337" y="366"/>
                  </a:cxn>
                  <a:cxn ang="0">
                    <a:pos x="350" y="224"/>
                  </a:cxn>
                  <a:cxn ang="0">
                    <a:pos x="365" y="81"/>
                  </a:cxn>
                  <a:cxn ang="0">
                    <a:pos x="373" y="8"/>
                  </a:cxn>
                  <a:cxn ang="0">
                    <a:pos x="365" y="3"/>
                  </a:cxn>
                  <a:cxn ang="0">
                    <a:pos x="351" y="0"/>
                  </a:cxn>
                  <a:cxn ang="0">
                    <a:pos x="325" y="1"/>
                  </a:cxn>
                </a:cxnLst>
                <a:rect l="0" t="0" r="r" b="b"/>
                <a:pathLst>
                  <a:path w="466" h="2087">
                    <a:moveTo>
                      <a:pt x="310" y="5"/>
                    </a:moveTo>
                    <a:lnTo>
                      <a:pt x="305" y="5"/>
                    </a:lnTo>
                    <a:lnTo>
                      <a:pt x="301" y="8"/>
                    </a:lnTo>
                    <a:lnTo>
                      <a:pt x="298" y="12"/>
                    </a:lnTo>
                    <a:lnTo>
                      <a:pt x="296" y="19"/>
                    </a:lnTo>
                    <a:lnTo>
                      <a:pt x="293" y="28"/>
                    </a:lnTo>
                    <a:lnTo>
                      <a:pt x="291" y="40"/>
                    </a:lnTo>
                    <a:lnTo>
                      <a:pt x="289" y="54"/>
                    </a:lnTo>
                    <a:lnTo>
                      <a:pt x="289" y="74"/>
                    </a:lnTo>
                    <a:lnTo>
                      <a:pt x="288" y="164"/>
                    </a:lnTo>
                    <a:lnTo>
                      <a:pt x="285" y="254"/>
                    </a:lnTo>
                    <a:lnTo>
                      <a:pt x="278" y="344"/>
                    </a:lnTo>
                    <a:lnTo>
                      <a:pt x="271" y="434"/>
                    </a:lnTo>
                    <a:lnTo>
                      <a:pt x="261" y="523"/>
                    </a:lnTo>
                    <a:lnTo>
                      <a:pt x="251" y="612"/>
                    </a:lnTo>
                    <a:lnTo>
                      <a:pt x="238" y="701"/>
                    </a:lnTo>
                    <a:lnTo>
                      <a:pt x="225" y="789"/>
                    </a:lnTo>
                    <a:lnTo>
                      <a:pt x="223" y="824"/>
                    </a:lnTo>
                    <a:lnTo>
                      <a:pt x="221" y="865"/>
                    </a:lnTo>
                    <a:lnTo>
                      <a:pt x="218" y="910"/>
                    </a:lnTo>
                    <a:lnTo>
                      <a:pt x="216" y="956"/>
                    </a:lnTo>
                    <a:lnTo>
                      <a:pt x="211" y="1002"/>
                    </a:lnTo>
                    <a:lnTo>
                      <a:pt x="204" y="1044"/>
                    </a:lnTo>
                    <a:lnTo>
                      <a:pt x="194" y="1083"/>
                    </a:lnTo>
                    <a:lnTo>
                      <a:pt x="182" y="1116"/>
                    </a:lnTo>
                    <a:lnTo>
                      <a:pt x="156" y="1114"/>
                    </a:lnTo>
                    <a:lnTo>
                      <a:pt x="133" y="1109"/>
                    </a:lnTo>
                    <a:lnTo>
                      <a:pt x="111" y="1103"/>
                    </a:lnTo>
                    <a:lnTo>
                      <a:pt x="91" y="1096"/>
                    </a:lnTo>
                    <a:lnTo>
                      <a:pt x="69" y="1087"/>
                    </a:lnTo>
                    <a:lnTo>
                      <a:pt x="48" y="1078"/>
                    </a:lnTo>
                    <a:lnTo>
                      <a:pt x="26" y="1071"/>
                    </a:lnTo>
                    <a:lnTo>
                      <a:pt x="3" y="1065"/>
                    </a:lnTo>
                    <a:lnTo>
                      <a:pt x="0" y="1065"/>
                    </a:lnTo>
                    <a:lnTo>
                      <a:pt x="0" y="1068"/>
                    </a:lnTo>
                    <a:lnTo>
                      <a:pt x="1" y="1070"/>
                    </a:lnTo>
                    <a:lnTo>
                      <a:pt x="5" y="1075"/>
                    </a:lnTo>
                    <a:lnTo>
                      <a:pt x="11" y="1082"/>
                    </a:lnTo>
                    <a:lnTo>
                      <a:pt x="23" y="1093"/>
                    </a:lnTo>
                    <a:lnTo>
                      <a:pt x="62" y="1126"/>
                    </a:lnTo>
                    <a:lnTo>
                      <a:pt x="95" y="1151"/>
                    </a:lnTo>
                    <a:lnTo>
                      <a:pt x="119" y="1169"/>
                    </a:lnTo>
                    <a:lnTo>
                      <a:pt x="138" y="1184"/>
                    </a:lnTo>
                    <a:lnTo>
                      <a:pt x="150" y="1196"/>
                    </a:lnTo>
                    <a:lnTo>
                      <a:pt x="160" y="1209"/>
                    </a:lnTo>
                    <a:lnTo>
                      <a:pt x="165" y="1225"/>
                    </a:lnTo>
                    <a:lnTo>
                      <a:pt x="169" y="1246"/>
                    </a:lnTo>
                    <a:lnTo>
                      <a:pt x="169" y="1279"/>
                    </a:lnTo>
                    <a:lnTo>
                      <a:pt x="163" y="1362"/>
                    </a:lnTo>
                    <a:lnTo>
                      <a:pt x="152" y="1479"/>
                    </a:lnTo>
                    <a:lnTo>
                      <a:pt x="137" y="1617"/>
                    </a:lnTo>
                    <a:lnTo>
                      <a:pt x="119" y="1758"/>
                    </a:lnTo>
                    <a:lnTo>
                      <a:pt x="101" y="1889"/>
                    </a:lnTo>
                    <a:lnTo>
                      <a:pt x="85" y="1996"/>
                    </a:lnTo>
                    <a:lnTo>
                      <a:pt x="71" y="2064"/>
                    </a:lnTo>
                    <a:lnTo>
                      <a:pt x="84" y="2076"/>
                    </a:lnTo>
                    <a:lnTo>
                      <a:pt x="100" y="2084"/>
                    </a:lnTo>
                    <a:lnTo>
                      <a:pt x="118" y="2087"/>
                    </a:lnTo>
                    <a:lnTo>
                      <a:pt x="138" y="2086"/>
                    </a:lnTo>
                    <a:lnTo>
                      <a:pt x="157" y="2079"/>
                    </a:lnTo>
                    <a:lnTo>
                      <a:pt x="175" y="2071"/>
                    </a:lnTo>
                    <a:lnTo>
                      <a:pt x="192" y="2058"/>
                    </a:lnTo>
                    <a:lnTo>
                      <a:pt x="205" y="2043"/>
                    </a:lnTo>
                    <a:lnTo>
                      <a:pt x="200" y="1951"/>
                    </a:lnTo>
                    <a:lnTo>
                      <a:pt x="198" y="1858"/>
                    </a:lnTo>
                    <a:lnTo>
                      <a:pt x="199" y="1762"/>
                    </a:lnTo>
                    <a:lnTo>
                      <a:pt x="203" y="1667"/>
                    </a:lnTo>
                    <a:lnTo>
                      <a:pt x="209" y="1572"/>
                    </a:lnTo>
                    <a:lnTo>
                      <a:pt x="221" y="1477"/>
                    </a:lnTo>
                    <a:lnTo>
                      <a:pt x="235" y="1384"/>
                    </a:lnTo>
                    <a:lnTo>
                      <a:pt x="256" y="1294"/>
                    </a:lnTo>
                    <a:lnTo>
                      <a:pt x="256" y="1245"/>
                    </a:lnTo>
                    <a:lnTo>
                      <a:pt x="256" y="1197"/>
                    </a:lnTo>
                    <a:lnTo>
                      <a:pt x="256" y="1147"/>
                    </a:lnTo>
                    <a:lnTo>
                      <a:pt x="258" y="1098"/>
                    </a:lnTo>
                    <a:lnTo>
                      <a:pt x="261" y="1047"/>
                    </a:lnTo>
                    <a:lnTo>
                      <a:pt x="268" y="998"/>
                    </a:lnTo>
                    <a:lnTo>
                      <a:pt x="279" y="949"/>
                    </a:lnTo>
                    <a:lnTo>
                      <a:pt x="294" y="901"/>
                    </a:lnTo>
                    <a:lnTo>
                      <a:pt x="316" y="870"/>
                    </a:lnTo>
                    <a:lnTo>
                      <a:pt x="336" y="846"/>
                    </a:lnTo>
                    <a:lnTo>
                      <a:pt x="353" y="825"/>
                    </a:lnTo>
                    <a:lnTo>
                      <a:pt x="372" y="807"/>
                    </a:lnTo>
                    <a:lnTo>
                      <a:pt x="390" y="788"/>
                    </a:lnTo>
                    <a:lnTo>
                      <a:pt x="412" y="769"/>
                    </a:lnTo>
                    <a:lnTo>
                      <a:pt x="436" y="747"/>
                    </a:lnTo>
                    <a:lnTo>
                      <a:pt x="466" y="720"/>
                    </a:lnTo>
                    <a:lnTo>
                      <a:pt x="463" y="712"/>
                    </a:lnTo>
                    <a:lnTo>
                      <a:pt x="463" y="708"/>
                    </a:lnTo>
                    <a:lnTo>
                      <a:pt x="461" y="705"/>
                    </a:lnTo>
                    <a:lnTo>
                      <a:pt x="460" y="704"/>
                    </a:lnTo>
                    <a:lnTo>
                      <a:pt x="432" y="719"/>
                    </a:lnTo>
                    <a:lnTo>
                      <a:pt x="409" y="735"/>
                    </a:lnTo>
                    <a:lnTo>
                      <a:pt x="386" y="751"/>
                    </a:lnTo>
                    <a:lnTo>
                      <a:pt x="368" y="767"/>
                    </a:lnTo>
                    <a:lnTo>
                      <a:pt x="350" y="781"/>
                    </a:lnTo>
                    <a:lnTo>
                      <a:pt x="332" y="794"/>
                    </a:lnTo>
                    <a:lnTo>
                      <a:pt x="316" y="804"/>
                    </a:lnTo>
                    <a:lnTo>
                      <a:pt x="299" y="812"/>
                    </a:lnTo>
                    <a:lnTo>
                      <a:pt x="296" y="785"/>
                    </a:lnTo>
                    <a:lnTo>
                      <a:pt x="297" y="757"/>
                    </a:lnTo>
                    <a:lnTo>
                      <a:pt x="298" y="727"/>
                    </a:lnTo>
                    <a:lnTo>
                      <a:pt x="301" y="698"/>
                    </a:lnTo>
                    <a:lnTo>
                      <a:pt x="304" y="667"/>
                    </a:lnTo>
                    <a:lnTo>
                      <a:pt x="308" y="637"/>
                    </a:lnTo>
                    <a:lnTo>
                      <a:pt x="311" y="607"/>
                    </a:lnTo>
                    <a:lnTo>
                      <a:pt x="315" y="579"/>
                    </a:lnTo>
                    <a:lnTo>
                      <a:pt x="322" y="508"/>
                    </a:lnTo>
                    <a:lnTo>
                      <a:pt x="330" y="437"/>
                    </a:lnTo>
                    <a:lnTo>
                      <a:pt x="337" y="366"/>
                    </a:lnTo>
                    <a:lnTo>
                      <a:pt x="344" y="296"/>
                    </a:lnTo>
                    <a:lnTo>
                      <a:pt x="350" y="224"/>
                    </a:lnTo>
                    <a:lnTo>
                      <a:pt x="357" y="153"/>
                    </a:lnTo>
                    <a:lnTo>
                      <a:pt x="365" y="81"/>
                    </a:lnTo>
                    <a:lnTo>
                      <a:pt x="374" y="10"/>
                    </a:lnTo>
                    <a:lnTo>
                      <a:pt x="373" y="8"/>
                    </a:lnTo>
                    <a:lnTo>
                      <a:pt x="370" y="6"/>
                    </a:lnTo>
                    <a:lnTo>
                      <a:pt x="365" y="3"/>
                    </a:lnTo>
                    <a:lnTo>
                      <a:pt x="359" y="2"/>
                    </a:lnTo>
                    <a:lnTo>
                      <a:pt x="351" y="0"/>
                    </a:lnTo>
                    <a:lnTo>
                      <a:pt x="340" y="0"/>
                    </a:lnTo>
                    <a:lnTo>
                      <a:pt x="325" y="1"/>
                    </a:lnTo>
                    <a:lnTo>
                      <a:pt x="310" y="5"/>
                    </a:lnTo>
                    <a:close/>
                  </a:path>
                </a:pathLst>
              </a:custGeom>
              <a:gradFill>
                <a:gsLst>
                  <a:gs pos="87000">
                    <a:srgbClr val="FFFCF9">
                      <a:lumMod val="10000"/>
                    </a:srgbClr>
                  </a:gs>
                  <a:gs pos="100000">
                    <a:srgbClr val="F9AF18">
                      <a:lumMod val="60000"/>
                      <a:lumOff val="40000"/>
                    </a:srgbClr>
                  </a:gs>
                  <a:gs pos="100000">
                    <a:srgbClr val="E6E6E6">
                      <a:lumMod val="10000"/>
                    </a:srgbClr>
                  </a:gs>
                </a:gsLst>
                <a:lin ang="13500000" scaled="1"/>
              </a:grad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ndParaRPr>
              </a:p>
            </p:txBody>
          </p:sp>
          <p:grpSp>
            <p:nvGrpSpPr>
              <p:cNvPr id="3358" name="Gruppe 153"/>
              <p:cNvGrpSpPr>
                <a:grpSpLocks/>
              </p:cNvGrpSpPr>
              <p:nvPr/>
            </p:nvGrpSpPr>
            <p:grpSpPr bwMode="auto">
              <a:xfrm rot="779215">
                <a:off x="5272464" y="4272241"/>
                <a:ext cx="3703936" cy="1466354"/>
                <a:chOff x="-666788" y="1440461"/>
                <a:chExt cx="10099831" cy="3998430"/>
              </a:xfrm>
            </p:grpSpPr>
            <p:grpSp>
              <p:nvGrpSpPr>
                <p:cNvPr id="3359" name="Gruppe 16"/>
                <p:cNvGrpSpPr>
                  <a:grpSpLocks/>
                </p:cNvGrpSpPr>
                <p:nvPr/>
              </p:nvGrpSpPr>
              <p:grpSpPr bwMode="auto">
                <a:xfrm>
                  <a:off x="-666788" y="1440461"/>
                  <a:ext cx="10099831" cy="3998430"/>
                  <a:chOff x="-2033984" y="-2884383"/>
                  <a:chExt cx="11257774" cy="5997643"/>
                </a:xfrm>
              </p:grpSpPr>
              <p:sp>
                <p:nvSpPr>
                  <p:cNvPr id="91" name="Freeform 6"/>
                  <p:cNvSpPr>
                    <a:spLocks/>
                  </p:cNvSpPr>
                  <p:nvPr/>
                </p:nvSpPr>
                <p:spPr bwMode="auto">
                  <a:xfrm>
                    <a:off x="-1981965" y="-2880233"/>
                    <a:ext cx="11205735" cy="5993429"/>
                  </a:xfrm>
                  <a:custGeom>
                    <a:avLst/>
                    <a:gdLst>
                      <a:gd name="T0" fmla="*/ 5438 w 7036"/>
                      <a:gd name="T1" fmla="*/ 1364 h 3760"/>
                      <a:gd name="T2" fmla="*/ 5644 w 7036"/>
                      <a:gd name="T3" fmla="*/ 1612 h 3760"/>
                      <a:gd name="T4" fmla="*/ 5850 w 7036"/>
                      <a:gd name="T5" fmla="*/ 1824 h 3760"/>
                      <a:gd name="T6" fmla="*/ 6160 w 7036"/>
                      <a:gd name="T7" fmla="*/ 2088 h 3760"/>
                      <a:gd name="T8" fmla="*/ 6584 w 7036"/>
                      <a:gd name="T9" fmla="*/ 2390 h 3760"/>
                      <a:gd name="T10" fmla="*/ 7036 w 7036"/>
                      <a:gd name="T11" fmla="*/ 2696 h 3760"/>
                      <a:gd name="T12" fmla="*/ 5784 w 7036"/>
                      <a:gd name="T13" fmla="*/ 3094 h 3760"/>
                      <a:gd name="T14" fmla="*/ 4056 w 7036"/>
                      <a:gd name="T15" fmla="*/ 3600 h 3760"/>
                      <a:gd name="T16" fmla="*/ 3546 w 7036"/>
                      <a:gd name="T17" fmla="*/ 3734 h 3760"/>
                      <a:gd name="T18" fmla="*/ 3242 w 7036"/>
                      <a:gd name="T19" fmla="*/ 3756 h 3760"/>
                      <a:gd name="T20" fmla="*/ 2782 w 7036"/>
                      <a:gd name="T21" fmla="*/ 3750 h 3760"/>
                      <a:gd name="T22" fmla="*/ 2492 w 7036"/>
                      <a:gd name="T23" fmla="*/ 3716 h 3760"/>
                      <a:gd name="T24" fmla="*/ 2210 w 7036"/>
                      <a:gd name="T25" fmla="*/ 3654 h 3760"/>
                      <a:gd name="T26" fmla="*/ 1960 w 7036"/>
                      <a:gd name="T27" fmla="*/ 3550 h 3760"/>
                      <a:gd name="T28" fmla="*/ 1832 w 7036"/>
                      <a:gd name="T29" fmla="*/ 3462 h 3760"/>
                      <a:gd name="T30" fmla="*/ 1750 w 7036"/>
                      <a:gd name="T31" fmla="*/ 3378 h 3760"/>
                      <a:gd name="T32" fmla="*/ 1638 w 7036"/>
                      <a:gd name="T33" fmla="*/ 3208 h 3760"/>
                      <a:gd name="T34" fmla="*/ 1508 w 7036"/>
                      <a:gd name="T35" fmla="*/ 2948 h 3760"/>
                      <a:gd name="T36" fmla="*/ 1434 w 7036"/>
                      <a:gd name="T37" fmla="*/ 2732 h 3760"/>
                      <a:gd name="T38" fmla="*/ 1382 w 7036"/>
                      <a:gd name="T39" fmla="*/ 2480 h 3760"/>
                      <a:gd name="T40" fmla="*/ 1344 w 7036"/>
                      <a:gd name="T41" fmla="*/ 2330 h 3760"/>
                      <a:gd name="T42" fmla="*/ 1284 w 7036"/>
                      <a:gd name="T43" fmla="*/ 2244 h 3760"/>
                      <a:gd name="T44" fmla="*/ 1176 w 7036"/>
                      <a:gd name="T45" fmla="*/ 2182 h 3760"/>
                      <a:gd name="T46" fmla="*/ 1048 w 7036"/>
                      <a:gd name="T47" fmla="*/ 2152 h 3760"/>
                      <a:gd name="T48" fmla="*/ 928 w 7036"/>
                      <a:gd name="T49" fmla="*/ 2168 h 3760"/>
                      <a:gd name="T50" fmla="*/ 784 w 7036"/>
                      <a:gd name="T51" fmla="*/ 2238 h 3760"/>
                      <a:gd name="T52" fmla="*/ 548 w 7036"/>
                      <a:gd name="T53" fmla="*/ 2406 h 3760"/>
                      <a:gd name="T54" fmla="*/ 206 w 7036"/>
                      <a:gd name="T55" fmla="*/ 2712 h 3760"/>
                      <a:gd name="T56" fmla="*/ 88 w 7036"/>
                      <a:gd name="T57" fmla="*/ 2816 h 3760"/>
                      <a:gd name="T58" fmla="*/ 34 w 7036"/>
                      <a:gd name="T59" fmla="*/ 2758 h 3760"/>
                      <a:gd name="T60" fmla="*/ 2 w 7036"/>
                      <a:gd name="T61" fmla="*/ 2676 h 3760"/>
                      <a:gd name="T62" fmla="*/ 10 w 7036"/>
                      <a:gd name="T63" fmla="*/ 2592 h 3760"/>
                      <a:gd name="T64" fmla="*/ 54 w 7036"/>
                      <a:gd name="T65" fmla="*/ 2506 h 3760"/>
                      <a:gd name="T66" fmla="*/ 150 w 7036"/>
                      <a:gd name="T67" fmla="*/ 2396 h 3760"/>
                      <a:gd name="T68" fmla="*/ 372 w 7036"/>
                      <a:gd name="T69" fmla="*/ 2222 h 3760"/>
                      <a:gd name="T70" fmla="*/ 648 w 7036"/>
                      <a:gd name="T71" fmla="*/ 2052 h 3760"/>
                      <a:gd name="T72" fmla="*/ 1240 w 7036"/>
                      <a:gd name="T73" fmla="*/ 1724 h 3760"/>
                      <a:gd name="T74" fmla="*/ 1396 w 7036"/>
                      <a:gd name="T75" fmla="*/ 1618 h 3760"/>
                      <a:gd name="T76" fmla="*/ 1506 w 7036"/>
                      <a:gd name="T77" fmla="*/ 1478 h 3760"/>
                      <a:gd name="T78" fmla="*/ 1662 w 7036"/>
                      <a:gd name="T79" fmla="*/ 1226 h 3760"/>
                      <a:gd name="T80" fmla="*/ 1912 w 7036"/>
                      <a:gd name="T81" fmla="*/ 776 h 3760"/>
                      <a:gd name="T82" fmla="*/ 2070 w 7036"/>
                      <a:gd name="T83" fmla="*/ 534 h 3760"/>
                      <a:gd name="T84" fmla="*/ 2264 w 7036"/>
                      <a:gd name="T85" fmla="*/ 322 h 3760"/>
                      <a:gd name="T86" fmla="*/ 2444 w 7036"/>
                      <a:gd name="T87" fmla="*/ 192 h 3760"/>
                      <a:gd name="T88" fmla="*/ 2584 w 7036"/>
                      <a:gd name="T89" fmla="*/ 120 h 3760"/>
                      <a:gd name="T90" fmla="*/ 2742 w 7036"/>
                      <a:gd name="T91" fmla="*/ 64 h 3760"/>
                      <a:gd name="T92" fmla="*/ 2922 w 7036"/>
                      <a:gd name="T93" fmla="*/ 24 h 3760"/>
                      <a:gd name="T94" fmla="*/ 3126 w 7036"/>
                      <a:gd name="T95" fmla="*/ 2 h 3760"/>
                      <a:gd name="T96" fmla="*/ 3288 w 7036"/>
                      <a:gd name="T97" fmla="*/ 2 h 3760"/>
                      <a:gd name="T98" fmla="*/ 3500 w 7036"/>
                      <a:gd name="T99" fmla="*/ 26 h 3760"/>
                      <a:gd name="T100" fmla="*/ 3706 w 7036"/>
                      <a:gd name="T101" fmla="*/ 74 h 3760"/>
                      <a:gd name="T102" fmla="*/ 3956 w 7036"/>
                      <a:gd name="T103" fmla="*/ 166 h 3760"/>
                      <a:gd name="T104" fmla="*/ 4330 w 7036"/>
                      <a:gd name="T105" fmla="*/ 360 h 3760"/>
                      <a:gd name="T106" fmla="*/ 4660 w 7036"/>
                      <a:gd name="T107" fmla="*/ 588 h 3760"/>
                      <a:gd name="T108" fmla="*/ 4938 w 7036"/>
                      <a:gd name="T109" fmla="*/ 820 h 3760"/>
                      <a:gd name="T110" fmla="*/ 5228 w 7036"/>
                      <a:gd name="T111" fmla="*/ 1104 h 376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036"/>
                      <a:gd name="T169" fmla="*/ 0 h 3760"/>
                      <a:gd name="T170" fmla="*/ 7036 w 7036"/>
                      <a:gd name="T171" fmla="*/ 3760 h 376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036" h="3760">
                        <a:moveTo>
                          <a:pt x="5332" y="1222"/>
                        </a:moveTo>
                        <a:lnTo>
                          <a:pt x="5332" y="1222"/>
                        </a:lnTo>
                        <a:lnTo>
                          <a:pt x="5386" y="1294"/>
                        </a:lnTo>
                        <a:lnTo>
                          <a:pt x="5438" y="1364"/>
                        </a:lnTo>
                        <a:lnTo>
                          <a:pt x="5490" y="1430"/>
                        </a:lnTo>
                        <a:lnTo>
                          <a:pt x="5542" y="1494"/>
                        </a:lnTo>
                        <a:lnTo>
                          <a:pt x="5594" y="1554"/>
                        </a:lnTo>
                        <a:lnTo>
                          <a:pt x="5644" y="1612"/>
                        </a:lnTo>
                        <a:lnTo>
                          <a:pt x="5696" y="1668"/>
                        </a:lnTo>
                        <a:lnTo>
                          <a:pt x="5748" y="1722"/>
                        </a:lnTo>
                        <a:lnTo>
                          <a:pt x="5800" y="1774"/>
                        </a:lnTo>
                        <a:lnTo>
                          <a:pt x="5850" y="1824"/>
                        </a:lnTo>
                        <a:lnTo>
                          <a:pt x="5902" y="1872"/>
                        </a:lnTo>
                        <a:lnTo>
                          <a:pt x="5954" y="1918"/>
                        </a:lnTo>
                        <a:lnTo>
                          <a:pt x="6056" y="2006"/>
                        </a:lnTo>
                        <a:lnTo>
                          <a:pt x="6160" y="2088"/>
                        </a:lnTo>
                        <a:lnTo>
                          <a:pt x="6264" y="2168"/>
                        </a:lnTo>
                        <a:lnTo>
                          <a:pt x="6370" y="2242"/>
                        </a:lnTo>
                        <a:lnTo>
                          <a:pt x="6476" y="2316"/>
                        </a:lnTo>
                        <a:lnTo>
                          <a:pt x="6584" y="2390"/>
                        </a:lnTo>
                        <a:lnTo>
                          <a:pt x="6806" y="2538"/>
                        </a:lnTo>
                        <a:lnTo>
                          <a:pt x="6920" y="2616"/>
                        </a:lnTo>
                        <a:lnTo>
                          <a:pt x="7036" y="2696"/>
                        </a:lnTo>
                        <a:lnTo>
                          <a:pt x="6882" y="2748"/>
                        </a:lnTo>
                        <a:lnTo>
                          <a:pt x="6700" y="2808"/>
                        </a:lnTo>
                        <a:lnTo>
                          <a:pt x="6272" y="2944"/>
                        </a:lnTo>
                        <a:lnTo>
                          <a:pt x="5784" y="3094"/>
                        </a:lnTo>
                        <a:lnTo>
                          <a:pt x="5266" y="3250"/>
                        </a:lnTo>
                        <a:lnTo>
                          <a:pt x="4752" y="3400"/>
                        </a:lnTo>
                        <a:lnTo>
                          <a:pt x="4272" y="3538"/>
                        </a:lnTo>
                        <a:lnTo>
                          <a:pt x="4056" y="3600"/>
                        </a:lnTo>
                        <a:lnTo>
                          <a:pt x="3860" y="3652"/>
                        </a:lnTo>
                        <a:lnTo>
                          <a:pt x="3690" y="3698"/>
                        </a:lnTo>
                        <a:lnTo>
                          <a:pt x="3546" y="3734"/>
                        </a:lnTo>
                        <a:lnTo>
                          <a:pt x="3502" y="3740"/>
                        </a:lnTo>
                        <a:lnTo>
                          <a:pt x="3434" y="3746"/>
                        </a:lnTo>
                        <a:lnTo>
                          <a:pt x="3346" y="3752"/>
                        </a:lnTo>
                        <a:lnTo>
                          <a:pt x="3242" y="3756"/>
                        </a:lnTo>
                        <a:lnTo>
                          <a:pt x="3122" y="3760"/>
                        </a:lnTo>
                        <a:lnTo>
                          <a:pt x="2992" y="3758"/>
                        </a:lnTo>
                        <a:lnTo>
                          <a:pt x="2854" y="3754"/>
                        </a:lnTo>
                        <a:lnTo>
                          <a:pt x="2782" y="3750"/>
                        </a:lnTo>
                        <a:lnTo>
                          <a:pt x="2710" y="3744"/>
                        </a:lnTo>
                        <a:lnTo>
                          <a:pt x="2638" y="3736"/>
                        </a:lnTo>
                        <a:lnTo>
                          <a:pt x="2564" y="3728"/>
                        </a:lnTo>
                        <a:lnTo>
                          <a:pt x="2492" y="3716"/>
                        </a:lnTo>
                        <a:lnTo>
                          <a:pt x="2420" y="3704"/>
                        </a:lnTo>
                        <a:lnTo>
                          <a:pt x="2348" y="3690"/>
                        </a:lnTo>
                        <a:lnTo>
                          <a:pt x="2278" y="3672"/>
                        </a:lnTo>
                        <a:lnTo>
                          <a:pt x="2210" y="3654"/>
                        </a:lnTo>
                        <a:lnTo>
                          <a:pt x="2144" y="3632"/>
                        </a:lnTo>
                        <a:lnTo>
                          <a:pt x="2080" y="3608"/>
                        </a:lnTo>
                        <a:lnTo>
                          <a:pt x="2018" y="3580"/>
                        </a:lnTo>
                        <a:lnTo>
                          <a:pt x="1960" y="3550"/>
                        </a:lnTo>
                        <a:lnTo>
                          <a:pt x="1906" y="3518"/>
                        </a:lnTo>
                        <a:lnTo>
                          <a:pt x="1880" y="3500"/>
                        </a:lnTo>
                        <a:lnTo>
                          <a:pt x="1856" y="3482"/>
                        </a:lnTo>
                        <a:lnTo>
                          <a:pt x="1832" y="3462"/>
                        </a:lnTo>
                        <a:lnTo>
                          <a:pt x="1810" y="3444"/>
                        </a:lnTo>
                        <a:lnTo>
                          <a:pt x="1788" y="3422"/>
                        </a:lnTo>
                        <a:lnTo>
                          <a:pt x="1768" y="3400"/>
                        </a:lnTo>
                        <a:lnTo>
                          <a:pt x="1750" y="3378"/>
                        </a:lnTo>
                        <a:lnTo>
                          <a:pt x="1732" y="3356"/>
                        </a:lnTo>
                        <a:lnTo>
                          <a:pt x="1682" y="3280"/>
                        </a:lnTo>
                        <a:lnTo>
                          <a:pt x="1638" y="3208"/>
                        </a:lnTo>
                        <a:lnTo>
                          <a:pt x="1600" y="3138"/>
                        </a:lnTo>
                        <a:lnTo>
                          <a:pt x="1564" y="3072"/>
                        </a:lnTo>
                        <a:lnTo>
                          <a:pt x="1534" y="3010"/>
                        </a:lnTo>
                        <a:lnTo>
                          <a:pt x="1508" y="2948"/>
                        </a:lnTo>
                        <a:lnTo>
                          <a:pt x="1484" y="2890"/>
                        </a:lnTo>
                        <a:lnTo>
                          <a:pt x="1466" y="2836"/>
                        </a:lnTo>
                        <a:lnTo>
                          <a:pt x="1448" y="2782"/>
                        </a:lnTo>
                        <a:lnTo>
                          <a:pt x="1434" y="2732"/>
                        </a:lnTo>
                        <a:lnTo>
                          <a:pt x="1422" y="2684"/>
                        </a:lnTo>
                        <a:lnTo>
                          <a:pt x="1412" y="2640"/>
                        </a:lnTo>
                        <a:lnTo>
                          <a:pt x="1396" y="2556"/>
                        </a:lnTo>
                        <a:lnTo>
                          <a:pt x="1382" y="2480"/>
                        </a:lnTo>
                        <a:lnTo>
                          <a:pt x="1368" y="2414"/>
                        </a:lnTo>
                        <a:lnTo>
                          <a:pt x="1362" y="2384"/>
                        </a:lnTo>
                        <a:lnTo>
                          <a:pt x="1354" y="2356"/>
                        </a:lnTo>
                        <a:lnTo>
                          <a:pt x="1344" y="2330"/>
                        </a:lnTo>
                        <a:lnTo>
                          <a:pt x="1332" y="2306"/>
                        </a:lnTo>
                        <a:lnTo>
                          <a:pt x="1318" y="2284"/>
                        </a:lnTo>
                        <a:lnTo>
                          <a:pt x="1302" y="2264"/>
                        </a:lnTo>
                        <a:lnTo>
                          <a:pt x="1284" y="2244"/>
                        </a:lnTo>
                        <a:lnTo>
                          <a:pt x="1262" y="2226"/>
                        </a:lnTo>
                        <a:lnTo>
                          <a:pt x="1238" y="2210"/>
                        </a:lnTo>
                        <a:lnTo>
                          <a:pt x="1208" y="2196"/>
                        </a:lnTo>
                        <a:lnTo>
                          <a:pt x="1176" y="2182"/>
                        </a:lnTo>
                        <a:lnTo>
                          <a:pt x="1138" y="2172"/>
                        </a:lnTo>
                        <a:lnTo>
                          <a:pt x="1096" y="2160"/>
                        </a:lnTo>
                        <a:lnTo>
                          <a:pt x="1048" y="2152"/>
                        </a:lnTo>
                        <a:lnTo>
                          <a:pt x="1020" y="2150"/>
                        </a:lnTo>
                        <a:lnTo>
                          <a:pt x="992" y="2152"/>
                        </a:lnTo>
                        <a:lnTo>
                          <a:pt x="962" y="2158"/>
                        </a:lnTo>
                        <a:lnTo>
                          <a:pt x="928" y="2168"/>
                        </a:lnTo>
                        <a:lnTo>
                          <a:pt x="894" y="2180"/>
                        </a:lnTo>
                        <a:lnTo>
                          <a:pt x="858" y="2198"/>
                        </a:lnTo>
                        <a:lnTo>
                          <a:pt x="822" y="2216"/>
                        </a:lnTo>
                        <a:lnTo>
                          <a:pt x="784" y="2238"/>
                        </a:lnTo>
                        <a:lnTo>
                          <a:pt x="746" y="2262"/>
                        </a:lnTo>
                        <a:lnTo>
                          <a:pt x="706" y="2288"/>
                        </a:lnTo>
                        <a:lnTo>
                          <a:pt x="628" y="2346"/>
                        </a:lnTo>
                        <a:lnTo>
                          <a:pt x="548" y="2406"/>
                        </a:lnTo>
                        <a:lnTo>
                          <a:pt x="470" y="2472"/>
                        </a:lnTo>
                        <a:lnTo>
                          <a:pt x="396" y="2536"/>
                        </a:lnTo>
                        <a:lnTo>
                          <a:pt x="326" y="2600"/>
                        </a:lnTo>
                        <a:lnTo>
                          <a:pt x="206" y="2712"/>
                        </a:lnTo>
                        <a:lnTo>
                          <a:pt x="122" y="2790"/>
                        </a:lnTo>
                        <a:lnTo>
                          <a:pt x="98" y="2810"/>
                        </a:lnTo>
                        <a:lnTo>
                          <a:pt x="90" y="2816"/>
                        </a:lnTo>
                        <a:lnTo>
                          <a:pt x="88" y="2816"/>
                        </a:lnTo>
                        <a:lnTo>
                          <a:pt x="66" y="2798"/>
                        </a:lnTo>
                        <a:lnTo>
                          <a:pt x="50" y="2778"/>
                        </a:lnTo>
                        <a:lnTo>
                          <a:pt x="34" y="2758"/>
                        </a:lnTo>
                        <a:lnTo>
                          <a:pt x="22" y="2738"/>
                        </a:lnTo>
                        <a:lnTo>
                          <a:pt x="14" y="2718"/>
                        </a:lnTo>
                        <a:lnTo>
                          <a:pt x="6" y="2698"/>
                        </a:lnTo>
                        <a:lnTo>
                          <a:pt x="2" y="2676"/>
                        </a:lnTo>
                        <a:lnTo>
                          <a:pt x="0" y="2656"/>
                        </a:lnTo>
                        <a:lnTo>
                          <a:pt x="2" y="2634"/>
                        </a:lnTo>
                        <a:lnTo>
                          <a:pt x="6" y="2614"/>
                        </a:lnTo>
                        <a:lnTo>
                          <a:pt x="10" y="2592"/>
                        </a:lnTo>
                        <a:lnTo>
                          <a:pt x="18" y="2570"/>
                        </a:lnTo>
                        <a:lnTo>
                          <a:pt x="28" y="2550"/>
                        </a:lnTo>
                        <a:lnTo>
                          <a:pt x="40" y="2528"/>
                        </a:lnTo>
                        <a:lnTo>
                          <a:pt x="54" y="2506"/>
                        </a:lnTo>
                        <a:lnTo>
                          <a:pt x="70" y="2484"/>
                        </a:lnTo>
                        <a:lnTo>
                          <a:pt x="86" y="2462"/>
                        </a:lnTo>
                        <a:lnTo>
                          <a:pt x="106" y="2440"/>
                        </a:lnTo>
                        <a:lnTo>
                          <a:pt x="150" y="2396"/>
                        </a:lnTo>
                        <a:lnTo>
                          <a:pt x="198" y="2352"/>
                        </a:lnTo>
                        <a:lnTo>
                          <a:pt x="252" y="2308"/>
                        </a:lnTo>
                        <a:lnTo>
                          <a:pt x="310" y="2264"/>
                        </a:lnTo>
                        <a:lnTo>
                          <a:pt x="372" y="2222"/>
                        </a:lnTo>
                        <a:lnTo>
                          <a:pt x="438" y="2178"/>
                        </a:lnTo>
                        <a:lnTo>
                          <a:pt x="506" y="2136"/>
                        </a:lnTo>
                        <a:lnTo>
                          <a:pt x="576" y="2092"/>
                        </a:lnTo>
                        <a:lnTo>
                          <a:pt x="648" y="2052"/>
                        </a:lnTo>
                        <a:lnTo>
                          <a:pt x="792" y="1970"/>
                        </a:lnTo>
                        <a:lnTo>
                          <a:pt x="1066" y="1822"/>
                        </a:lnTo>
                        <a:lnTo>
                          <a:pt x="1186" y="1754"/>
                        </a:lnTo>
                        <a:lnTo>
                          <a:pt x="1240" y="1724"/>
                        </a:lnTo>
                        <a:lnTo>
                          <a:pt x="1288" y="1694"/>
                        </a:lnTo>
                        <a:lnTo>
                          <a:pt x="1332" y="1666"/>
                        </a:lnTo>
                        <a:lnTo>
                          <a:pt x="1368" y="1640"/>
                        </a:lnTo>
                        <a:lnTo>
                          <a:pt x="1396" y="1618"/>
                        </a:lnTo>
                        <a:lnTo>
                          <a:pt x="1418" y="1596"/>
                        </a:lnTo>
                        <a:lnTo>
                          <a:pt x="1462" y="1538"/>
                        </a:lnTo>
                        <a:lnTo>
                          <a:pt x="1506" y="1478"/>
                        </a:lnTo>
                        <a:lnTo>
                          <a:pt x="1548" y="1416"/>
                        </a:lnTo>
                        <a:lnTo>
                          <a:pt x="1588" y="1354"/>
                        </a:lnTo>
                        <a:lnTo>
                          <a:pt x="1626" y="1290"/>
                        </a:lnTo>
                        <a:lnTo>
                          <a:pt x="1662" y="1226"/>
                        </a:lnTo>
                        <a:lnTo>
                          <a:pt x="1734" y="1096"/>
                        </a:lnTo>
                        <a:lnTo>
                          <a:pt x="1804" y="966"/>
                        </a:lnTo>
                        <a:lnTo>
                          <a:pt x="1874" y="838"/>
                        </a:lnTo>
                        <a:lnTo>
                          <a:pt x="1912" y="776"/>
                        </a:lnTo>
                        <a:lnTo>
                          <a:pt x="1948" y="714"/>
                        </a:lnTo>
                        <a:lnTo>
                          <a:pt x="1988" y="652"/>
                        </a:lnTo>
                        <a:lnTo>
                          <a:pt x="2028" y="592"/>
                        </a:lnTo>
                        <a:lnTo>
                          <a:pt x="2070" y="534"/>
                        </a:lnTo>
                        <a:lnTo>
                          <a:pt x="2116" y="478"/>
                        </a:lnTo>
                        <a:lnTo>
                          <a:pt x="2162" y="424"/>
                        </a:lnTo>
                        <a:lnTo>
                          <a:pt x="2212" y="372"/>
                        </a:lnTo>
                        <a:lnTo>
                          <a:pt x="2264" y="322"/>
                        </a:lnTo>
                        <a:lnTo>
                          <a:pt x="2320" y="276"/>
                        </a:lnTo>
                        <a:lnTo>
                          <a:pt x="2380" y="232"/>
                        </a:lnTo>
                        <a:lnTo>
                          <a:pt x="2412" y="212"/>
                        </a:lnTo>
                        <a:lnTo>
                          <a:pt x="2444" y="192"/>
                        </a:lnTo>
                        <a:lnTo>
                          <a:pt x="2478" y="172"/>
                        </a:lnTo>
                        <a:lnTo>
                          <a:pt x="2512" y="154"/>
                        </a:lnTo>
                        <a:lnTo>
                          <a:pt x="2548" y="136"/>
                        </a:lnTo>
                        <a:lnTo>
                          <a:pt x="2584" y="120"/>
                        </a:lnTo>
                        <a:lnTo>
                          <a:pt x="2622" y="104"/>
                        </a:lnTo>
                        <a:lnTo>
                          <a:pt x="2662" y="90"/>
                        </a:lnTo>
                        <a:lnTo>
                          <a:pt x="2702" y="76"/>
                        </a:lnTo>
                        <a:lnTo>
                          <a:pt x="2742" y="64"/>
                        </a:lnTo>
                        <a:lnTo>
                          <a:pt x="2786" y="52"/>
                        </a:lnTo>
                        <a:lnTo>
                          <a:pt x="2830" y="42"/>
                        </a:lnTo>
                        <a:lnTo>
                          <a:pt x="2876" y="32"/>
                        </a:lnTo>
                        <a:lnTo>
                          <a:pt x="2922" y="24"/>
                        </a:lnTo>
                        <a:lnTo>
                          <a:pt x="2972" y="16"/>
                        </a:lnTo>
                        <a:lnTo>
                          <a:pt x="3022" y="10"/>
                        </a:lnTo>
                        <a:lnTo>
                          <a:pt x="3074" y="6"/>
                        </a:lnTo>
                        <a:lnTo>
                          <a:pt x="3126" y="2"/>
                        </a:lnTo>
                        <a:lnTo>
                          <a:pt x="3180" y="0"/>
                        </a:lnTo>
                        <a:lnTo>
                          <a:pt x="3234" y="0"/>
                        </a:lnTo>
                        <a:lnTo>
                          <a:pt x="3288" y="2"/>
                        </a:lnTo>
                        <a:lnTo>
                          <a:pt x="3340" y="4"/>
                        </a:lnTo>
                        <a:lnTo>
                          <a:pt x="3394" y="10"/>
                        </a:lnTo>
                        <a:lnTo>
                          <a:pt x="3446" y="18"/>
                        </a:lnTo>
                        <a:lnTo>
                          <a:pt x="3500" y="26"/>
                        </a:lnTo>
                        <a:lnTo>
                          <a:pt x="3552" y="36"/>
                        </a:lnTo>
                        <a:lnTo>
                          <a:pt x="3604" y="48"/>
                        </a:lnTo>
                        <a:lnTo>
                          <a:pt x="3654" y="60"/>
                        </a:lnTo>
                        <a:lnTo>
                          <a:pt x="3706" y="74"/>
                        </a:lnTo>
                        <a:lnTo>
                          <a:pt x="3758" y="90"/>
                        </a:lnTo>
                        <a:lnTo>
                          <a:pt x="3808" y="108"/>
                        </a:lnTo>
                        <a:lnTo>
                          <a:pt x="3858" y="126"/>
                        </a:lnTo>
                        <a:lnTo>
                          <a:pt x="3956" y="166"/>
                        </a:lnTo>
                        <a:lnTo>
                          <a:pt x="4054" y="210"/>
                        </a:lnTo>
                        <a:lnTo>
                          <a:pt x="4148" y="256"/>
                        </a:lnTo>
                        <a:lnTo>
                          <a:pt x="4240" y="306"/>
                        </a:lnTo>
                        <a:lnTo>
                          <a:pt x="4330" y="360"/>
                        </a:lnTo>
                        <a:lnTo>
                          <a:pt x="4418" y="414"/>
                        </a:lnTo>
                        <a:lnTo>
                          <a:pt x="4502" y="472"/>
                        </a:lnTo>
                        <a:lnTo>
                          <a:pt x="4582" y="530"/>
                        </a:lnTo>
                        <a:lnTo>
                          <a:pt x="4660" y="588"/>
                        </a:lnTo>
                        <a:lnTo>
                          <a:pt x="4736" y="646"/>
                        </a:lnTo>
                        <a:lnTo>
                          <a:pt x="4806" y="706"/>
                        </a:lnTo>
                        <a:lnTo>
                          <a:pt x="4874" y="762"/>
                        </a:lnTo>
                        <a:lnTo>
                          <a:pt x="4938" y="820"/>
                        </a:lnTo>
                        <a:lnTo>
                          <a:pt x="4998" y="874"/>
                        </a:lnTo>
                        <a:lnTo>
                          <a:pt x="5052" y="926"/>
                        </a:lnTo>
                        <a:lnTo>
                          <a:pt x="5150" y="1022"/>
                        </a:lnTo>
                        <a:lnTo>
                          <a:pt x="5228" y="1104"/>
                        </a:lnTo>
                        <a:lnTo>
                          <a:pt x="5284" y="1166"/>
                        </a:lnTo>
                        <a:lnTo>
                          <a:pt x="5332" y="1222"/>
                        </a:lnTo>
                        <a:close/>
                      </a:path>
                    </a:pathLst>
                  </a:custGeom>
                  <a:gradFill rotWithShape="1">
                    <a:gsLst>
                      <a:gs pos="0">
                        <a:srgbClr val="006D2A"/>
                      </a:gs>
                      <a:gs pos="50000">
                        <a:srgbClr val="009E41"/>
                      </a:gs>
                      <a:gs pos="100000">
                        <a:srgbClr val="00BD4F"/>
                      </a:gs>
                    </a:gsLst>
                    <a:lin ang="13500000" scaled="1"/>
                  </a:grad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ndParaRPr>
                  </a:p>
                </p:txBody>
              </p:sp>
              <p:sp>
                <p:nvSpPr>
                  <p:cNvPr id="92" name="Freeform 7"/>
                  <p:cNvSpPr>
                    <a:spLocks/>
                  </p:cNvSpPr>
                  <p:nvPr/>
                </p:nvSpPr>
                <p:spPr bwMode="auto">
                  <a:xfrm>
                    <a:off x="-2034007" y="-2884437"/>
                    <a:ext cx="11205735" cy="4441576"/>
                  </a:xfrm>
                  <a:custGeom>
                    <a:avLst/>
                    <a:gdLst>
                      <a:gd name="T0" fmla="*/ 2382 w 7034"/>
                      <a:gd name="T1" fmla="*/ 1714 h 2792"/>
                      <a:gd name="T2" fmla="*/ 2542 w 7034"/>
                      <a:gd name="T3" fmla="*/ 1702 h 2792"/>
                      <a:gd name="T4" fmla="*/ 2734 w 7034"/>
                      <a:gd name="T5" fmla="*/ 1704 h 2792"/>
                      <a:gd name="T6" fmla="*/ 2954 w 7034"/>
                      <a:gd name="T7" fmla="*/ 1722 h 2792"/>
                      <a:gd name="T8" fmla="*/ 3462 w 7034"/>
                      <a:gd name="T9" fmla="*/ 1794 h 2792"/>
                      <a:gd name="T10" fmla="*/ 4032 w 7034"/>
                      <a:gd name="T11" fmla="*/ 1902 h 2792"/>
                      <a:gd name="T12" fmla="*/ 4632 w 7034"/>
                      <a:gd name="T13" fmla="*/ 2038 h 2792"/>
                      <a:gd name="T14" fmla="*/ 5422 w 7034"/>
                      <a:gd name="T15" fmla="*/ 2238 h 2792"/>
                      <a:gd name="T16" fmla="*/ 6430 w 7034"/>
                      <a:gd name="T17" fmla="*/ 2518 h 2792"/>
                      <a:gd name="T18" fmla="*/ 7034 w 7034"/>
                      <a:gd name="T19" fmla="*/ 2696 h 2792"/>
                      <a:gd name="T20" fmla="*/ 6804 w 7034"/>
                      <a:gd name="T21" fmla="*/ 2538 h 2792"/>
                      <a:gd name="T22" fmla="*/ 6368 w 7034"/>
                      <a:gd name="T23" fmla="*/ 2242 h 2792"/>
                      <a:gd name="T24" fmla="*/ 6054 w 7034"/>
                      <a:gd name="T25" fmla="*/ 2006 h 2792"/>
                      <a:gd name="T26" fmla="*/ 5848 w 7034"/>
                      <a:gd name="T27" fmla="*/ 1824 h 2792"/>
                      <a:gd name="T28" fmla="*/ 5694 w 7034"/>
                      <a:gd name="T29" fmla="*/ 1668 h 2792"/>
                      <a:gd name="T30" fmla="*/ 5540 w 7034"/>
                      <a:gd name="T31" fmla="*/ 1494 h 2792"/>
                      <a:gd name="T32" fmla="*/ 5384 w 7034"/>
                      <a:gd name="T33" fmla="*/ 1294 h 2792"/>
                      <a:gd name="T34" fmla="*/ 5282 w 7034"/>
                      <a:gd name="T35" fmla="*/ 1166 h 2792"/>
                      <a:gd name="T36" fmla="*/ 5050 w 7034"/>
                      <a:gd name="T37" fmla="*/ 926 h 2792"/>
                      <a:gd name="T38" fmla="*/ 4872 w 7034"/>
                      <a:gd name="T39" fmla="*/ 762 h 2792"/>
                      <a:gd name="T40" fmla="*/ 4658 w 7034"/>
                      <a:gd name="T41" fmla="*/ 588 h 2792"/>
                      <a:gd name="T42" fmla="*/ 4416 w 7034"/>
                      <a:gd name="T43" fmla="*/ 414 h 2792"/>
                      <a:gd name="T44" fmla="*/ 4146 w 7034"/>
                      <a:gd name="T45" fmla="*/ 256 h 2792"/>
                      <a:gd name="T46" fmla="*/ 3856 w 7034"/>
                      <a:gd name="T47" fmla="*/ 126 h 2792"/>
                      <a:gd name="T48" fmla="*/ 3704 w 7034"/>
                      <a:gd name="T49" fmla="*/ 74 h 2792"/>
                      <a:gd name="T50" fmla="*/ 3550 w 7034"/>
                      <a:gd name="T51" fmla="*/ 36 h 2792"/>
                      <a:gd name="T52" fmla="*/ 3392 w 7034"/>
                      <a:gd name="T53" fmla="*/ 10 h 2792"/>
                      <a:gd name="T54" fmla="*/ 3232 w 7034"/>
                      <a:gd name="T55" fmla="*/ 0 h 2792"/>
                      <a:gd name="T56" fmla="*/ 3124 w 7034"/>
                      <a:gd name="T57" fmla="*/ 2 h 2792"/>
                      <a:gd name="T58" fmla="*/ 2970 w 7034"/>
                      <a:gd name="T59" fmla="*/ 16 h 2792"/>
                      <a:gd name="T60" fmla="*/ 2828 w 7034"/>
                      <a:gd name="T61" fmla="*/ 42 h 2792"/>
                      <a:gd name="T62" fmla="*/ 2700 w 7034"/>
                      <a:gd name="T63" fmla="*/ 76 h 2792"/>
                      <a:gd name="T64" fmla="*/ 2582 w 7034"/>
                      <a:gd name="T65" fmla="*/ 120 h 2792"/>
                      <a:gd name="T66" fmla="*/ 2476 w 7034"/>
                      <a:gd name="T67" fmla="*/ 172 h 2792"/>
                      <a:gd name="T68" fmla="*/ 2378 w 7034"/>
                      <a:gd name="T69" fmla="*/ 232 h 2792"/>
                      <a:gd name="T70" fmla="*/ 2210 w 7034"/>
                      <a:gd name="T71" fmla="*/ 372 h 2792"/>
                      <a:gd name="T72" fmla="*/ 2068 w 7034"/>
                      <a:gd name="T73" fmla="*/ 534 h 2792"/>
                      <a:gd name="T74" fmla="*/ 1946 w 7034"/>
                      <a:gd name="T75" fmla="*/ 714 h 2792"/>
                      <a:gd name="T76" fmla="*/ 1802 w 7034"/>
                      <a:gd name="T77" fmla="*/ 966 h 2792"/>
                      <a:gd name="T78" fmla="*/ 1624 w 7034"/>
                      <a:gd name="T79" fmla="*/ 1290 h 2792"/>
                      <a:gd name="T80" fmla="*/ 1504 w 7034"/>
                      <a:gd name="T81" fmla="*/ 1478 h 2792"/>
                      <a:gd name="T82" fmla="*/ 1416 w 7034"/>
                      <a:gd name="T83" fmla="*/ 1596 h 2792"/>
                      <a:gd name="T84" fmla="*/ 1332 w 7034"/>
                      <a:gd name="T85" fmla="*/ 1666 h 2792"/>
                      <a:gd name="T86" fmla="*/ 1192 w 7034"/>
                      <a:gd name="T87" fmla="*/ 1752 h 2792"/>
                      <a:gd name="T88" fmla="*/ 666 w 7034"/>
                      <a:gd name="T89" fmla="*/ 2040 h 2792"/>
                      <a:gd name="T90" fmla="*/ 394 w 7034"/>
                      <a:gd name="T91" fmla="*/ 2206 h 2792"/>
                      <a:gd name="T92" fmla="*/ 218 w 7034"/>
                      <a:gd name="T93" fmla="*/ 2334 h 2792"/>
                      <a:gd name="T94" fmla="*/ 84 w 7034"/>
                      <a:gd name="T95" fmla="*/ 2464 h 2792"/>
                      <a:gd name="T96" fmla="*/ 38 w 7034"/>
                      <a:gd name="T97" fmla="*/ 2528 h 2792"/>
                      <a:gd name="T98" fmla="*/ 10 w 7034"/>
                      <a:gd name="T99" fmla="*/ 2592 h 2792"/>
                      <a:gd name="T100" fmla="*/ 0 w 7034"/>
                      <a:gd name="T101" fmla="*/ 2654 h 2792"/>
                      <a:gd name="T102" fmla="*/ 10 w 7034"/>
                      <a:gd name="T103" fmla="*/ 2714 h 2792"/>
                      <a:gd name="T104" fmla="*/ 44 w 7034"/>
                      <a:gd name="T105" fmla="*/ 2774 h 2792"/>
                      <a:gd name="T106" fmla="*/ 80 w 7034"/>
                      <a:gd name="T107" fmla="*/ 2746 h 2792"/>
                      <a:gd name="T108" fmla="*/ 242 w 7034"/>
                      <a:gd name="T109" fmla="*/ 2532 h 2792"/>
                      <a:gd name="T110" fmla="*/ 416 w 7034"/>
                      <a:gd name="T111" fmla="*/ 2358 h 2792"/>
                      <a:gd name="T112" fmla="*/ 600 w 7034"/>
                      <a:gd name="T113" fmla="*/ 2218 h 2792"/>
                      <a:gd name="T114" fmla="*/ 796 w 7034"/>
                      <a:gd name="T115" fmla="*/ 2106 h 2792"/>
                      <a:gd name="T116" fmla="*/ 1000 w 7034"/>
                      <a:gd name="T117" fmla="*/ 2018 h 2792"/>
                      <a:gd name="T118" fmla="*/ 1214 w 7034"/>
                      <a:gd name="T119" fmla="*/ 1950 h 2792"/>
                      <a:gd name="T120" fmla="*/ 1438 w 7034"/>
                      <a:gd name="T121" fmla="*/ 1894 h 2792"/>
                      <a:gd name="T122" fmla="*/ 1832 w 7034"/>
                      <a:gd name="T123" fmla="*/ 1816 h 2792"/>
                      <a:gd name="T124" fmla="*/ 2336 w 7034"/>
                      <a:gd name="T125" fmla="*/ 1722 h 27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7034"/>
                      <a:gd name="T190" fmla="*/ 0 h 2792"/>
                      <a:gd name="T191" fmla="*/ 7034 w 7034"/>
                      <a:gd name="T192" fmla="*/ 2792 h 279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7034" h="2792">
                        <a:moveTo>
                          <a:pt x="2336" y="1722"/>
                        </a:moveTo>
                        <a:lnTo>
                          <a:pt x="2336" y="1722"/>
                        </a:lnTo>
                        <a:lnTo>
                          <a:pt x="2382" y="1714"/>
                        </a:lnTo>
                        <a:lnTo>
                          <a:pt x="2432" y="1708"/>
                        </a:lnTo>
                        <a:lnTo>
                          <a:pt x="2484" y="1704"/>
                        </a:lnTo>
                        <a:lnTo>
                          <a:pt x="2542" y="1702"/>
                        </a:lnTo>
                        <a:lnTo>
                          <a:pt x="2602" y="1700"/>
                        </a:lnTo>
                        <a:lnTo>
                          <a:pt x="2666" y="1702"/>
                        </a:lnTo>
                        <a:lnTo>
                          <a:pt x="2734" y="1704"/>
                        </a:lnTo>
                        <a:lnTo>
                          <a:pt x="2804" y="1708"/>
                        </a:lnTo>
                        <a:lnTo>
                          <a:pt x="2878" y="1714"/>
                        </a:lnTo>
                        <a:lnTo>
                          <a:pt x="2954" y="1722"/>
                        </a:lnTo>
                        <a:lnTo>
                          <a:pt x="3114" y="1740"/>
                        </a:lnTo>
                        <a:lnTo>
                          <a:pt x="3284" y="1764"/>
                        </a:lnTo>
                        <a:lnTo>
                          <a:pt x="3462" y="1794"/>
                        </a:lnTo>
                        <a:lnTo>
                          <a:pt x="3646" y="1826"/>
                        </a:lnTo>
                        <a:lnTo>
                          <a:pt x="3836" y="1862"/>
                        </a:lnTo>
                        <a:lnTo>
                          <a:pt x="4032" y="1902"/>
                        </a:lnTo>
                        <a:lnTo>
                          <a:pt x="4230" y="1946"/>
                        </a:lnTo>
                        <a:lnTo>
                          <a:pt x="4430" y="1992"/>
                        </a:lnTo>
                        <a:lnTo>
                          <a:pt x="4632" y="2038"/>
                        </a:lnTo>
                        <a:lnTo>
                          <a:pt x="4834" y="2088"/>
                        </a:lnTo>
                        <a:lnTo>
                          <a:pt x="5032" y="2138"/>
                        </a:lnTo>
                        <a:lnTo>
                          <a:pt x="5422" y="2238"/>
                        </a:lnTo>
                        <a:lnTo>
                          <a:pt x="5792" y="2338"/>
                        </a:lnTo>
                        <a:lnTo>
                          <a:pt x="6132" y="2432"/>
                        </a:lnTo>
                        <a:lnTo>
                          <a:pt x="6430" y="2518"/>
                        </a:lnTo>
                        <a:lnTo>
                          <a:pt x="6680" y="2590"/>
                        </a:lnTo>
                        <a:lnTo>
                          <a:pt x="6870" y="2648"/>
                        </a:lnTo>
                        <a:lnTo>
                          <a:pt x="7034" y="2696"/>
                        </a:lnTo>
                        <a:lnTo>
                          <a:pt x="6918" y="2616"/>
                        </a:lnTo>
                        <a:lnTo>
                          <a:pt x="6804" y="2538"/>
                        </a:lnTo>
                        <a:lnTo>
                          <a:pt x="6582" y="2390"/>
                        </a:lnTo>
                        <a:lnTo>
                          <a:pt x="6474" y="2316"/>
                        </a:lnTo>
                        <a:lnTo>
                          <a:pt x="6368" y="2242"/>
                        </a:lnTo>
                        <a:lnTo>
                          <a:pt x="6262" y="2168"/>
                        </a:lnTo>
                        <a:lnTo>
                          <a:pt x="6158" y="2088"/>
                        </a:lnTo>
                        <a:lnTo>
                          <a:pt x="6054" y="2006"/>
                        </a:lnTo>
                        <a:lnTo>
                          <a:pt x="5952" y="1918"/>
                        </a:lnTo>
                        <a:lnTo>
                          <a:pt x="5900" y="1872"/>
                        </a:lnTo>
                        <a:lnTo>
                          <a:pt x="5848" y="1824"/>
                        </a:lnTo>
                        <a:lnTo>
                          <a:pt x="5798" y="1774"/>
                        </a:lnTo>
                        <a:lnTo>
                          <a:pt x="5746" y="1722"/>
                        </a:lnTo>
                        <a:lnTo>
                          <a:pt x="5694" y="1668"/>
                        </a:lnTo>
                        <a:lnTo>
                          <a:pt x="5642" y="1612"/>
                        </a:lnTo>
                        <a:lnTo>
                          <a:pt x="5592" y="1554"/>
                        </a:lnTo>
                        <a:lnTo>
                          <a:pt x="5540" y="1494"/>
                        </a:lnTo>
                        <a:lnTo>
                          <a:pt x="5488" y="1430"/>
                        </a:lnTo>
                        <a:lnTo>
                          <a:pt x="5436" y="1364"/>
                        </a:lnTo>
                        <a:lnTo>
                          <a:pt x="5384" y="1294"/>
                        </a:lnTo>
                        <a:lnTo>
                          <a:pt x="5330" y="1222"/>
                        </a:lnTo>
                        <a:lnTo>
                          <a:pt x="5282" y="1166"/>
                        </a:lnTo>
                        <a:lnTo>
                          <a:pt x="5226" y="1104"/>
                        </a:lnTo>
                        <a:lnTo>
                          <a:pt x="5148" y="1022"/>
                        </a:lnTo>
                        <a:lnTo>
                          <a:pt x="5050" y="926"/>
                        </a:lnTo>
                        <a:lnTo>
                          <a:pt x="4996" y="874"/>
                        </a:lnTo>
                        <a:lnTo>
                          <a:pt x="4936" y="820"/>
                        </a:lnTo>
                        <a:lnTo>
                          <a:pt x="4872" y="762"/>
                        </a:lnTo>
                        <a:lnTo>
                          <a:pt x="4804" y="706"/>
                        </a:lnTo>
                        <a:lnTo>
                          <a:pt x="4734" y="646"/>
                        </a:lnTo>
                        <a:lnTo>
                          <a:pt x="4658" y="588"/>
                        </a:lnTo>
                        <a:lnTo>
                          <a:pt x="4580" y="530"/>
                        </a:lnTo>
                        <a:lnTo>
                          <a:pt x="4500" y="472"/>
                        </a:lnTo>
                        <a:lnTo>
                          <a:pt x="4416" y="414"/>
                        </a:lnTo>
                        <a:lnTo>
                          <a:pt x="4328" y="360"/>
                        </a:lnTo>
                        <a:lnTo>
                          <a:pt x="4238" y="306"/>
                        </a:lnTo>
                        <a:lnTo>
                          <a:pt x="4146" y="256"/>
                        </a:lnTo>
                        <a:lnTo>
                          <a:pt x="4052" y="210"/>
                        </a:lnTo>
                        <a:lnTo>
                          <a:pt x="3954" y="166"/>
                        </a:lnTo>
                        <a:lnTo>
                          <a:pt x="3856" y="126"/>
                        </a:lnTo>
                        <a:lnTo>
                          <a:pt x="3806" y="108"/>
                        </a:lnTo>
                        <a:lnTo>
                          <a:pt x="3756" y="90"/>
                        </a:lnTo>
                        <a:lnTo>
                          <a:pt x="3704" y="74"/>
                        </a:lnTo>
                        <a:lnTo>
                          <a:pt x="3652" y="60"/>
                        </a:lnTo>
                        <a:lnTo>
                          <a:pt x="3602" y="48"/>
                        </a:lnTo>
                        <a:lnTo>
                          <a:pt x="3550" y="36"/>
                        </a:lnTo>
                        <a:lnTo>
                          <a:pt x="3498" y="26"/>
                        </a:lnTo>
                        <a:lnTo>
                          <a:pt x="3444" y="18"/>
                        </a:lnTo>
                        <a:lnTo>
                          <a:pt x="3392" y="10"/>
                        </a:lnTo>
                        <a:lnTo>
                          <a:pt x="3338" y="4"/>
                        </a:lnTo>
                        <a:lnTo>
                          <a:pt x="3286" y="2"/>
                        </a:lnTo>
                        <a:lnTo>
                          <a:pt x="3232" y="0"/>
                        </a:lnTo>
                        <a:lnTo>
                          <a:pt x="3178" y="0"/>
                        </a:lnTo>
                        <a:lnTo>
                          <a:pt x="3124" y="2"/>
                        </a:lnTo>
                        <a:lnTo>
                          <a:pt x="3072" y="6"/>
                        </a:lnTo>
                        <a:lnTo>
                          <a:pt x="3020" y="10"/>
                        </a:lnTo>
                        <a:lnTo>
                          <a:pt x="2970" y="16"/>
                        </a:lnTo>
                        <a:lnTo>
                          <a:pt x="2920" y="24"/>
                        </a:lnTo>
                        <a:lnTo>
                          <a:pt x="2874" y="32"/>
                        </a:lnTo>
                        <a:lnTo>
                          <a:pt x="2828" y="42"/>
                        </a:lnTo>
                        <a:lnTo>
                          <a:pt x="2784" y="52"/>
                        </a:lnTo>
                        <a:lnTo>
                          <a:pt x="2740" y="64"/>
                        </a:lnTo>
                        <a:lnTo>
                          <a:pt x="2700" y="76"/>
                        </a:lnTo>
                        <a:lnTo>
                          <a:pt x="2660" y="90"/>
                        </a:lnTo>
                        <a:lnTo>
                          <a:pt x="2620" y="104"/>
                        </a:lnTo>
                        <a:lnTo>
                          <a:pt x="2582" y="120"/>
                        </a:lnTo>
                        <a:lnTo>
                          <a:pt x="2546" y="136"/>
                        </a:lnTo>
                        <a:lnTo>
                          <a:pt x="2510" y="154"/>
                        </a:lnTo>
                        <a:lnTo>
                          <a:pt x="2476" y="172"/>
                        </a:lnTo>
                        <a:lnTo>
                          <a:pt x="2442" y="192"/>
                        </a:lnTo>
                        <a:lnTo>
                          <a:pt x="2410" y="212"/>
                        </a:lnTo>
                        <a:lnTo>
                          <a:pt x="2378" y="232"/>
                        </a:lnTo>
                        <a:lnTo>
                          <a:pt x="2318" y="276"/>
                        </a:lnTo>
                        <a:lnTo>
                          <a:pt x="2262" y="322"/>
                        </a:lnTo>
                        <a:lnTo>
                          <a:pt x="2210" y="372"/>
                        </a:lnTo>
                        <a:lnTo>
                          <a:pt x="2160" y="424"/>
                        </a:lnTo>
                        <a:lnTo>
                          <a:pt x="2114" y="478"/>
                        </a:lnTo>
                        <a:lnTo>
                          <a:pt x="2068" y="534"/>
                        </a:lnTo>
                        <a:lnTo>
                          <a:pt x="2026" y="592"/>
                        </a:lnTo>
                        <a:lnTo>
                          <a:pt x="1986" y="652"/>
                        </a:lnTo>
                        <a:lnTo>
                          <a:pt x="1946" y="714"/>
                        </a:lnTo>
                        <a:lnTo>
                          <a:pt x="1910" y="776"/>
                        </a:lnTo>
                        <a:lnTo>
                          <a:pt x="1872" y="838"/>
                        </a:lnTo>
                        <a:lnTo>
                          <a:pt x="1802" y="966"/>
                        </a:lnTo>
                        <a:lnTo>
                          <a:pt x="1732" y="1096"/>
                        </a:lnTo>
                        <a:lnTo>
                          <a:pt x="1660" y="1226"/>
                        </a:lnTo>
                        <a:lnTo>
                          <a:pt x="1624" y="1290"/>
                        </a:lnTo>
                        <a:lnTo>
                          <a:pt x="1586" y="1354"/>
                        </a:lnTo>
                        <a:lnTo>
                          <a:pt x="1546" y="1416"/>
                        </a:lnTo>
                        <a:lnTo>
                          <a:pt x="1504" y="1478"/>
                        </a:lnTo>
                        <a:lnTo>
                          <a:pt x="1460" y="1538"/>
                        </a:lnTo>
                        <a:lnTo>
                          <a:pt x="1416" y="1596"/>
                        </a:lnTo>
                        <a:lnTo>
                          <a:pt x="1394" y="1616"/>
                        </a:lnTo>
                        <a:lnTo>
                          <a:pt x="1366" y="1640"/>
                        </a:lnTo>
                        <a:lnTo>
                          <a:pt x="1332" y="1666"/>
                        </a:lnTo>
                        <a:lnTo>
                          <a:pt x="1290" y="1692"/>
                        </a:lnTo>
                        <a:lnTo>
                          <a:pt x="1244" y="1720"/>
                        </a:lnTo>
                        <a:lnTo>
                          <a:pt x="1192" y="1752"/>
                        </a:lnTo>
                        <a:lnTo>
                          <a:pt x="1074" y="1816"/>
                        </a:lnTo>
                        <a:lnTo>
                          <a:pt x="806" y="1962"/>
                        </a:lnTo>
                        <a:lnTo>
                          <a:pt x="666" y="2040"/>
                        </a:lnTo>
                        <a:lnTo>
                          <a:pt x="526" y="2122"/>
                        </a:lnTo>
                        <a:lnTo>
                          <a:pt x="458" y="2164"/>
                        </a:lnTo>
                        <a:lnTo>
                          <a:pt x="394" y="2206"/>
                        </a:lnTo>
                        <a:lnTo>
                          <a:pt x="330" y="2248"/>
                        </a:lnTo>
                        <a:lnTo>
                          <a:pt x="272" y="2292"/>
                        </a:lnTo>
                        <a:lnTo>
                          <a:pt x="218" y="2334"/>
                        </a:lnTo>
                        <a:lnTo>
                          <a:pt x="168" y="2378"/>
                        </a:lnTo>
                        <a:lnTo>
                          <a:pt x="122" y="2420"/>
                        </a:lnTo>
                        <a:lnTo>
                          <a:pt x="84" y="2464"/>
                        </a:lnTo>
                        <a:lnTo>
                          <a:pt x="66" y="2486"/>
                        </a:lnTo>
                        <a:lnTo>
                          <a:pt x="52" y="2506"/>
                        </a:lnTo>
                        <a:lnTo>
                          <a:pt x="38" y="2528"/>
                        </a:lnTo>
                        <a:lnTo>
                          <a:pt x="26" y="2550"/>
                        </a:lnTo>
                        <a:lnTo>
                          <a:pt x="16" y="2570"/>
                        </a:lnTo>
                        <a:lnTo>
                          <a:pt x="10" y="2592"/>
                        </a:lnTo>
                        <a:lnTo>
                          <a:pt x="4" y="2612"/>
                        </a:lnTo>
                        <a:lnTo>
                          <a:pt x="0" y="2632"/>
                        </a:lnTo>
                        <a:lnTo>
                          <a:pt x="0" y="2654"/>
                        </a:lnTo>
                        <a:lnTo>
                          <a:pt x="0" y="2674"/>
                        </a:lnTo>
                        <a:lnTo>
                          <a:pt x="4" y="2694"/>
                        </a:lnTo>
                        <a:lnTo>
                          <a:pt x="10" y="2714"/>
                        </a:lnTo>
                        <a:lnTo>
                          <a:pt x="18" y="2734"/>
                        </a:lnTo>
                        <a:lnTo>
                          <a:pt x="30" y="2754"/>
                        </a:lnTo>
                        <a:lnTo>
                          <a:pt x="44" y="2774"/>
                        </a:lnTo>
                        <a:lnTo>
                          <a:pt x="60" y="2792"/>
                        </a:lnTo>
                        <a:lnTo>
                          <a:pt x="80" y="2746"/>
                        </a:lnTo>
                        <a:lnTo>
                          <a:pt x="134" y="2670"/>
                        </a:lnTo>
                        <a:lnTo>
                          <a:pt x="188" y="2600"/>
                        </a:lnTo>
                        <a:lnTo>
                          <a:pt x="242" y="2532"/>
                        </a:lnTo>
                        <a:lnTo>
                          <a:pt x="300" y="2470"/>
                        </a:lnTo>
                        <a:lnTo>
                          <a:pt x="358" y="2412"/>
                        </a:lnTo>
                        <a:lnTo>
                          <a:pt x="416" y="2358"/>
                        </a:lnTo>
                        <a:lnTo>
                          <a:pt x="476" y="2308"/>
                        </a:lnTo>
                        <a:lnTo>
                          <a:pt x="538" y="2262"/>
                        </a:lnTo>
                        <a:lnTo>
                          <a:pt x="600" y="2218"/>
                        </a:lnTo>
                        <a:lnTo>
                          <a:pt x="664" y="2178"/>
                        </a:lnTo>
                        <a:lnTo>
                          <a:pt x="730" y="2142"/>
                        </a:lnTo>
                        <a:lnTo>
                          <a:pt x="796" y="2106"/>
                        </a:lnTo>
                        <a:lnTo>
                          <a:pt x="862" y="2076"/>
                        </a:lnTo>
                        <a:lnTo>
                          <a:pt x="930" y="2046"/>
                        </a:lnTo>
                        <a:lnTo>
                          <a:pt x="1000" y="2018"/>
                        </a:lnTo>
                        <a:lnTo>
                          <a:pt x="1070" y="1994"/>
                        </a:lnTo>
                        <a:lnTo>
                          <a:pt x="1142" y="1970"/>
                        </a:lnTo>
                        <a:lnTo>
                          <a:pt x="1214" y="1950"/>
                        </a:lnTo>
                        <a:lnTo>
                          <a:pt x="1288" y="1930"/>
                        </a:lnTo>
                        <a:lnTo>
                          <a:pt x="1362" y="1910"/>
                        </a:lnTo>
                        <a:lnTo>
                          <a:pt x="1438" y="1894"/>
                        </a:lnTo>
                        <a:lnTo>
                          <a:pt x="1514" y="1876"/>
                        </a:lnTo>
                        <a:lnTo>
                          <a:pt x="1670" y="1846"/>
                        </a:lnTo>
                        <a:lnTo>
                          <a:pt x="1832" y="1816"/>
                        </a:lnTo>
                        <a:lnTo>
                          <a:pt x="1996" y="1786"/>
                        </a:lnTo>
                        <a:lnTo>
                          <a:pt x="2164" y="1756"/>
                        </a:lnTo>
                        <a:lnTo>
                          <a:pt x="2336" y="1722"/>
                        </a:lnTo>
                        <a:close/>
                      </a:path>
                    </a:pathLst>
                  </a:custGeom>
                  <a:gradFill rotWithShape="1">
                    <a:gsLst>
                      <a:gs pos="0">
                        <a:srgbClr val="92D050"/>
                      </a:gs>
                      <a:gs pos="50000">
                        <a:srgbClr val="92D050"/>
                      </a:gs>
                      <a:gs pos="100000">
                        <a:srgbClr val="00BD4F"/>
                      </a:gs>
                    </a:gsLst>
                    <a:lin ang="13500000" scaled="1"/>
                  </a:grad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ndParaRPr>
                  </a:p>
                </p:txBody>
              </p:sp>
            </p:grpSp>
            <p:sp>
              <p:nvSpPr>
                <p:cNvPr id="90" name="Freeform 20"/>
                <p:cNvSpPr>
                  <a:spLocks/>
                </p:cNvSpPr>
                <p:nvPr/>
              </p:nvSpPr>
              <p:spPr bwMode="auto">
                <a:xfrm>
                  <a:off x="-628596" y="3172845"/>
                  <a:ext cx="9981845" cy="1105942"/>
                </a:xfrm>
                <a:custGeom>
                  <a:avLst/>
                  <a:gdLst>
                    <a:gd name="T0" fmla="*/ 2292 w 6888"/>
                    <a:gd name="T1" fmla="*/ 112 h 1108"/>
                    <a:gd name="T2" fmla="*/ 2376 w 6888"/>
                    <a:gd name="T3" fmla="*/ 106 h 1108"/>
                    <a:gd name="T4" fmla="*/ 2472 w 6888"/>
                    <a:gd name="T5" fmla="*/ 104 h 1108"/>
                    <a:gd name="T6" fmla="*/ 2694 w 6888"/>
                    <a:gd name="T7" fmla="*/ 114 h 1108"/>
                    <a:gd name="T8" fmla="*/ 2956 w 6888"/>
                    <a:gd name="T9" fmla="*/ 142 h 1108"/>
                    <a:gd name="T10" fmla="*/ 3246 w 6888"/>
                    <a:gd name="T11" fmla="*/ 184 h 1108"/>
                    <a:gd name="T12" fmla="*/ 3564 w 6888"/>
                    <a:gd name="T13" fmla="*/ 238 h 1108"/>
                    <a:gd name="T14" fmla="*/ 3898 w 6888"/>
                    <a:gd name="T15" fmla="*/ 302 h 1108"/>
                    <a:gd name="T16" fmla="*/ 4244 w 6888"/>
                    <a:gd name="T17" fmla="*/ 376 h 1108"/>
                    <a:gd name="T18" fmla="*/ 4944 w 6888"/>
                    <a:gd name="T19" fmla="*/ 536 h 1108"/>
                    <a:gd name="T20" fmla="*/ 5616 w 6888"/>
                    <a:gd name="T21" fmla="*/ 704 h 1108"/>
                    <a:gd name="T22" fmla="*/ 6206 w 6888"/>
                    <a:gd name="T23" fmla="*/ 862 h 1108"/>
                    <a:gd name="T24" fmla="*/ 6664 w 6888"/>
                    <a:gd name="T25" fmla="*/ 990 h 1108"/>
                    <a:gd name="T26" fmla="*/ 6826 w 6888"/>
                    <a:gd name="T27" fmla="*/ 1038 h 1108"/>
                    <a:gd name="T28" fmla="*/ 6888 w 6888"/>
                    <a:gd name="T29" fmla="*/ 1016 h 1108"/>
                    <a:gd name="T30" fmla="*/ 6744 w 6888"/>
                    <a:gd name="T31" fmla="*/ 918 h 1108"/>
                    <a:gd name="T32" fmla="*/ 6346 w 6888"/>
                    <a:gd name="T33" fmla="*/ 802 h 1108"/>
                    <a:gd name="T34" fmla="*/ 5808 w 6888"/>
                    <a:gd name="T35" fmla="*/ 656 h 1108"/>
                    <a:gd name="T36" fmla="*/ 5176 w 6888"/>
                    <a:gd name="T37" fmla="*/ 492 h 1108"/>
                    <a:gd name="T38" fmla="*/ 4498 w 6888"/>
                    <a:gd name="T39" fmla="*/ 328 h 1108"/>
                    <a:gd name="T40" fmla="*/ 3988 w 6888"/>
                    <a:gd name="T41" fmla="*/ 216 h 1108"/>
                    <a:gd name="T42" fmla="*/ 3658 w 6888"/>
                    <a:gd name="T43" fmla="*/ 150 h 1108"/>
                    <a:gd name="T44" fmla="*/ 3344 w 6888"/>
                    <a:gd name="T45" fmla="*/ 94 h 1108"/>
                    <a:gd name="T46" fmla="*/ 3050 w 6888"/>
                    <a:gd name="T47" fmla="*/ 50 h 1108"/>
                    <a:gd name="T48" fmla="*/ 2784 w 6888"/>
                    <a:gd name="T49" fmla="*/ 18 h 1108"/>
                    <a:gd name="T50" fmla="*/ 2550 w 6888"/>
                    <a:gd name="T51" fmla="*/ 2 h 1108"/>
                    <a:gd name="T52" fmla="*/ 2402 w 6888"/>
                    <a:gd name="T53" fmla="*/ 2 h 1108"/>
                    <a:gd name="T54" fmla="*/ 2314 w 6888"/>
                    <a:gd name="T55" fmla="*/ 8 h 1108"/>
                    <a:gd name="T56" fmla="*/ 2276 w 6888"/>
                    <a:gd name="T57" fmla="*/ 12 h 1108"/>
                    <a:gd name="T58" fmla="*/ 1774 w 6888"/>
                    <a:gd name="T59" fmla="*/ 86 h 1108"/>
                    <a:gd name="T60" fmla="*/ 1458 w 6888"/>
                    <a:gd name="T61" fmla="*/ 142 h 1108"/>
                    <a:gd name="T62" fmla="*/ 1306 w 6888"/>
                    <a:gd name="T63" fmla="*/ 176 h 1108"/>
                    <a:gd name="T64" fmla="*/ 1158 w 6888"/>
                    <a:gd name="T65" fmla="*/ 216 h 1108"/>
                    <a:gd name="T66" fmla="*/ 1014 w 6888"/>
                    <a:gd name="T67" fmla="*/ 262 h 1108"/>
                    <a:gd name="T68" fmla="*/ 874 w 6888"/>
                    <a:gd name="T69" fmla="*/ 318 h 1108"/>
                    <a:gd name="T70" fmla="*/ 738 w 6888"/>
                    <a:gd name="T71" fmla="*/ 382 h 1108"/>
                    <a:gd name="T72" fmla="*/ 606 w 6888"/>
                    <a:gd name="T73" fmla="*/ 458 h 1108"/>
                    <a:gd name="T74" fmla="*/ 480 w 6888"/>
                    <a:gd name="T75" fmla="*/ 544 h 1108"/>
                    <a:gd name="T76" fmla="*/ 358 w 6888"/>
                    <a:gd name="T77" fmla="*/ 644 h 1108"/>
                    <a:gd name="T78" fmla="*/ 240 w 6888"/>
                    <a:gd name="T79" fmla="*/ 758 h 1108"/>
                    <a:gd name="T80" fmla="*/ 128 w 6888"/>
                    <a:gd name="T81" fmla="*/ 890 h 1108"/>
                    <a:gd name="T82" fmla="*/ 20 w 6888"/>
                    <a:gd name="T83" fmla="*/ 1036 h 1108"/>
                    <a:gd name="T84" fmla="*/ 0 w 6888"/>
                    <a:gd name="T85" fmla="*/ 1084 h 1108"/>
                    <a:gd name="T86" fmla="*/ 26 w 6888"/>
                    <a:gd name="T87" fmla="*/ 1108 h 1108"/>
                    <a:gd name="T88" fmla="*/ 32 w 6888"/>
                    <a:gd name="T89" fmla="*/ 1104 h 1108"/>
                    <a:gd name="T90" fmla="*/ 108 w 6888"/>
                    <a:gd name="T91" fmla="*/ 1034 h 1108"/>
                    <a:gd name="T92" fmla="*/ 160 w 6888"/>
                    <a:gd name="T93" fmla="*/ 968 h 1108"/>
                    <a:gd name="T94" fmla="*/ 268 w 6888"/>
                    <a:gd name="T95" fmla="*/ 846 h 1108"/>
                    <a:gd name="T96" fmla="*/ 380 w 6888"/>
                    <a:gd name="T97" fmla="*/ 738 h 1108"/>
                    <a:gd name="T98" fmla="*/ 496 w 6888"/>
                    <a:gd name="T99" fmla="*/ 640 h 1108"/>
                    <a:gd name="T100" fmla="*/ 616 w 6888"/>
                    <a:gd name="T101" fmla="*/ 556 h 1108"/>
                    <a:gd name="T102" fmla="*/ 740 w 6888"/>
                    <a:gd name="T103" fmla="*/ 482 h 1108"/>
                    <a:gd name="T104" fmla="*/ 870 w 6888"/>
                    <a:gd name="T105" fmla="*/ 420 h 1108"/>
                    <a:gd name="T106" fmla="*/ 1002 w 6888"/>
                    <a:gd name="T107" fmla="*/ 364 h 1108"/>
                    <a:gd name="T108" fmla="*/ 1138 w 6888"/>
                    <a:gd name="T109" fmla="*/ 316 h 1108"/>
                    <a:gd name="T110" fmla="*/ 1278 w 6888"/>
                    <a:gd name="T111" fmla="*/ 276 h 1108"/>
                    <a:gd name="T112" fmla="*/ 1424 w 6888"/>
                    <a:gd name="T113" fmla="*/ 242 h 1108"/>
                    <a:gd name="T114" fmla="*/ 1648 w 6888"/>
                    <a:gd name="T115" fmla="*/ 198 h 1108"/>
                    <a:gd name="T116" fmla="*/ 1962 w 6888"/>
                    <a:gd name="T117" fmla="*/ 152 h 1108"/>
                    <a:gd name="T118" fmla="*/ 2292 w 6888"/>
                    <a:gd name="T119" fmla="*/ 112 h 110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6888"/>
                    <a:gd name="T181" fmla="*/ 0 h 1108"/>
                    <a:gd name="T182" fmla="*/ 6888 w 6888"/>
                    <a:gd name="T183" fmla="*/ 1108 h 110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6888" h="1108">
                      <a:moveTo>
                        <a:pt x="2292" y="112"/>
                      </a:moveTo>
                      <a:lnTo>
                        <a:pt x="2292" y="112"/>
                      </a:lnTo>
                      <a:lnTo>
                        <a:pt x="2332" y="108"/>
                      </a:lnTo>
                      <a:lnTo>
                        <a:pt x="2376" y="106"/>
                      </a:lnTo>
                      <a:lnTo>
                        <a:pt x="2422" y="104"/>
                      </a:lnTo>
                      <a:lnTo>
                        <a:pt x="2472" y="104"/>
                      </a:lnTo>
                      <a:lnTo>
                        <a:pt x="2578" y="106"/>
                      </a:lnTo>
                      <a:lnTo>
                        <a:pt x="2694" y="114"/>
                      </a:lnTo>
                      <a:lnTo>
                        <a:pt x="2820" y="126"/>
                      </a:lnTo>
                      <a:lnTo>
                        <a:pt x="2956" y="142"/>
                      </a:lnTo>
                      <a:lnTo>
                        <a:pt x="3098" y="160"/>
                      </a:lnTo>
                      <a:lnTo>
                        <a:pt x="3246" y="184"/>
                      </a:lnTo>
                      <a:lnTo>
                        <a:pt x="3402" y="210"/>
                      </a:lnTo>
                      <a:lnTo>
                        <a:pt x="3564" y="238"/>
                      </a:lnTo>
                      <a:lnTo>
                        <a:pt x="3728" y="270"/>
                      </a:lnTo>
                      <a:lnTo>
                        <a:pt x="3898" y="302"/>
                      </a:lnTo>
                      <a:lnTo>
                        <a:pt x="4070" y="338"/>
                      </a:lnTo>
                      <a:lnTo>
                        <a:pt x="4244" y="376"/>
                      </a:lnTo>
                      <a:lnTo>
                        <a:pt x="4594" y="454"/>
                      </a:lnTo>
                      <a:lnTo>
                        <a:pt x="4944" y="536"/>
                      </a:lnTo>
                      <a:lnTo>
                        <a:pt x="5288" y="622"/>
                      </a:lnTo>
                      <a:lnTo>
                        <a:pt x="5616" y="704"/>
                      </a:lnTo>
                      <a:lnTo>
                        <a:pt x="5924" y="786"/>
                      </a:lnTo>
                      <a:lnTo>
                        <a:pt x="6206" y="862"/>
                      </a:lnTo>
                      <a:lnTo>
                        <a:pt x="6454" y="930"/>
                      </a:lnTo>
                      <a:lnTo>
                        <a:pt x="6664" y="990"/>
                      </a:lnTo>
                      <a:lnTo>
                        <a:pt x="6826" y="1038"/>
                      </a:lnTo>
                      <a:lnTo>
                        <a:pt x="6888" y="1016"/>
                      </a:lnTo>
                      <a:lnTo>
                        <a:pt x="6744" y="918"/>
                      </a:lnTo>
                      <a:lnTo>
                        <a:pt x="6566" y="866"/>
                      </a:lnTo>
                      <a:lnTo>
                        <a:pt x="6346" y="802"/>
                      </a:lnTo>
                      <a:lnTo>
                        <a:pt x="6092" y="732"/>
                      </a:lnTo>
                      <a:lnTo>
                        <a:pt x="5808" y="656"/>
                      </a:lnTo>
                      <a:lnTo>
                        <a:pt x="5500" y="574"/>
                      </a:lnTo>
                      <a:lnTo>
                        <a:pt x="5176" y="492"/>
                      </a:lnTo>
                      <a:lnTo>
                        <a:pt x="4840" y="410"/>
                      </a:lnTo>
                      <a:lnTo>
                        <a:pt x="4498" y="328"/>
                      </a:lnTo>
                      <a:lnTo>
                        <a:pt x="4156" y="252"/>
                      </a:lnTo>
                      <a:lnTo>
                        <a:pt x="3988" y="216"/>
                      </a:lnTo>
                      <a:lnTo>
                        <a:pt x="3822" y="182"/>
                      </a:lnTo>
                      <a:lnTo>
                        <a:pt x="3658" y="150"/>
                      </a:lnTo>
                      <a:lnTo>
                        <a:pt x="3498" y="122"/>
                      </a:lnTo>
                      <a:lnTo>
                        <a:pt x="3344" y="94"/>
                      </a:lnTo>
                      <a:lnTo>
                        <a:pt x="3194" y="70"/>
                      </a:lnTo>
                      <a:lnTo>
                        <a:pt x="3050" y="50"/>
                      </a:lnTo>
                      <a:lnTo>
                        <a:pt x="2914" y="32"/>
                      </a:lnTo>
                      <a:lnTo>
                        <a:pt x="2784" y="18"/>
                      </a:lnTo>
                      <a:lnTo>
                        <a:pt x="2662" y="8"/>
                      </a:lnTo>
                      <a:lnTo>
                        <a:pt x="2550" y="2"/>
                      </a:lnTo>
                      <a:lnTo>
                        <a:pt x="2448" y="0"/>
                      </a:lnTo>
                      <a:lnTo>
                        <a:pt x="2402" y="2"/>
                      </a:lnTo>
                      <a:lnTo>
                        <a:pt x="2356" y="4"/>
                      </a:lnTo>
                      <a:lnTo>
                        <a:pt x="2314" y="8"/>
                      </a:lnTo>
                      <a:lnTo>
                        <a:pt x="2276" y="12"/>
                      </a:lnTo>
                      <a:lnTo>
                        <a:pt x="1938" y="60"/>
                      </a:lnTo>
                      <a:lnTo>
                        <a:pt x="1774" y="86"/>
                      </a:lnTo>
                      <a:lnTo>
                        <a:pt x="1614" y="112"/>
                      </a:lnTo>
                      <a:lnTo>
                        <a:pt x="1458" y="142"/>
                      </a:lnTo>
                      <a:lnTo>
                        <a:pt x="1382" y="158"/>
                      </a:lnTo>
                      <a:lnTo>
                        <a:pt x="1306" y="176"/>
                      </a:lnTo>
                      <a:lnTo>
                        <a:pt x="1232" y="194"/>
                      </a:lnTo>
                      <a:lnTo>
                        <a:pt x="1158" y="216"/>
                      </a:lnTo>
                      <a:lnTo>
                        <a:pt x="1086" y="238"/>
                      </a:lnTo>
                      <a:lnTo>
                        <a:pt x="1014" y="262"/>
                      </a:lnTo>
                      <a:lnTo>
                        <a:pt x="942" y="288"/>
                      </a:lnTo>
                      <a:lnTo>
                        <a:pt x="874" y="318"/>
                      </a:lnTo>
                      <a:lnTo>
                        <a:pt x="804" y="348"/>
                      </a:lnTo>
                      <a:lnTo>
                        <a:pt x="738" y="382"/>
                      </a:lnTo>
                      <a:lnTo>
                        <a:pt x="672" y="418"/>
                      </a:lnTo>
                      <a:lnTo>
                        <a:pt x="606" y="458"/>
                      </a:lnTo>
                      <a:lnTo>
                        <a:pt x="542" y="500"/>
                      </a:lnTo>
                      <a:lnTo>
                        <a:pt x="480" y="544"/>
                      </a:lnTo>
                      <a:lnTo>
                        <a:pt x="418" y="592"/>
                      </a:lnTo>
                      <a:lnTo>
                        <a:pt x="358" y="644"/>
                      </a:lnTo>
                      <a:lnTo>
                        <a:pt x="298" y="700"/>
                      </a:lnTo>
                      <a:lnTo>
                        <a:pt x="240" y="758"/>
                      </a:lnTo>
                      <a:lnTo>
                        <a:pt x="184" y="822"/>
                      </a:lnTo>
                      <a:lnTo>
                        <a:pt x="128" y="890"/>
                      </a:lnTo>
                      <a:lnTo>
                        <a:pt x="74" y="960"/>
                      </a:lnTo>
                      <a:lnTo>
                        <a:pt x="20" y="1036"/>
                      </a:lnTo>
                      <a:lnTo>
                        <a:pt x="0" y="1084"/>
                      </a:lnTo>
                      <a:lnTo>
                        <a:pt x="26" y="1108"/>
                      </a:lnTo>
                      <a:lnTo>
                        <a:pt x="28" y="1106"/>
                      </a:lnTo>
                      <a:lnTo>
                        <a:pt x="32" y="1104"/>
                      </a:lnTo>
                      <a:lnTo>
                        <a:pt x="50" y="1090"/>
                      </a:lnTo>
                      <a:lnTo>
                        <a:pt x="108" y="1034"/>
                      </a:lnTo>
                      <a:lnTo>
                        <a:pt x="160" y="968"/>
                      </a:lnTo>
                      <a:lnTo>
                        <a:pt x="214" y="906"/>
                      </a:lnTo>
                      <a:lnTo>
                        <a:pt x="268" y="846"/>
                      </a:lnTo>
                      <a:lnTo>
                        <a:pt x="324" y="790"/>
                      </a:lnTo>
                      <a:lnTo>
                        <a:pt x="380" y="738"/>
                      </a:lnTo>
                      <a:lnTo>
                        <a:pt x="438" y="688"/>
                      </a:lnTo>
                      <a:lnTo>
                        <a:pt x="496" y="640"/>
                      </a:lnTo>
                      <a:lnTo>
                        <a:pt x="556" y="598"/>
                      </a:lnTo>
                      <a:lnTo>
                        <a:pt x="616" y="556"/>
                      </a:lnTo>
                      <a:lnTo>
                        <a:pt x="678" y="518"/>
                      </a:lnTo>
                      <a:lnTo>
                        <a:pt x="740" y="482"/>
                      </a:lnTo>
                      <a:lnTo>
                        <a:pt x="804" y="450"/>
                      </a:lnTo>
                      <a:lnTo>
                        <a:pt x="870" y="420"/>
                      </a:lnTo>
                      <a:lnTo>
                        <a:pt x="934" y="390"/>
                      </a:lnTo>
                      <a:lnTo>
                        <a:pt x="1002" y="364"/>
                      </a:lnTo>
                      <a:lnTo>
                        <a:pt x="1070" y="340"/>
                      </a:lnTo>
                      <a:lnTo>
                        <a:pt x="1138" y="316"/>
                      </a:lnTo>
                      <a:lnTo>
                        <a:pt x="1208" y="296"/>
                      </a:lnTo>
                      <a:lnTo>
                        <a:pt x="1278" y="276"/>
                      </a:lnTo>
                      <a:lnTo>
                        <a:pt x="1350" y="258"/>
                      </a:lnTo>
                      <a:lnTo>
                        <a:pt x="1424" y="242"/>
                      </a:lnTo>
                      <a:lnTo>
                        <a:pt x="1498" y="226"/>
                      </a:lnTo>
                      <a:lnTo>
                        <a:pt x="1648" y="198"/>
                      </a:lnTo>
                      <a:lnTo>
                        <a:pt x="1804" y="174"/>
                      </a:lnTo>
                      <a:lnTo>
                        <a:pt x="1962" y="152"/>
                      </a:lnTo>
                      <a:lnTo>
                        <a:pt x="2126" y="132"/>
                      </a:lnTo>
                      <a:lnTo>
                        <a:pt x="2292" y="112"/>
                      </a:lnTo>
                      <a:close/>
                    </a:path>
                  </a:pathLst>
                </a:custGeom>
                <a:gradFill rotWithShape="1">
                  <a:gsLst>
                    <a:gs pos="0">
                      <a:srgbClr val="006D2A"/>
                    </a:gs>
                    <a:gs pos="92999">
                      <a:srgbClr val="008E39"/>
                    </a:gs>
                    <a:gs pos="100000">
                      <a:srgbClr val="007432"/>
                    </a:gs>
                  </a:gsLst>
                  <a:lin ang="13500000" scaled="1"/>
                </a:grad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ndParaRPr>
                </a:p>
              </p:txBody>
            </p:sp>
          </p:grpSp>
        </p:grpSp>
        <p:grpSp>
          <p:nvGrpSpPr>
            <p:cNvPr id="3347" name="Gruppe 10"/>
            <p:cNvGrpSpPr>
              <a:grpSpLocks/>
            </p:cNvGrpSpPr>
            <p:nvPr/>
          </p:nvGrpSpPr>
          <p:grpSpPr bwMode="auto">
            <a:xfrm rot="-3512246">
              <a:off x="2626766" y="1569941"/>
              <a:ext cx="2304908" cy="1355550"/>
              <a:chOff x="-497029" y="1374038"/>
              <a:chExt cx="10044197" cy="3999616"/>
            </a:xfrm>
          </p:grpSpPr>
          <p:grpSp>
            <p:nvGrpSpPr>
              <p:cNvPr id="3353" name="Gruppe 16"/>
              <p:cNvGrpSpPr>
                <a:grpSpLocks/>
              </p:cNvGrpSpPr>
              <p:nvPr/>
            </p:nvGrpSpPr>
            <p:grpSpPr bwMode="auto">
              <a:xfrm>
                <a:off x="-497029" y="1374038"/>
                <a:ext cx="9958234" cy="3999616"/>
                <a:chOff x="-1844763" y="-2984019"/>
                <a:chExt cx="11099942" cy="5999424"/>
              </a:xfrm>
            </p:grpSpPr>
            <p:sp>
              <p:nvSpPr>
                <p:cNvPr id="85" name="Freeform 6"/>
                <p:cNvSpPr>
                  <a:spLocks/>
                </p:cNvSpPr>
                <p:nvPr/>
              </p:nvSpPr>
              <p:spPr bwMode="auto">
                <a:xfrm>
                  <a:off x="-1860893" y="-3062734"/>
                  <a:ext cx="11174453" cy="5958547"/>
                </a:xfrm>
                <a:custGeom>
                  <a:avLst/>
                  <a:gdLst>
                    <a:gd name="T0" fmla="*/ 5438 w 7036"/>
                    <a:gd name="T1" fmla="*/ 1364 h 3760"/>
                    <a:gd name="T2" fmla="*/ 5644 w 7036"/>
                    <a:gd name="T3" fmla="*/ 1612 h 3760"/>
                    <a:gd name="T4" fmla="*/ 5850 w 7036"/>
                    <a:gd name="T5" fmla="*/ 1824 h 3760"/>
                    <a:gd name="T6" fmla="*/ 6160 w 7036"/>
                    <a:gd name="T7" fmla="*/ 2088 h 3760"/>
                    <a:gd name="T8" fmla="*/ 6584 w 7036"/>
                    <a:gd name="T9" fmla="*/ 2390 h 3760"/>
                    <a:gd name="T10" fmla="*/ 7036 w 7036"/>
                    <a:gd name="T11" fmla="*/ 2696 h 3760"/>
                    <a:gd name="T12" fmla="*/ 5784 w 7036"/>
                    <a:gd name="T13" fmla="*/ 3094 h 3760"/>
                    <a:gd name="T14" fmla="*/ 4056 w 7036"/>
                    <a:gd name="T15" fmla="*/ 3600 h 3760"/>
                    <a:gd name="T16" fmla="*/ 3546 w 7036"/>
                    <a:gd name="T17" fmla="*/ 3734 h 3760"/>
                    <a:gd name="T18" fmla="*/ 3242 w 7036"/>
                    <a:gd name="T19" fmla="*/ 3756 h 3760"/>
                    <a:gd name="T20" fmla="*/ 2782 w 7036"/>
                    <a:gd name="T21" fmla="*/ 3750 h 3760"/>
                    <a:gd name="T22" fmla="*/ 2492 w 7036"/>
                    <a:gd name="T23" fmla="*/ 3716 h 3760"/>
                    <a:gd name="T24" fmla="*/ 2210 w 7036"/>
                    <a:gd name="T25" fmla="*/ 3654 h 3760"/>
                    <a:gd name="T26" fmla="*/ 1960 w 7036"/>
                    <a:gd name="T27" fmla="*/ 3550 h 3760"/>
                    <a:gd name="T28" fmla="*/ 1832 w 7036"/>
                    <a:gd name="T29" fmla="*/ 3462 h 3760"/>
                    <a:gd name="T30" fmla="*/ 1750 w 7036"/>
                    <a:gd name="T31" fmla="*/ 3378 h 3760"/>
                    <a:gd name="T32" fmla="*/ 1638 w 7036"/>
                    <a:gd name="T33" fmla="*/ 3208 h 3760"/>
                    <a:gd name="T34" fmla="*/ 1508 w 7036"/>
                    <a:gd name="T35" fmla="*/ 2948 h 3760"/>
                    <a:gd name="T36" fmla="*/ 1434 w 7036"/>
                    <a:gd name="T37" fmla="*/ 2732 h 3760"/>
                    <a:gd name="T38" fmla="*/ 1382 w 7036"/>
                    <a:gd name="T39" fmla="*/ 2480 h 3760"/>
                    <a:gd name="T40" fmla="*/ 1344 w 7036"/>
                    <a:gd name="T41" fmla="*/ 2330 h 3760"/>
                    <a:gd name="T42" fmla="*/ 1284 w 7036"/>
                    <a:gd name="T43" fmla="*/ 2244 h 3760"/>
                    <a:gd name="T44" fmla="*/ 1176 w 7036"/>
                    <a:gd name="T45" fmla="*/ 2182 h 3760"/>
                    <a:gd name="T46" fmla="*/ 1048 w 7036"/>
                    <a:gd name="T47" fmla="*/ 2152 h 3760"/>
                    <a:gd name="T48" fmla="*/ 928 w 7036"/>
                    <a:gd name="T49" fmla="*/ 2168 h 3760"/>
                    <a:gd name="T50" fmla="*/ 784 w 7036"/>
                    <a:gd name="T51" fmla="*/ 2238 h 3760"/>
                    <a:gd name="T52" fmla="*/ 548 w 7036"/>
                    <a:gd name="T53" fmla="*/ 2406 h 3760"/>
                    <a:gd name="T54" fmla="*/ 206 w 7036"/>
                    <a:gd name="T55" fmla="*/ 2712 h 3760"/>
                    <a:gd name="T56" fmla="*/ 88 w 7036"/>
                    <a:gd name="T57" fmla="*/ 2816 h 3760"/>
                    <a:gd name="T58" fmla="*/ 34 w 7036"/>
                    <a:gd name="T59" fmla="*/ 2758 h 3760"/>
                    <a:gd name="T60" fmla="*/ 2 w 7036"/>
                    <a:gd name="T61" fmla="*/ 2676 h 3760"/>
                    <a:gd name="T62" fmla="*/ 10 w 7036"/>
                    <a:gd name="T63" fmla="*/ 2592 h 3760"/>
                    <a:gd name="T64" fmla="*/ 54 w 7036"/>
                    <a:gd name="T65" fmla="*/ 2506 h 3760"/>
                    <a:gd name="T66" fmla="*/ 150 w 7036"/>
                    <a:gd name="T67" fmla="*/ 2396 h 3760"/>
                    <a:gd name="T68" fmla="*/ 372 w 7036"/>
                    <a:gd name="T69" fmla="*/ 2222 h 3760"/>
                    <a:gd name="T70" fmla="*/ 648 w 7036"/>
                    <a:gd name="T71" fmla="*/ 2052 h 3760"/>
                    <a:gd name="T72" fmla="*/ 1240 w 7036"/>
                    <a:gd name="T73" fmla="*/ 1724 h 3760"/>
                    <a:gd name="T74" fmla="*/ 1396 w 7036"/>
                    <a:gd name="T75" fmla="*/ 1618 h 3760"/>
                    <a:gd name="T76" fmla="*/ 1506 w 7036"/>
                    <a:gd name="T77" fmla="*/ 1478 h 3760"/>
                    <a:gd name="T78" fmla="*/ 1662 w 7036"/>
                    <a:gd name="T79" fmla="*/ 1226 h 3760"/>
                    <a:gd name="T80" fmla="*/ 1912 w 7036"/>
                    <a:gd name="T81" fmla="*/ 776 h 3760"/>
                    <a:gd name="T82" fmla="*/ 2070 w 7036"/>
                    <a:gd name="T83" fmla="*/ 534 h 3760"/>
                    <a:gd name="T84" fmla="*/ 2264 w 7036"/>
                    <a:gd name="T85" fmla="*/ 322 h 3760"/>
                    <a:gd name="T86" fmla="*/ 2444 w 7036"/>
                    <a:gd name="T87" fmla="*/ 192 h 3760"/>
                    <a:gd name="T88" fmla="*/ 2584 w 7036"/>
                    <a:gd name="T89" fmla="*/ 120 h 3760"/>
                    <a:gd name="T90" fmla="*/ 2742 w 7036"/>
                    <a:gd name="T91" fmla="*/ 64 h 3760"/>
                    <a:gd name="T92" fmla="*/ 2922 w 7036"/>
                    <a:gd name="T93" fmla="*/ 24 h 3760"/>
                    <a:gd name="T94" fmla="*/ 3126 w 7036"/>
                    <a:gd name="T95" fmla="*/ 2 h 3760"/>
                    <a:gd name="T96" fmla="*/ 3288 w 7036"/>
                    <a:gd name="T97" fmla="*/ 2 h 3760"/>
                    <a:gd name="T98" fmla="*/ 3500 w 7036"/>
                    <a:gd name="T99" fmla="*/ 26 h 3760"/>
                    <a:gd name="T100" fmla="*/ 3706 w 7036"/>
                    <a:gd name="T101" fmla="*/ 74 h 3760"/>
                    <a:gd name="T102" fmla="*/ 3956 w 7036"/>
                    <a:gd name="T103" fmla="*/ 166 h 3760"/>
                    <a:gd name="T104" fmla="*/ 4330 w 7036"/>
                    <a:gd name="T105" fmla="*/ 360 h 3760"/>
                    <a:gd name="T106" fmla="*/ 4660 w 7036"/>
                    <a:gd name="T107" fmla="*/ 588 h 3760"/>
                    <a:gd name="T108" fmla="*/ 4938 w 7036"/>
                    <a:gd name="T109" fmla="*/ 820 h 3760"/>
                    <a:gd name="T110" fmla="*/ 5228 w 7036"/>
                    <a:gd name="T111" fmla="*/ 1104 h 376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036"/>
                    <a:gd name="T169" fmla="*/ 0 h 3760"/>
                    <a:gd name="T170" fmla="*/ 7036 w 7036"/>
                    <a:gd name="T171" fmla="*/ 3760 h 376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036" h="3760">
                      <a:moveTo>
                        <a:pt x="5332" y="1222"/>
                      </a:moveTo>
                      <a:lnTo>
                        <a:pt x="5332" y="1222"/>
                      </a:lnTo>
                      <a:lnTo>
                        <a:pt x="5386" y="1294"/>
                      </a:lnTo>
                      <a:lnTo>
                        <a:pt x="5438" y="1364"/>
                      </a:lnTo>
                      <a:lnTo>
                        <a:pt x="5490" y="1430"/>
                      </a:lnTo>
                      <a:lnTo>
                        <a:pt x="5542" y="1494"/>
                      </a:lnTo>
                      <a:lnTo>
                        <a:pt x="5594" y="1554"/>
                      </a:lnTo>
                      <a:lnTo>
                        <a:pt x="5644" y="1612"/>
                      </a:lnTo>
                      <a:lnTo>
                        <a:pt x="5696" y="1668"/>
                      </a:lnTo>
                      <a:lnTo>
                        <a:pt x="5748" y="1722"/>
                      </a:lnTo>
                      <a:lnTo>
                        <a:pt x="5800" y="1774"/>
                      </a:lnTo>
                      <a:lnTo>
                        <a:pt x="5850" y="1824"/>
                      </a:lnTo>
                      <a:lnTo>
                        <a:pt x="5902" y="1872"/>
                      </a:lnTo>
                      <a:lnTo>
                        <a:pt x="5954" y="1918"/>
                      </a:lnTo>
                      <a:lnTo>
                        <a:pt x="6056" y="2006"/>
                      </a:lnTo>
                      <a:lnTo>
                        <a:pt x="6160" y="2088"/>
                      </a:lnTo>
                      <a:lnTo>
                        <a:pt x="6264" y="2168"/>
                      </a:lnTo>
                      <a:lnTo>
                        <a:pt x="6370" y="2242"/>
                      </a:lnTo>
                      <a:lnTo>
                        <a:pt x="6476" y="2316"/>
                      </a:lnTo>
                      <a:lnTo>
                        <a:pt x="6584" y="2390"/>
                      </a:lnTo>
                      <a:lnTo>
                        <a:pt x="6806" y="2538"/>
                      </a:lnTo>
                      <a:lnTo>
                        <a:pt x="6920" y="2616"/>
                      </a:lnTo>
                      <a:lnTo>
                        <a:pt x="7036" y="2696"/>
                      </a:lnTo>
                      <a:lnTo>
                        <a:pt x="6882" y="2748"/>
                      </a:lnTo>
                      <a:lnTo>
                        <a:pt x="6700" y="2808"/>
                      </a:lnTo>
                      <a:lnTo>
                        <a:pt x="6272" y="2944"/>
                      </a:lnTo>
                      <a:lnTo>
                        <a:pt x="5784" y="3094"/>
                      </a:lnTo>
                      <a:lnTo>
                        <a:pt x="5266" y="3250"/>
                      </a:lnTo>
                      <a:lnTo>
                        <a:pt x="4752" y="3400"/>
                      </a:lnTo>
                      <a:lnTo>
                        <a:pt x="4272" y="3538"/>
                      </a:lnTo>
                      <a:lnTo>
                        <a:pt x="4056" y="3600"/>
                      </a:lnTo>
                      <a:lnTo>
                        <a:pt x="3860" y="3652"/>
                      </a:lnTo>
                      <a:lnTo>
                        <a:pt x="3690" y="3698"/>
                      </a:lnTo>
                      <a:lnTo>
                        <a:pt x="3546" y="3734"/>
                      </a:lnTo>
                      <a:lnTo>
                        <a:pt x="3502" y="3740"/>
                      </a:lnTo>
                      <a:lnTo>
                        <a:pt x="3434" y="3746"/>
                      </a:lnTo>
                      <a:lnTo>
                        <a:pt x="3346" y="3752"/>
                      </a:lnTo>
                      <a:lnTo>
                        <a:pt x="3242" y="3756"/>
                      </a:lnTo>
                      <a:lnTo>
                        <a:pt x="3122" y="3760"/>
                      </a:lnTo>
                      <a:lnTo>
                        <a:pt x="2992" y="3758"/>
                      </a:lnTo>
                      <a:lnTo>
                        <a:pt x="2854" y="3754"/>
                      </a:lnTo>
                      <a:lnTo>
                        <a:pt x="2782" y="3750"/>
                      </a:lnTo>
                      <a:lnTo>
                        <a:pt x="2710" y="3744"/>
                      </a:lnTo>
                      <a:lnTo>
                        <a:pt x="2638" y="3736"/>
                      </a:lnTo>
                      <a:lnTo>
                        <a:pt x="2564" y="3728"/>
                      </a:lnTo>
                      <a:lnTo>
                        <a:pt x="2492" y="3716"/>
                      </a:lnTo>
                      <a:lnTo>
                        <a:pt x="2420" y="3704"/>
                      </a:lnTo>
                      <a:lnTo>
                        <a:pt x="2348" y="3690"/>
                      </a:lnTo>
                      <a:lnTo>
                        <a:pt x="2278" y="3672"/>
                      </a:lnTo>
                      <a:lnTo>
                        <a:pt x="2210" y="3654"/>
                      </a:lnTo>
                      <a:lnTo>
                        <a:pt x="2144" y="3632"/>
                      </a:lnTo>
                      <a:lnTo>
                        <a:pt x="2080" y="3608"/>
                      </a:lnTo>
                      <a:lnTo>
                        <a:pt x="2018" y="3580"/>
                      </a:lnTo>
                      <a:lnTo>
                        <a:pt x="1960" y="3550"/>
                      </a:lnTo>
                      <a:lnTo>
                        <a:pt x="1906" y="3518"/>
                      </a:lnTo>
                      <a:lnTo>
                        <a:pt x="1880" y="3500"/>
                      </a:lnTo>
                      <a:lnTo>
                        <a:pt x="1856" y="3482"/>
                      </a:lnTo>
                      <a:lnTo>
                        <a:pt x="1832" y="3462"/>
                      </a:lnTo>
                      <a:lnTo>
                        <a:pt x="1810" y="3444"/>
                      </a:lnTo>
                      <a:lnTo>
                        <a:pt x="1788" y="3422"/>
                      </a:lnTo>
                      <a:lnTo>
                        <a:pt x="1768" y="3400"/>
                      </a:lnTo>
                      <a:lnTo>
                        <a:pt x="1750" y="3378"/>
                      </a:lnTo>
                      <a:lnTo>
                        <a:pt x="1732" y="3356"/>
                      </a:lnTo>
                      <a:lnTo>
                        <a:pt x="1682" y="3280"/>
                      </a:lnTo>
                      <a:lnTo>
                        <a:pt x="1638" y="3208"/>
                      </a:lnTo>
                      <a:lnTo>
                        <a:pt x="1600" y="3138"/>
                      </a:lnTo>
                      <a:lnTo>
                        <a:pt x="1564" y="3072"/>
                      </a:lnTo>
                      <a:lnTo>
                        <a:pt x="1534" y="3010"/>
                      </a:lnTo>
                      <a:lnTo>
                        <a:pt x="1508" y="2948"/>
                      </a:lnTo>
                      <a:lnTo>
                        <a:pt x="1484" y="2890"/>
                      </a:lnTo>
                      <a:lnTo>
                        <a:pt x="1466" y="2836"/>
                      </a:lnTo>
                      <a:lnTo>
                        <a:pt x="1448" y="2782"/>
                      </a:lnTo>
                      <a:lnTo>
                        <a:pt x="1434" y="2732"/>
                      </a:lnTo>
                      <a:lnTo>
                        <a:pt x="1422" y="2684"/>
                      </a:lnTo>
                      <a:lnTo>
                        <a:pt x="1412" y="2640"/>
                      </a:lnTo>
                      <a:lnTo>
                        <a:pt x="1396" y="2556"/>
                      </a:lnTo>
                      <a:lnTo>
                        <a:pt x="1382" y="2480"/>
                      </a:lnTo>
                      <a:lnTo>
                        <a:pt x="1368" y="2414"/>
                      </a:lnTo>
                      <a:lnTo>
                        <a:pt x="1362" y="2384"/>
                      </a:lnTo>
                      <a:lnTo>
                        <a:pt x="1354" y="2356"/>
                      </a:lnTo>
                      <a:lnTo>
                        <a:pt x="1344" y="2330"/>
                      </a:lnTo>
                      <a:lnTo>
                        <a:pt x="1332" y="2306"/>
                      </a:lnTo>
                      <a:lnTo>
                        <a:pt x="1318" y="2284"/>
                      </a:lnTo>
                      <a:lnTo>
                        <a:pt x="1302" y="2264"/>
                      </a:lnTo>
                      <a:lnTo>
                        <a:pt x="1284" y="2244"/>
                      </a:lnTo>
                      <a:lnTo>
                        <a:pt x="1262" y="2226"/>
                      </a:lnTo>
                      <a:lnTo>
                        <a:pt x="1238" y="2210"/>
                      </a:lnTo>
                      <a:lnTo>
                        <a:pt x="1208" y="2196"/>
                      </a:lnTo>
                      <a:lnTo>
                        <a:pt x="1176" y="2182"/>
                      </a:lnTo>
                      <a:lnTo>
                        <a:pt x="1138" y="2172"/>
                      </a:lnTo>
                      <a:lnTo>
                        <a:pt x="1096" y="2160"/>
                      </a:lnTo>
                      <a:lnTo>
                        <a:pt x="1048" y="2152"/>
                      </a:lnTo>
                      <a:lnTo>
                        <a:pt x="1020" y="2150"/>
                      </a:lnTo>
                      <a:lnTo>
                        <a:pt x="992" y="2152"/>
                      </a:lnTo>
                      <a:lnTo>
                        <a:pt x="962" y="2158"/>
                      </a:lnTo>
                      <a:lnTo>
                        <a:pt x="928" y="2168"/>
                      </a:lnTo>
                      <a:lnTo>
                        <a:pt x="894" y="2180"/>
                      </a:lnTo>
                      <a:lnTo>
                        <a:pt x="858" y="2198"/>
                      </a:lnTo>
                      <a:lnTo>
                        <a:pt x="822" y="2216"/>
                      </a:lnTo>
                      <a:lnTo>
                        <a:pt x="784" y="2238"/>
                      </a:lnTo>
                      <a:lnTo>
                        <a:pt x="746" y="2262"/>
                      </a:lnTo>
                      <a:lnTo>
                        <a:pt x="706" y="2288"/>
                      </a:lnTo>
                      <a:lnTo>
                        <a:pt x="628" y="2346"/>
                      </a:lnTo>
                      <a:lnTo>
                        <a:pt x="548" y="2406"/>
                      </a:lnTo>
                      <a:lnTo>
                        <a:pt x="470" y="2472"/>
                      </a:lnTo>
                      <a:lnTo>
                        <a:pt x="396" y="2536"/>
                      </a:lnTo>
                      <a:lnTo>
                        <a:pt x="326" y="2600"/>
                      </a:lnTo>
                      <a:lnTo>
                        <a:pt x="206" y="2712"/>
                      </a:lnTo>
                      <a:lnTo>
                        <a:pt x="122" y="2790"/>
                      </a:lnTo>
                      <a:lnTo>
                        <a:pt x="98" y="2810"/>
                      </a:lnTo>
                      <a:lnTo>
                        <a:pt x="90" y="2816"/>
                      </a:lnTo>
                      <a:lnTo>
                        <a:pt x="88" y="2816"/>
                      </a:lnTo>
                      <a:lnTo>
                        <a:pt x="66" y="2798"/>
                      </a:lnTo>
                      <a:lnTo>
                        <a:pt x="50" y="2778"/>
                      </a:lnTo>
                      <a:lnTo>
                        <a:pt x="34" y="2758"/>
                      </a:lnTo>
                      <a:lnTo>
                        <a:pt x="22" y="2738"/>
                      </a:lnTo>
                      <a:lnTo>
                        <a:pt x="14" y="2718"/>
                      </a:lnTo>
                      <a:lnTo>
                        <a:pt x="6" y="2698"/>
                      </a:lnTo>
                      <a:lnTo>
                        <a:pt x="2" y="2676"/>
                      </a:lnTo>
                      <a:lnTo>
                        <a:pt x="0" y="2656"/>
                      </a:lnTo>
                      <a:lnTo>
                        <a:pt x="2" y="2634"/>
                      </a:lnTo>
                      <a:lnTo>
                        <a:pt x="6" y="2614"/>
                      </a:lnTo>
                      <a:lnTo>
                        <a:pt x="10" y="2592"/>
                      </a:lnTo>
                      <a:lnTo>
                        <a:pt x="18" y="2570"/>
                      </a:lnTo>
                      <a:lnTo>
                        <a:pt x="28" y="2550"/>
                      </a:lnTo>
                      <a:lnTo>
                        <a:pt x="40" y="2528"/>
                      </a:lnTo>
                      <a:lnTo>
                        <a:pt x="54" y="2506"/>
                      </a:lnTo>
                      <a:lnTo>
                        <a:pt x="70" y="2484"/>
                      </a:lnTo>
                      <a:lnTo>
                        <a:pt x="86" y="2462"/>
                      </a:lnTo>
                      <a:lnTo>
                        <a:pt x="106" y="2440"/>
                      </a:lnTo>
                      <a:lnTo>
                        <a:pt x="150" y="2396"/>
                      </a:lnTo>
                      <a:lnTo>
                        <a:pt x="198" y="2352"/>
                      </a:lnTo>
                      <a:lnTo>
                        <a:pt x="252" y="2308"/>
                      </a:lnTo>
                      <a:lnTo>
                        <a:pt x="310" y="2264"/>
                      </a:lnTo>
                      <a:lnTo>
                        <a:pt x="372" y="2222"/>
                      </a:lnTo>
                      <a:lnTo>
                        <a:pt x="438" y="2178"/>
                      </a:lnTo>
                      <a:lnTo>
                        <a:pt x="506" y="2136"/>
                      </a:lnTo>
                      <a:lnTo>
                        <a:pt x="576" y="2092"/>
                      </a:lnTo>
                      <a:lnTo>
                        <a:pt x="648" y="2052"/>
                      </a:lnTo>
                      <a:lnTo>
                        <a:pt x="792" y="1970"/>
                      </a:lnTo>
                      <a:lnTo>
                        <a:pt x="1066" y="1822"/>
                      </a:lnTo>
                      <a:lnTo>
                        <a:pt x="1186" y="1754"/>
                      </a:lnTo>
                      <a:lnTo>
                        <a:pt x="1240" y="1724"/>
                      </a:lnTo>
                      <a:lnTo>
                        <a:pt x="1288" y="1694"/>
                      </a:lnTo>
                      <a:lnTo>
                        <a:pt x="1332" y="1666"/>
                      </a:lnTo>
                      <a:lnTo>
                        <a:pt x="1368" y="1640"/>
                      </a:lnTo>
                      <a:lnTo>
                        <a:pt x="1396" y="1618"/>
                      </a:lnTo>
                      <a:lnTo>
                        <a:pt x="1418" y="1596"/>
                      </a:lnTo>
                      <a:lnTo>
                        <a:pt x="1462" y="1538"/>
                      </a:lnTo>
                      <a:lnTo>
                        <a:pt x="1506" y="1478"/>
                      </a:lnTo>
                      <a:lnTo>
                        <a:pt x="1548" y="1416"/>
                      </a:lnTo>
                      <a:lnTo>
                        <a:pt x="1588" y="1354"/>
                      </a:lnTo>
                      <a:lnTo>
                        <a:pt x="1626" y="1290"/>
                      </a:lnTo>
                      <a:lnTo>
                        <a:pt x="1662" y="1226"/>
                      </a:lnTo>
                      <a:lnTo>
                        <a:pt x="1734" y="1096"/>
                      </a:lnTo>
                      <a:lnTo>
                        <a:pt x="1804" y="966"/>
                      </a:lnTo>
                      <a:lnTo>
                        <a:pt x="1874" y="838"/>
                      </a:lnTo>
                      <a:lnTo>
                        <a:pt x="1912" y="776"/>
                      </a:lnTo>
                      <a:lnTo>
                        <a:pt x="1948" y="714"/>
                      </a:lnTo>
                      <a:lnTo>
                        <a:pt x="1988" y="652"/>
                      </a:lnTo>
                      <a:lnTo>
                        <a:pt x="2028" y="592"/>
                      </a:lnTo>
                      <a:lnTo>
                        <a:pt x="2070" y="534"/>
                      </a:lnTo>
                      <a:lnTo>
                        <a:pt x="2116" y="478"/>
                      </a:lnTo>
                      <a:lnTo>
                        <a:pt x="2162" y="424"/>
                      </a:lnTo>
                      <a:lnTo>
                        <a:pt x="2212" y="372"/>
                      </a:lnTo>
                      <a:lnTo>
                        <a:pt x="2264" y="322"/>
                      </a:lnTo>
                      <a:lnTo>
                        <a:pt x="2320" y="276"/>
                      </a:lnTo>
                      <a:lnTo>
                        <a:pt x="2380" y="232"/>
                      </a:lnTo>
                      <a:lnTo>
                        <a:pt x="2412" y="212"/>
                      </a:lnTo>
                      <a:lnTo>
                        <a:pt x="2444" y="192"/>
                      </a:lnTo>
                      <a:lnTo>
                        <a:pt x="2478" y="172"/>
                      </a:lnTo>
                      <a:lnTo>
                        <a:pt x="2512" y="154"/>
                      </a:lnTo>
                      <a:lnTo>
                        <a:pt x="2548" y="136"/>
                      </a:lnTo>
                      <a:lnTo>
                        <a:pt x="2584" y="120"/>
                      </a:lnTo>
                      <a:lnTo>
                        <a:pt x="2622" y="104"/>
                      </a:lnTo>
                      <a:lnTo>
                        <a:pt x="2662" y="90"/>
                      </a:lnTo>
                      <a:lnTo>
                        <a:pt x="2702" y="76"/>
                      </a:lnTo>
                      <a:lnTo>
                        <a:pt x="2742" y="64"/>
                      </a:lnTo>
                      <a:lnTo>
                        <a:pt x="2786" y="52"/>
                      </a:lnTo>
                      <a:lnTo>
                        <a:pt x="2830" y="42"/>
                      </a:lnTo>
                      <a:lnTo>
                        <a:pt x="2876" y="32"/>
                      </a:lnTo>
                      <a:lnTo>
                        <a:pt x="2922" y="24"/>
                      </a:lnTo>
                      <a:lnTo>
                        <a:pt x="2972" y="16"/>
                      </a:lnTo>
                      <a:lnTo>
                        <a:pt x="3022" y="10"/>
                      </a:lnTo>
                      <a:lnTo>
                        <a:pt x="3074" y="6"/>
                      </a:lnTo>
                      <a:lnTo>
                        <a:pt x="3126" y="2"/>
                      </a:lnTo>
                      <a:lnTo>
                        <a:pt x="3180" y="0"/>
                      </a:lnTo>
                      <a:lnTo>
                        <a:pt x="3234" y="0"/>
                      </a:lnTo>
                      <a:lnTo>
                        <a:pt x="3288" y="2"/>
                      </a:lnTo>
                      <a:lnTo>
                        <a:pt x="3340" y="4"/>
                      </a:lnTo>
                      <a:lnTo>
                        <a:pt x="3394" y="10"/>
                      </a:lnTo>
                      <a:lnTo>
                        <a:pt x="3446" y="18"/>
                      </a:lnTo>
                      <a:lnTo>
                        <a:pt x="3500" y="26"/>
                      </a:lnTo>
                      <a:lnTo>
                        <a:pt x="3552" y="36"/>
                      </a:lnTo>
                      <a:lnTo>
                        <a:pt x="3604" y="48"/>
                      </a:lnTo>
                      <a:lnTo>
                        <a:pt x="3654" y="60"/>
                      </a:lnTo>
                      <a:lnTo>
                        <a:pt x="3706" y="74"/>
                      </a:lnTo>
                      <a:lnTo>
                        <a:pt x="3758" y="90"/>
                      </a:lnTo>
                      <a:lnTo>
                        <a:pt x="3808" y="108"/>
                      </a:lnTo>
                      <a:lnTo>
                        <a:pt x="3858" y="126"/>
                      </a:lnTo>
                      <a:lnTo>
                        <a:pt x="3956" y="166"/>
                      </a:lnTo>
                      <a:lnTo>
                        <a:pt x="4054" y="210"/>
                      </a:lnTo>
                      <a:lnTo>
                        <a:pt x="4148" y="256"/>
                      </a:lnTo>
                      <a:lnTo>
                        <a:pt x="4240" y="306"/>
                      </a:lnTo>
                      <a:lnTo>
                        <a:pt x="4330" y="360"/>
                      </a:lnTo>
                      <a:lnTo>
                        <a:pt x="4418" y="414"/>
                      </a:lnTo>
                      <a:lnTo>
                        <a:pt x="4502" y="472"/>
                      </a:lnTo>
                      <a:lnTo>
                        <a:pt x="4582" y="530"/>
                      </a:lnTo>
                      <a:lnTo>
                        <a:pt x="4660" y="588"/>
                      </a:lnTo>
                      <a:lnTo>
                        <a:pt x="4736" y="646"/>
                      </a:lnTo>
                      <a:lnTo>
                        <a:pt x="4806" y="706"/>
                      </a:lnTo>
                      <a:lnTo>
                        <a:pt x="4874" y="762"/>
                      </a:lnTo>
                      <a:lnTo>
                        <a:pt x="4938" y="820"/>
                      </a:lnTo>
                      <a:lnTo>
                        <a:pt x="4998" y="874"/>
                      </a:lnTo>
                      <a:lnTo>
                        <a:pt x="5052" y="926"/>
                      </a:lnTo>
                      <a:lnTo>
                        <a:pt x="5150" y="1022"/>
                      </a:lnTo>
                      <a:lnTo>
                        <a:pt x="5228" y="1104"/>
                      </a:lnTo>
                      <a:lnTo>
                        <a:pt x="5284" y="1166"/>
                      </a:lnTo>
                      <a:lnTo>
                        <a:pt x="5332" y="1222"/>
                      </a:lnTo>
                      <a:close/>
                    </a:path>
                  </a:pathLst>
                </a:custGeom>
                <a:gradFill rotWithShape="1">
                  <a:gsLst>
                    <a:gs pos="0">
                      <a:srgbClr val="006D2A"/>
                    </a:gs>
                    <a:gs pos="50000">
                      <a:srgbClr val="009E41"/>
                    </a:gs>
                    <a:gs pos="100000">
                      <a:srgbClr val="00BD4F"/>
                    </a:gs>
                  </a:gsLst>
                  <a:lin ang="13500000" scaled="1"/>
                </a:grad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ndParaRPr>
                </a:p>
              </p:txBody>
            </p:sp>
            <p:sp>
              <p:nvSpPr>
                <p:cNvPr id="86" name="Freeform 7"/>
                <p:cNvSpPr>
                  <a:spLocks/>
                </p:cNvSpPr>
                <p:nvPr/>
              </p:nvSpPr>
              <p:spPr bwMode="auto">
                <a:xfrm>
                  <a:off x="-1754881" y="-3137690"/>
                  <a:ext cx="11126714" cy="4436281"/>
                </a:xfrm>
                <a:custGeom>
                  <a:avLst/>
                  <a:gdLst>
                    <a:gd name="T0" fmla="*/ 2382 w 7034"/>
                    <a:gd name="T1" fmla="*/ 1714 h 2792"/>
                    <a:gd name="T2" fmla="*/ 2542 w 7034"/>
                    <a:gd name="T3" fmla="*/ 1702 h 2792"/>
                    <a:gd name="T4" fmla="*/ 2734 w 7034"/>
                    <a:gd name="T5" fmla="*/ 1704 h 2792"/>
                    <a:gd name="T6" fmla="*/ 2954 w 7034"/>
                    <a:gd name="T7" fmla="*/ 1722 h 2792"/>
                    <a:gd name="T8" fmla="*/ 3462 w 7034"/>
                    <a:gd name="T9" fmla="*/ 1794 h 2792"/>
                    <a:gd name="T10" fmla="*/ 4032 w 7034"/>
                    <a:gd name="T11" fmla="*/ 1902 h 2792"/>
                    <a:gd name="T12" fmla="*/ 4632 w 7034"/>
                    <a:gd name="T13" fmla="*/ 2038 h 2792"/>
                    <a:gd name="T14" fmla="*/ 5422 w 7034"/>
                    <a:gd name="T15" fmla="*/ 2238 h 2792"/>
                    <a:gd name="T16" fmla="*/ 6430 w 7034"/>
                    <a:gd name="T17" fmla="*/ 2518 h 2792"/>
                    <a:gd name="T18" fmla="*/ 7034 w 7034"/>
                    <a:gd name="T19" fmla="*/ 2696 h 2792"/>
                    <a:gd name="T20" fmla="*/ 6804 w 7034"/>
                    <a:gd name="T21" fmla="*/ 2538 h 2792"/>
                    <a:gd name="T22" fmla="*/ 6368 w 7034"/>
                    <a:gd name="T23" fmla="*/ 2242 h 2792"/>
                    <a:gd name="T24" fmla="*/ 6054 w 7034"/>
                    <a:gd name="T25" fmla="*/ 2006 h 2792"/>
                    <a:gd name="T26" fmla="*/ 5848 w 7034"/>
                    <a:gd name="T27" fmla="*/ 1824 h 2792"/>
                    <a:gd name="T28" fmla="*/ 5694 w 7034"/>
                    <a:gd name="T29" fmla="*/ 1668 h 2792"/>
                    <a:gd name="T30" fmla="*/ 5540 w 7034"/>
                    <a:gd name="T31" fmla="*/ 1494 h 2792"/>
                    <a:gd name="T32" fmla="*/ 5384 w 7034"/>
                    <a:gd name="T33" fmla="*/ 1294 h 2792"/>
                    <a:gd name="T34" fmla="*/ 5282 w 7034"/>
                    <a:gd name="T35" fmla="*/ 1166 h 2792"/>
                    <a:gd name="T36" fmla="*/ 5050 w 7034"/>
                    <a:gd name="T37" fmla="*/ 926 h 2792"/>
                    <a:gd name="T38" fmla="*/ 4872 w 7034"/>
                    <a:gd name="T39" fmla="*/ 762 h 2792"/>
                    <a:gd name="T40" fmla="*/ 4658 w 7034"/>
                    <a:gd name="T41" fmla="*/ 588 h 2792"/>
                    <a:gd name="T42" fmla="*/ 4416 w 7034"/>
                    <a:gd name="T43" fmla="*/ 414 h 2792"/>
                    <a:gd name="T44" fmla="*/ 4146 w 7034"/>
                    <a:gd name="T45" fmla="*/ 256 h 2792"/>
                    <a:gd name="T46" fmla="*/ 3856 w 7034"/>
                    <a:gd name="T47" fmla="*/ 126 h 2792"/>
                    <a:gd name="T48" fmla="*/ 3704 w 7034"/>
                    <a:gd name="T49" fmla="*/ 74 h 2792"/>
                    <a:gd name="T50" fmla="*/ 3550 w 7034"/>
                    <a:gd name="T51" fmla="*/ 36 h 2792"/>
                    <a:gd name="T52" fmla="*/ 3392 w 7034"/>
                    <a:gd name="T53" fmla="*/ 10 h 2792"/>
                    <a:gd name="T54" fmla="*/ 3232 w 7034"/>
                    <a:gd name="T55" fmla="*/ 0 h 2792"/>
                    <a:gd name="T56" fmla="*/ 3124 w 7034"/>
                    <a:gd name="T57" fmla="*/ 2 h 2792"/>
                    <a:gd name="T58" fmla="*/ 2970 w 7034"/>
                    <a:gd name="T59" fmla="*/ 16 h 2792"/>
                    <a:gd name="T60" fmla="*/ 2828 w 7034"/>
                    <a:gd name="T61" fmla="*/ 42 h 2792"/>
                    <a:gd name="T62" fmla="*/ 2700 w 7034"/>
                    <a:gd name="T63" fmla="*/ 76 h 2792"/>
                    <a:gd name="T64" fmla="*/ 2582 w 7034"/>
                    <a:gd name="T65" fmla="*/ 120 h 2792"/>
                    <a:gd name="T66" fmla="*/ 2476 w 7034"/>
                    <a:gd name="T67" fmla="*/ 172 h 2792"/>
                    <a:gd name="T68" fmla="*/ 2378 w 7034"/>
                    <a:gd name="T69" fmla="*/ 232 h 2792"/>
                    <a:gd name="T70" fmla="*/ 2210 w 7034"/>
                    <a:gd name="T71" fmla="*/ 372 h 2792"/>
                    <a:gd name="T72" fmla="*/ 2068 w 7034"/>
                    <a:gd name="T73" fmla="*/ 534 h 2792"/>
                    <a:gd name="T74" fmla="*/ 1946 w 7034"/>
                    <a:gd name="T75" fmla="*/ 714 h 2792"/>
                    <a:gd name="T76" fmla="*/ 1802 w 7034"/>
                    <a:gd name="T77" fmla="*/ 966 h 2792"/>
                    <a:gd name="T78" fmla="*/ 1624 w 7034"/>
                    <a:gd name="T79" fmla="*/ 1290 h 2792"/>
                    <a:gd name="T80" fmla="*/ 1504 w 7034"/>
                    <a:gd name="T81" fmla="*/ 1478 h 2792"/>
                    <a:gd name="T82" fmla="*/ 1416 w 7034"/>
                    <a:gd name="T83" fmla="*/ 1596 h 2792"/>
                    <a:gd name="T84" fmla="*/ 1332 w 7034"/>
                    <a:gd name="T85" fmla="*/ 1666 h 2792"/>
                    <a:gd name="T86" fmla="*/ 1192 w 7034"/>
                    <a:gd name="T87" fmla="*/ 1752 h 2792"/>
                    <a:gd name="T88" fmla="*/ 666 w 7034"/>
                    <a:gd name="T89" fmla="*/ 2040 h 2792"/>
                    <a:gd name="T90" fmla="*/ 394 w 7034"/>
                    <a:gd name="T91" fmla="*/ 2206 h 2792"/>
                    <a:gd name="T92" fmla="*/ 218 w 7034"/>
                    <a:gd name="T93" fmla="*/ 2334 h 2792"/>
                    <a:gd name="T94" fmla="*/ 84 w 7034"/>
                    <a:gd name="T95" fmla="*/ 2464 h 2792"/>
                    <a:gd name="T96" fmla="*/ 38 w 7034"/>
                    <a:gd name="T97" fmla="*/ 2528 h 2792"/>
                    <a:gd name="T98" fmla="*/ 10 w 7034"/>
                    <a:gd name="T99" fmla="*/ 2592 h 2792"/>
                    <a:gd name="T100" fmla="*/ 0 w 7034"/>
                    <a:gd name="T101" fmla="*/ 2654 h 2792"/>
                    <a:gd name="T102" fmla="*/ 10 w 7034"/>
                    <a:gd name="T103" fmla="*/ 2714 h 2792"/>
                    <a:gd name="T104" fmla="*/ 44 w 7034"/>
                    <a:gd name="T105" fmla="*/ 2774 h 2792"/>
                    <a:gd name="T106" fmla="*/ 80 w 7034"/>
                    <a:gd name="T107" fmla="*/ 2746 h 2792"/>
                    <a:gd name="T108" fmla="*/ 242 w 7034"/>
                    <a:gd name="T109" fmla="*/ 2532 h 2792"/>
                    <a:gd name="T110" fmla="*/ 416 w 7034"/>
                    <a:gd name="T111" fmla="*/ 2358 h 2792"/>
                    <a:gd name="T112" fmla="*/ 600 w 7034"/>
                    <a:gd name="T113" fmla="*/ 2218 h 2792"/>
                    <a:gd name="T114" fmla="*/ 796 w 7034"/>
                    <a:gd name="T115" fmla="*/ 2106 h 2792"/>
                    <a:gd name="T116" fmla="*/ 1000 w 7034"/>
                    <a:gd name="T117" fmla="*/ 2018 h 2792"/>
                    <a:gd name="T118" fmla="*/ 1214 w 7034"/>
                    <a:gd name="T119" fmla="*/ 1950 h 2792"/>
                    <a:gd name="T120" fmla="*/ 1438 w 7034"/>
                    <a:gd name="T121" fmla="*/ 1894 h 2792"/>
                    <a:gd name="T122" fmla="*/ 1832 w 7034"/>
                    <a:gd name="T123" fmla="*/ 1816 h 2792"/>
                    <a:gd name="T124" fmla="*/ 2336 w 7034"/>
                    <a:gd name="T125" fmla="*/ 1722 h 27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7034"/>
                    <a:gd name="T190" fmla="*/ 0 h 2792"/>
                    <a:gd name="T191" fmla="*/ 7034 w 7034"/>
                    <a:gd name="T192" fmla="*/ 2792 h 279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7034" h="2792">
                      <a:moveTo>
                        <a:pt x="2336" y="1722"/>
                      </a:moveTo>
                      <a:lnTo>
                        <a:pt x="2336" y="1722"/>
                      </a:lnTo>
                      <a:lnTo>
                        <a:pt x="2382" y="1714"/>
                      </a:lnTo>
                      <a:lnTo>
                        <a:pt x="2432" y="1708"/>
                      </a:lnTo>
                      <a:lnTo>
                        <a:pt x="2484" y="1704"/>
                      </a:lnTo>
                      <a:lnTo>
                        <a:pt x="2542" y="1702"/>
                      </a:lnTo>
                      <a:lnTo>
                        <a:pt x="2602" y="1700"/>
                      </a:lnTo>
                      <a:lnTo>
                        <a:pt x="2666" y="1702"/>
                      </a:lnTo>
                      <a:lnTo>
                        <a:pt x="2734" y="1704"/>
                      </a:lnTo>
                      <a:lnTo>
                        <a:pt x="2804" y="1708"/>
                      </a:lnTo>
                      <a:lnTo>
                        <a:pt x="2878" y="1714"/>
                      </a:lnTo>
                      <a:lnTo>
                        <a:pt x="2954" y="1722"/>
                      </a:lnTo>
                      <a:lnTo>
                        <a:pt x="3114" y="1740"/>
                      </a:lnTo>
                      <a:lnTo>
                        <a:pt x="3284" y="1764"/>
                      </a:lnTo>
                      <a:lnTo>
                        <a:pt x="3462" y="1794"/>
                      </a:lnTo>
                      <a:lnTo>
                        <a:pt x="3646" y="1826"/>
                      </a:lnTo>
                      <a:lnTo>
                        <a:pt x="3836" y="1862"/>
                      </a:lnTo>
                      <a:lnTo>
                        <a:pt x="4032" y="1902"/>
                      </a:lnTo>
                      <a:lnTo>
                        <a:pt x="4230" y="1946"/>
                      </a:lnTo>
                      <a:lnTo>
                        <a:pt x="4430" y="1992"/>
                      </a:lnTo>
                      <a:lnTo>
                        <a:pt x="4632" y="2038"/>
                      </a:lnTo>
                      <a:lnTo>
                        <a:pt x="4834" y="2088"/>
                      </a:lnTo>
                      <a:lnTo>
                        <a:pt x="5032" y="2138"/>
                      </a:lnTo>
                      <a:lnTo>
                        <a:pt x="5422" y="2238"/>
                      </a:lnTo>
                      <a:lnTo>
                        <a:pt x="5792" y="2338"/>
                      </a:lnTo>
                      <a:lnTo>
                        <a:pt x="6132" y="2432"/>
                      </a:lnTo>
                      <a:lnTo>
                        <a:pt x="6430" y="2518"/>
                      </a:lnTo>
                      <a:lnTo>
                        <a:pt x="6680" y="2590"/>
                      </a:lnTo>
                      <a:lnTo>
                        <a:pt x="6870" y="2648"/>
                      </a:lnTo>
                      <a:lnTo>
                        <a:pt x="7034" y="2696"/>
                      </a:lnTo>
                      <a:lnTo>
                        <a:pt x="6918" y="2616"/>
                      </a:lnTo>
                      <a:lnTo>
                        <a:pt x="6804" y="2538"/>
                      </a:lnTo>
                      <a:lnTo>
                        <a:pt x="6582" y="2390"/>
                      </a:lnTo>
                      <a:lnTo>
                        <a:pt x="6474" y="2316"/>
                      </a:lnTo>
                      <a:lnTo>
                        <a:pt x="6368" y="2242"/>
                      </a:lnTo>
                      <a:lnTo>
                        <a:pt x="6262" y="2168"/>
                      </a:lnTo>
                      <a:lnTo>
                        <a:pt x="6158" y="2088"/>
                      </a:lnTo>
                      <a:lnTo>
                        <a:pt x="6054" y="2006"/>
                      </a:lnTo>
                      <a:lnTo>
                        <a:pt x="5952" y="1918"/>
                      </a:lnTo>
                      <a:lnTo>
                        <a:pt x="5900" y="1872"/>
                      </a:lnTo>
                      <a:lnTo>
                        <a:pt x="5848" y="1824"/>
                      </a:lnTo>
                      <a:lnTo>
                        <a:pt x="5798" y="1774"/>
                      </a:lnTo>
                      <a:lnTo>
                        <a:pt x="5746" y="1722"/>
                      </a:lnTo>
                      <a:lnTo>
                        <a:pt x="5694" y="1668"/>
                      </a:lnTo>
                      <a:lnTo>
                        <a:pt x="5642" y="1612"/>
                      </a:lnTo>
                      <a:lnTo>
                        <a:pt x="5592" y="1554"/>
                      </a:lnTo>
                      <a:lnTo>
                        <a:pt x="5540" y="1494"/>
                      </a:lnTo>
                      <a:lnTo>
                        <a:pt x="5488" y="1430"/>
                      </a:lnTo>
                      <a:lnTo>
                        <a:pt x="5436" y="1364"/>
                      </a:lnTo>
                      <a:lnTo>
                        <a:pt x="5384" y="1294"/>
                      </a:lnTo>
                      <a:lnTo>
                        <a:pt x="5330" y="1222"/>
                      </a:lnTo>
                      <a:lnTo>
                        <a:pt x="5282" y="1166"/>
                      </a:lnTo>
                      <a:lnTo>
                        <a:pt x="5226" y="1104"/>
                      </a:lnTo>
                      <a:lnTo>
                        <a:pt x="5148" y="1022"/>
                      </a:lnTo>
                      <a:lnTo>
                        <a:pt x="5050" y="926"/>
                      </a:lnTo>
                      <a:lnTo>
                        <a:pt x="4996" y="874"/>
                      </a:lnTo>
                      <a:lnTo>
                        <a:pt x="4936" y="820"/>
                      </a:lnTo>
                      <a:lnTo>
                        <a:pt x="4872" y="762"/>
                      </a:lnTo>
                      <a:lnTo>
                        <a:pt x="4804" y="706"/>
                      </a:lnTo>
                      <a:lnTo>
                        <a:pt x="4734" y="646"/>
                      </a:lnTo>
                      <a:lnTo>
                        <a:pt x="4658" y="588"/>
                      </a:lnTo>
                      <a:lnTo>
                        <a:pt x="4580" y="530"/>
                      </a:lnTo>
                      <a:lnTo>
                        <a:pt x="4500" y="472"/>
                      </a:lnTo>
                      <a:lnTo>
                        <a:pt x="4416" y="414"/>
                      </a:lnTo>
                      <a:lnTo>
                        <a:pt x="4328" y="360"/>
                      </a:lnTo>
                      <a:lnTo>
                        <a:pt x="4238" y="306"/>
                      </a:lnTo>
                      <a:lnTo>
                        <a:pt x="4146" y="256"/>
                      </a:lnTo>
                      <a:lnTo>
                        <a:pt x="4052" y="210"/>
                      </a:lnTo>
                      <a:lnTo>
                        <a:pt x="3954" y="166"/>
                      </a:lnTo>
                      <a:lnTo>
                        <a:pt x="3856" y="126"/>
                      </a:lnTo>
                      <a:lnTo>
                        <a:pt x="3806" y="108"/>
                      </a:lnTo>
                      <a:lnTo>
                        <a:pt x="3756" y="90"/>
                      </a:lnTo>
                      <a:lnTo>
                        <a:pt x="3704" y="74"/>
                      </a:lnTo>
                      <a:lnTo>
                        <a:pt x="3652" y="60"/>
                      </a:lnTo>
                      <a:lnTo>
                        <a:pt x="3602" y="48"/>
                      </a:lnTo>
                      <a:lnTo>
                        <a:pt x="3550" y="36"/>
                      </a:lnTo>
                      <a:lnTo>
                        <a:pt x="3498" y="26"/>
                      </a:lnTo>
                      <a:lnTo>
                        <a:pt x="3444" y="18"/>
                      </a:lnTo>
                      <a:lnTo>
                        <a:pt x="3392" y="10"/>
                      </a:lnTo>
                      <a:lnTo>
                        <a:pt x="3338" y="4"/>
                      </a:lnTo>
                      <a:lnTo>
                        <a:pt x="3286" y="2"/>
                      </a:lnTo>
                      <a:lnTo>
                        <a:pt x="3232" y="0"/>
                      </a:lnTo>
                      <a:lnTo>
                        <a:pt x="3178" y="0"/>
                      </a:lnTo>
                      <a:lnTo>
                        <a:pt x="3124" y="2"/>
                      </a:lnTo>
                      <a:lnTo>
                        <a:pt x="3072" y="6"/>
                      </a:lnTo>
                      <a:lnTo>
                        <a:pt x="3020" y="10"/>
                      </a:lnTo>
                      <a:lnTo>
                        <a:pt x="2970" y="16"/>
                      </a:lnTo>
                      <a:lnTo>
                        <a:pt x="2920" y="24"/>
                      </a:lnTo>
                      <a:lnTo>
                        <a:pt x="2874" y="32"/>
                      </a:lnTo>
                      <a:lnTo>
                        <a:pt x="2828" y="42"/>
                      </a:lnTo>
                      <a:lnTo>
                        <a:pt x="2784" y="52"/>
                      </a:lnTo>
                      <a:lnTo>
                        <a:pt x="2740" y="64"/>
                      </a:lnTo>
                      <a:lnTo>
                        <a:pt x="2700" y="76"/>
                      </a:lnTo>
                      <a:lnTo>
                        <a:pt x="2660" y="90"/>
                      </a:lnTo>
                      <a:lnTo>
                        <a:pt x="2620" y="104"/>
                      </a:lnTo>
                      <a:lnTo>
                        <a:pt x="2582" y="120"/>
                      </a:lnTo>
                      <a:lnTo>
                        <a:pt x="2546" y="136"/>
                      </a:lnTo>
                      <a:lnTo>
                        <a:pt x="2510" y="154"/>
                      </a:lnTo>
                      <a:lnTo>
                        <a:pt x="2476" y="172"/>
                      </a:lnTo>
                      <a:lnTo>
                        <a:pt x="2442" y="192"/>
                      </a:lnTo>
                      <a:lnTo>
                        <a:pt x="2410" y="212"/>
                      </a:lnTo>
                      <a:lnTo>
                        <a:pt x="2378" y="232"/>
                      </a:lnTo>
                      <a:lnTo>
                        <a:pt x="2318" y="276"/>
                      </a:lnTo>
                      <a:lnTo>
                        <a:pt x="2262" y="322"/>
                      </a:lnTo>
                      <a:lnTo>
                        <a:pt x="2210" y="372"/>
                      </a:lnTo>
                      <a:lnTo>
                        <a:pt x="2160" y="424"/>
                      </a:lnTo>
                      <a:lnTo>
                        <a:pt x="2114" y="478"/>
                      </a:lnTo>
                      <a:lnTo>
                        <a:pt x="2068" y="534"/>
                      </a:lnTo>
                      <a:lnTo>
                        <a:pt x="2026" y="592"/>
                      </a:lnTo>
                      <a:lnTo>
                        <a:pt x="1986" y="652"/>
                      </a:lnTo>
                      <a:lnTo>
                        <a:pt x="1946" y="714"/>
                      </a:lnTo>
                      <a:lnTo>
                        <a:pt x="1910" y="776"/>
                      </a:lnTo>
                      <a:lnTo>
                        <a:pt x="1872" y="838"/>
                      </a:lnTo>
                      <a:lnTo>
                        <a:pt x="1802" y="966"/>
                      </a:lnTo>
                      <a:lnTo>
                        <a:pt x="1732" y="1096"/>
                      </a:lnTo>
                      <a:lnTo>
                        <a:pt x="1660" y="1226"/>
                      </a:lnTo>
                      <a:lnTo>
                        <a:pt x="1624" y="1290"/>
                      </a:lnTo>
                      <a:lnTo>
                        <a:pt x="1586" y="1354"/>
                      </a:lnTo>
                      <a:lnTo>
                        <a:pt x="1546" y="1416"/>
                      </a:lnTo>
                      <a:lnTo>
                        <a:pt x="1504" y="1478"/>
                      </a:lnTo>
                      <a:lnTo>
                        <a:pt x="1460" y="1538"/>
                      </a:lnTo>
                      <a:lnTo>
                        <a:pt x="1416" y="1596"/>
                      </a:lnTo>
                      <a:lnTo>
                        <a:pt x="1394" y="1616"/>
                      </a:lnTo>
                      <a:lnTo>
                        <a:pt x="1366" y="1640"/>
                      </a:lnTo>
                      <a:lnTo>
                        <a:pt x="1332" y="1666"/>
                      </a:lnTo>
                      <a:lnTo>
                        <a:pt x="1290" y="1692"/>
                      </a:lnTo>
                      <a:lnTo>
                        <a:pt x="1244" y="1720"/>
                      </a:lnTo>
                      <a:lnTo>
                        <a:pt x="1192" y="1752"/>
                      </a:lnTo>
                      <a:lnTo>
                        <a:pt x="1074" y="1816"/>
                      </a:lnTo>
                      <a:lnTo>
                        <a:pt x="806" y="1962"/>
                      </a:lnTo>
                      <a:lnTo>
                        <a:pt x="666" y="2040"/>
                      </a:lnTo>
                      <a:lnTo>
                        <a:pt x="526" y="2122"/>
                      </a:lnTo>
                      <a:lnTo>
                        <a:pt x="458" y="2164"/>
                      </a:lnTo>
                      <a:lnTo>
                        <a:pt x="394" y="2206"/>
                      </a:lnTo>
                      <a:lnTo>
                        <a:pt x="330" y="2248"/>
                      </a:lnTo>
                      <a:lnTo>
                        <a:pt x="272" y="2292"/>
                      </a:lnTo>
                      <a:lnTo>
                        <a:pt x="218" y="2334"/>
                      </a:lnTo>
                      <a:lnTo>
                        <a:pt x="168" y="2378"/>
                      </a:lnTo>
                      <a:lnTo>
                        <a:pt x="122" y="2420"/>
                      </a:lnTo>
                      <a:lnTo>
                        <a:pt x="84" y="2464"/>
                      </a:lnTo>
                      <a:lnTo>
                        <a:pt x="66" y="2486"/>
                      </a:lnTo>
                      <a:lnTo>
                        <a:pt x="52" y="2506"/>
                      </a:lnTo>
                      <a:lnTo>
                        <a:pt x="38" y="2528"/>
                      </a:lnTo>
                      <a:lnTo>
                        <a:pt x="26" y="2550"/>
                      </a:lnTo>
                      <a:lnTo>
                        <a:pt x="16" y="2570"/>
                      </a:lnTo>
                      <a:lnTo>
                        <a:pt x="10" y="2592"/>
                      </a:lnTo>
                      <a:lnTo>
                        <a:pt x="4" y="2612"/>
                      </a:lnTo>
                      <a:lnTo>
                        <a:pt x="0" y="2632"/>
                      </a:lnTo>
                      <a:lnTo>
                        <a:pt x="0" y="2654"/>
                      </a:lnTo>
                      <a:lnTo>
                        <a:pt x="0" y="2674"/>
                      </a:lnTo>
                      <a:lnTo>
                        <a:pt x="4" y="2694"/>
                      </a:lnTo>
                      <a:lnTo>
                        <a:pt x="10" y="2714"/>
                      </a:lnTo>
                      <a:lnTo>
                        <a:pt x="18" y="2734"/>
                      </a:lnTo>
                      <a:lnTo>
                        <a:pt x="30" y="2754"/>
                      </a:lnTo>
                      <a:lnTo>
                        <a:pt x="44" y="2774"/>
                      </a:lnTo>
                      <a:lnTo>
                        <a:pt x="60" y="2792"/>
                      </a:lnTo>
                      <a:lnTo>
                        <a:pt x="80" y="2746"/>
                      </a:lnTo>
                      <a:lnTo>
                        <a:pt x="134" y="2670"/>
                      </a:lnTo>
                      <a:lnTo>
                        <a:pt x="188" y="2600"/>
                      </a:lnTo>
                      <a:lnTo>
                        <a:pt x="242" y="2532"/>
                      </a:lnTo>
                      <a:lnTo>
                        <a:pt x="300" y="2470"/>
                      </a:lnTo>
                      <a:lnTo>
                        <a:pt x="358" y="2412"/>
                      </a:lnTo>
                      <a:lnTo>
                        <a:pt x="416" y="2358"/>
                      </a:lnTo>
                      <a:lnTo>
                        <a:pt x="476" y="2308"/>
                      </a:lnTo>
                      <a:lnTo>
                        <a:pt x="538" y="2262"/>
                      </a:lnTo>
                      <a:lnTo>
                        <a:pt x="600" y="2218"/>
                      </a:lnTo>
                      <a:lnTo>
                        <a:pt x="664" y="2178"/>
                      </a:lnTo>
                      <a:lnTo>
                        <a:pt x="730" y="2142"/>
                      </a:lnTo>
                      <a:lnTo>
                        <a:pt x="796" y="2106"/>
                      </a:lnTo>
                      <a:lnTo>
                        <a:pt x="862" y="2076"/>
                      </a:lnTo>
                      <a:lnTo>
                        <a:pt x="930" y="2046"/>
                      </a:lnTo>
                      <a:lnTo>
                        <a:pt x="1000" y="2018"/>
                      </a:lnTo>
                      <a:lnTo>
                        <a:pt x="1070" y="1994"/>
                      </a:lnTo>
                      <a:lnTo>
                        <a:pt x="1142" y="1970"/>
                      </a:lnTo>
                      <a:lnTo>
                        <a:pt x="1214" y="1950"/>
                      </a:lnTo>
                      <a:lnTo>
                        <a:pt x="1288" y="1930"/>
                      </a:lnTo>
                      <a:lnTo>
                        <a:pt x="1362" y="1910"/>
                      </a:lnTo>
                      <a:lnTo>
                        <a:pt x="1438" y="1894"/>
                      </a:lnTo>
                      <a:lnTo>
                        <a:pt x="1514" y="1876"/>
                      </a:lnTo>
                      <a:lnTo>
                        <a:pt x="1670" y="1846"/>
                      </a:lnTo>
                      <a:lnTo>
                        <a:pt x="1832" y="1816"/>
                      </a:lnTo>
                      <a:lnTo>
                        <a:pt x="1996" y="1786"/>
                      </a:lnTo>
                      <a:lnTo>
                        <a:pt x="2164" y="1756"/>
                      </a:lnTo>
                      <a:lnTo>
                        <a:pt x="2336" y="1722"/>
                      </a:lnTo>
                      <a:close/>
                    </a:path>
                  </a:pathLst>
                </a:custGeom>
                <a:gradFill rotWithShape="1">
                  <a:gsLst>
                    <a:gs pos="0">
                      <a:srgbClr val="92D050"/>
                    </a:gs>
                    <a:gs pos="50000">
                      <a:srgbClr val="92D050"/>
                    </a:gs>
                    <a:gs pos="100000">
                      <a:srgbClr val="00BD4F"/>
                    </a:gs>
                  </a:gsLst>
                  <a:lin ang="13500000" scaled="1"/>
                </a:grad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ndParaRPr>
                </a:p>
              </p:txBody>
            </p:sp>
          </p:grpSp>
          <p:sp>
            <p:nvSpPr>
              <p:cNvPr id="84" name="Freeform 20"/>
              <p:cNvSpPr>
                <a:spLocks/>
              </p:cNvSpPr>
              <p:nvPr/>
            </p:nvSpPr>
            <p:spPr bwMode="auto">
              <a:xfrm>
                <a:off x="-414558" y="3186966"/>
                <a:ext cx="9982261" cy="1130807"/>
              </a:xfrm>
              <a:custGeom>
                <a:avLst/>
                <a:gdLst>
                  <a:gd name="T0" fmla="*/ 2292 w 6888"/>
                  <a:gd name="T1" fmla="*/ 112 h 1108"/>
                  <a:gd name="T2" fmla="*/ 2376 w 6888"/>
                  <a:gd name="T3" fmla="*/ 106 h 1108"/>
                  <a:gd name="T4" fmla="*/ 2472 w 6888"/>
                  <a:gd name="T5" fmla="*/ 104 h 1108"/>
                  <a:gd name="T6" fmla="*/ 2694 w 6888"/>
                  <a:gd name="T7" fmla="*/ 114 h 1108"/>
                  <a:gd name="T8" fmla="*/ 2956 w 6888"/>
                  <a:gd name="T9" fmla="*/ 142 h 1108"/>
                  <a:gd name="T10" fmla="*/ 3246 w 6888"/>
                  <a:gd name="T11" fmla="*/ 184 h 1108"/>
                  <a:gd name="T12" fmla="*/ 3564 w 6888"/>
                  <a:gd name="T13" fmla="*/ 238 h 1108"/>
                  <a:gd name="T14" fmla="*/ 3898 w 6888"/>
                  <a:gd name="T15" fmla="*/ 302 h 1108"/>
                  <a:gd name="T16" fmla="*/ 4244 w 6888"/>
                  <a:gd name="T17" fmla="*/ 376 h 1108"/>
                  <a:gd name="T18" fmla="*/ 4944 w 6888"/>
                  <a:gd name="T19" fmla="*/ 536 h 1108"/>
                  <a:gd name="T20" fmla="*/ 5616 w 6888"/>
                  <a:gd name="T21" fmla="*/ 704 h 1108"/>
                  <a:gd name="T22" fmla="*/ 6206 w 6888"/>
                  <a:gd name="T23" fmla="*/ 862 h 1108"/>
                  <a:gd name="T24" fmla="*/ 6664 w 6888"/>
                  <a:gd name="T25" fmla="*/ 990 h 1108"/>
                  <a:gd name="T26" fmla="*/ 6826 w 6888"/>
                  <a:gd name="T27" fmla="*/ 1038 h 1108"/>
                  <a:gd name="T28" fmla="*/ 6888 w 6888"/>
                  <a:gd name="T29" fmla="*/ 1016 h 1108"/>
                  <a:gd name="T30" fmla="*/ 6744 w 6888"/>
                  <a:gd name="T31" fmla="*/ 918 h 1108"/>
                  <a:gd name="T32" fmla="*/ 6346 w 6888"/>
                  <a:gd name="T33" fmla="*/ 802 h 1108"/>
                  <a:gd name="T34" fmla="*/ 5808 w 6888"/>
                  <a:gd name="T35" fmla="*/ 656 h 1108"/>
                  <a:gd name="T36" fmla="*/ 5176 w 6888"/>
                  <a:gd name="T37" fmla="*/ 492 h 1108"/>
                  <a:gd name="T38" fmla="*/ 4498 w 6888"/>
                  <a:gd name="T39" fmla="*/ 328 h 1108"/>
                  <a:gd name="T40" fmla="*/ 3988 w 6888"/>
                  <a:gd name="T41" fmla="*/ 216 h 1108"/>
                  <a:gd name="T42" fmla="*/ 3658 w 6888"/>
                  <a:gd name="T43" fmla="*/ 150 h 1108"/>
                  <a:gd name="T44" fmla="*/ 3344 w 6888"/>
                  <a:gd name="T45" fmla="*/ 94 h 1108"/>
                  <a:gd name="T46" fmla="*/ 3050 w 6888"/>
                  <a:gd name="T47" fmla="*/ 50 h 1108"/>
                  <a:gd name="T48" fmla="*/ 2784 w 6888"/>
                  <a:gd name="T49" fmla="*/ 18 h 1108"/>
                  <a:gd name="T50" fmla="*/ 2550 w 6888"/>
                  <a:gd name="T51" fmla="*/ 2 h 1108"/>
                  <a:gd name="T52" fmla="*/ 2402 w 6888"/>
                  <a:gd name="T53" fmla="*/ 2 h 1108"/>
                  <a:gd name="T54" fmla="*/ 2314 w 6888"/>
                  <a:gd name="T55" fmla="*/ 8 h 1108"/>
                  <a:gd name="T56" fmla="*/ 2276 w 6888"/>
                  <a:gd name="T57" fmla="*/ 12 h 1108"/>
                  <a:gd name="T58" fmla="*/ 1774 w 6888"/>
                  <a:gd name="T59" fmla="*/ 86 h 1108"/>
                  <a:gd name="T60" fmla="*/ 1458 w 6888"/>
                  <a:gd name="T61" fmla="*/ 142 h 1108"/>
                  <a:gd name="T62" fmla="*/ 1306 w 6888"/>
                  <a:gd name="T63" fmla="*/ 176 h 1108"/>
                  <a:gd name="T64" fmla="*/ 1158 w 6888"/>
                  <a:gd name="T65" fmla="*/ 216 h 1108"/>
                  <a:gd name="T66" fmla="*/ 1014 w 6888"/>
                  <a:gd name="T67" fmla="*/ 262 h 1108"/>
                  <a:gd name="T68" fmla="*/ 874 w 6888"/>
                  <a:gd name="T69" fmla="*/ 318 h 1108"/>
                  <a:gd name="T70" fmla="*/ 738 w 6888"/>
                  <a:gd name="T71" fmla="*/ 382 h 1108"/>
                  <a:gd name="T72" fmla="*/ 606 w 6888"/>
                  <a:gd name="T73" fmla="*/ 458 h 1108"/>
                  <a:gd name="T74" fmla="*/ 480 w 6888"/>
                  <a:gd name="T75" fmla="*/ 544 h 1108"/>
                  <a:gd name="T76" fmla="*/ 358 w 6888"/>
                  <a:gd name="T77" fmla="*/ 644 h 1108"/>
                  <a:gd name="T78" fmla="*/ 240 w 6888"/>
                  <a:gd name="T79" fmla="*/ 758 h 1108"/>
                  <a:gd name="T80" fmla="*/ 128 w 6888"/>
                  <a:gd name="T81" fmla="*/ 890 h 1108"/>
                  <a:gd name="T82" fmla="*/ 20 w 6888"/>
                  <a:gd name="T83" fmla="*/ 1036 h 1108"/>
                  <a:gd name="T84" fmla="*/ 0 w 6888"/>
                  <a:gd name="T85" fmla="*/ 1084 h 1108"/>
                  <a:gd name="T86" fmla="*/ 26 w 6888"/>
                  <a:gd name="T87" fmla="*/ 1108 h 1108"/>
                  <a:gd name="T88" fmla="*/ 32 w 6888"/>
                  <a:gd name="T89" fmla="*/ 1104 h 1108"/>
                  <a:gd name="T90" fmla="*/ 108 w 6888"/>
                  <a:gd name="T91" fmla="*/ 1034 h 1108"/>
                  <a:gd name="T92" fmla="*/ 160 w 6888"/>
                  <a:gd name="T93" fmla="*/ 968 h 1108"/>
                  <a:gd name="T94" fmla="*/ 268 w 6888"/>
                  <a:gd name="T95" fmla="*/ 846 h 1108"/>
                  <a:gd name="T96" fmla="*/ 380 w 6888"/>
                  <a:gd name="T97" fmla="*/ 738 h 1108"/>
                  <a:gd name="T98" fmla="*/ 496 w 6888"/>
                  <a:gd name="T99" fmla="*/ 640 h 1108"/>
                  <a:gd name="T100" fmla="*/ 616 w 6888"/>
                  <a:gd name="T101" fmla="*/ 556 h 1108"/>
                  <a:gd name="T102" fmla="*/ 740 w 6888"/>
                  <a:gd name="T103" fmla="*/ 482 h 1108"/>
                  <a:gd name="T104" fmla="*/ 870 w 6888"/>
                  <a:gd name="T105" fmla="*/ 420 h 1108"/>
                  <a:gd name="T106" fmla="*/ 1002 w 6888"/>
                  <a:gd name="T107" fmla="*/ 364 h 1108"/>
                  <a:gd name="T108" fmla="*/ 1138 w 6888"/>
                  <a:gd name="T109" fmla="*/ 316 h 1108"/>
                  <a:gd name="T110" fmla="*/ 1278 w 6888"/>
                  <a:gd name="T111" fmla="*/ 276 h 1108"/>
                  <a:gd name="T112" fmla="*/ 1424 w 6888"/>
                  <a:gd name="T113" fmla="*/ 242 h 1108"/>
                  <a:gd name="T114" fmla="*/ 1648 w 6888"/>
                  <a:gd name="T115" fmla="*/ 198 h 1108"/>
                  <a:gd name="T116" fmla="*/ 1962 w 6888"/>
                  <a:gd name="T117" fmla="*/ 152 h 1108"/>
                  <a:gd name="T118" fmla="*/ 2292 w 6888"/>
                  <a:gd name="T119" fmla="*/ 112 h 110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6888"/>
                  <a:gd name="T181" fmla="*/ 0 h 1108"/>
                  <a:gd name="T182" fmla="*/ 6888 w 6888"/>
                  <a:gd name="T183" fmla="*/ 1108 h 110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6888" h="1108">
                    <a:moveTo>
                      <a:pt x="2292" y="112"/>
                    </a:moveTo>
                    <a:lnTo>
                      <a:pt x="2292" y="112"/>
                    </a:lnTo>
                    <a:lnTo>
                      <a:pt x="2332" y="108"/>
                    </a:lnTo>
                    <a:lnTo>
                      <a:pt x="2376" y="106"/>
                    </a:lnTo>
                    <a:lnTo>
                      <a:pt x="2422" y="104"/>
                    </a:lnTo>
                    <a:lnTo>
                      <a:pt x="2472" y="104"/>
                    </a:lnTo>
                    <a:lnTo>
                      <a:pt x="2578" y="106"/>
                    </a:lnTo>
                    <a:lnTo>
                      <a:pt x="2694" y="114"/>
                    </a:lnTo>
                    <a:lnTo>
                      <a:pt x="2820" y="126"/>
                    </a:lnTo>
                    <a:lnTo>
                      <a:pt x="2956" y="142"/>
                    </a:lnTo>
                    <a:lnTo>
                      <a:pt x="3098" y="160"/>
                    </a:lnTo>
                    <a:lnTo>
                      <a:pt x="3246" y="184"/>
                    </a:lnTo>
                    <a:lnTo>
                      <a:pt x="3402" y="210"/>
                    </a:lnTo>
                    <a:lnTo>
                      <a:pt x="3564" y="238"/>
                    </a:lnTo>
                    <a:lnTo>
                      <a:pt x="3728" y="270"/>
                    </a:lnTo>
                    <a:lnTo>
                      <a:pt x="3898" y="302"/>
                    </a:lnTo>
                    <a:lnTo>
                      <a:pt x="4070" y="338"/>
                    </a:lnTo>
                    <a:lnTo>
                      <a:pt x="4244" y="376"/>
                    </a:lnTo>
                    <a:lnTo>
                      <a:pt x="4594" y="454"/>
                    </a:lnTo>
                    <a:lnTo>
                      <a:pt x="4944" y="536"/>
                    </a:lnTo>
                    <a:lnTo>
                      <a:pt x="5288" y="622"/>
                    </a:lnTo>
                    <a:lnTo>
                      <a:pt x="5616" y="704"/>
                    </a:lnTo>
                    <a:lnTo>
                      <a:pt x="5924" y="786"/>
                    </a:lnTo>
                    <a:lnTo>
                      <a:pt x="6206" y="862"/>
                    </a:lnTo>
                    <a:lnTo>
                      <a:pt x="6454" y="930"/>
                    </a:lnTo>
                    <a:lnTo>
                      <a:pt x="6664" y="990"/>
                    </a:lnTo>
                    <a:lnTo>
                      <a:pt x="6826" y="1038"/>
                    </a:lnTo>
                    <a:lnTo>
                      <a:pt x="6888" y="1016"/>
                    </a:lnTo>
                    <a:lnTo>
                      <a:pt x="6744" y="918"/>
                    </a:lnTo>
                    <a:lnTo>
                      <a:pt x="6566" y="866"/>
                    </a:lnTo>
                    <a:lnTo>
                      <a:pt x="6346" y="802"/>
                    </a:lnTo>
                    <a:lnTo>
                      <a:pt x="6092" y="732"/>
                    </a:lnTo>
                    <a:lnTo>
                      <a:pt x="5808" y="656"/>
                    </a:lnTo>
                    <a:lnTo>
                      <a:pt x="5500" y="574"/>
                    </a:lnTo>
                    <a:lnTo>
                      <a:pt x="5176" y="492"/>
                    </a:lnTo>
                    <a:lnTo>
                      <a:pt x="4840" y="410"/>
                    </a:lnTo>
                    <a:lnTo>
                      <a:pt x="4498" y="328"/>
                    </a:lnTo>
                    <a:lnTo>
                      <a:pt x="4156" y="252"/>
                    </a:lnTo>
                    <a:lnTo>
                      <a:pt x="3988" y="216"/>
                    </a:lnTo>
                    <a:lnTo>
                      <a:pt x="3822" y="182"/>
                    </a:lnTo>
                    <a:lnTo>
                      <a:pt x="3658" y="150"/>
                    </a:lnTo>
                    <a:lnTo>
                      <a:pt x="3498" y="122"/>
                    </a:lnTo>
                    <a:lnTo>
                      <a:pt x="3344" y="94"/>
                    </a:lnTo>
                    <a:lnTo>
                      <a:pt x="3194" y="70"/>
                    </a:lnTo>
                    <a:lnTo>
                      <a:pt x="3050" y="50"/>
                    </a:lnTo>
                    <a:lnTo>
                      <a:pt x="2914" y="32"/>
                    </a:lnTo>
                    <a:lnTo>
                      <a:pt x="2784" y="18"/>
                    </a:lnTo>
                    <a:lnTo>
                      <a:pt x="2662" y="8"/>
                    </a:lnTo>
                    <a:lnTo>
                      <a:pt x="2550" y="2"/>
                    </a:lnTo>
                    <a:lnTo>
                      <a:pt x="2448" y="0"/>
                    </a:lnTo>
                    <a:lnTo>
                      <a:pt x="2402" y="2"/>
                    </a:lnTo>
                    <a:lnTo>
                      <a:pt x="2356" y="4"/>
                    </a:lnTo>
                    <a:lnTo>
                      <a:pt x="2314" y="8"/>
                    </a:lnTo>
                    <a:lnTo>
                      <a:pt x="2276" y="12"/>
                    </a:lnTo>
                    <a:lnTo>
                      <a:pt x="1938" y="60"/>
                    </a:lnTo>
                    <a:lnTo>
                      <a:pt x="1774" y="86"/>
                    </a:lnTo>
                    <a:lnTo>
                      <a:pt x="1614" y="112"/>
                    </a:lnTo>
                    <a:lnTo>
                      <a:pt x="1458" y="142"/>
                    </a:lnTo>
                    <a:lnTo>
                      <a:pt x="1382" y="158"/>
                    </a:lnTo>
                    <a:lnTo>
                      <a:pt x="1306" y="176"/>
                    </a:lnTo>
                    <a:lnTo>
                      <a:pt x="1232" y="194"/>
                    </a:lnTo>
                    <a:lnTo>
                      <a:pt x="1158" y="216"/>
                    </a:lnTo>
                    <a:lnTo>
                      <a:pt x="1086" y="238"/>
                    </a:lnTo>
                    <a:lnTo>
                      <a:pt x="1014" y="262"/>
                    </a:lnTo>
                    <a:lnTo>
                      <a:pt x="942" y="288"/>
                    </a:lnTo>
                    <a:lnTo>
                      <a:pt x="874" y="318"/>
                    </a:lnTo>
                    <a:lnTo>
                      <a:pt x="804" y="348"/>
                    </a:lnTo>
                    <a:lnTo>
                      <a:pt x="738" y="382"/>
                    </a:lnTo>
                    <a:lnTo>
                      <a:pt x="672" y="418"/>
                    </a:lnTo>
                    <a:lnTo>
                      <a:pt x="606" y="458"/>
                    </a:lnTo>
                    <a:lnTo>
                      <a:pt x="542" y="500"/>
                    </a:lnTo>
                    <a:lnTo>
                      <a:pt x="480" y="544"/>
                    </a:lnTo>
                    <a:lnTo>
                      <a:pt x="418" y="592"/>
                    </a:lnTo>
                    <a:lnTo>
                      <a:pt x="358" y="644"/>
                    </a:lnTo>
                    <a:lnTo>
                      <a:pt x="298" y="700"/>
                    </a:lnTo>
                    <a:lnTo>
                      <a:pt x="240" y="758"/>
                    </a:lnTo>
                    <a:lnTo>
                      <a:pt x="184" y="822"/>
                    </a:lnTo>
                    <a:lnTo>
                      <a:pt x="128" y="890"/>
                    </a:lnTo>
                    <a:lnTo>
                      <a:pt x="74" y="960"/>
                    </a:lnTo>
                    <a:lnTo>
                      <a:pt x="20" y="1036"/>
                    </a:lnTo>
                    <a:lnTo>
                      <a:pt x="0" y="1084"/>
                    </a:lnTo>
                    <a:lnTo>
                      <a:pt x="26" y="1108"/>
                    </a:lnTo>
                    <a:lnTo>
                      <a:pt x="28" y="1106"/>
                    </a:lnTo>
                    <a:lnTo>
                      <a:pt x="32" y="1104"/>
                    </a:lnTo>
                    <a:lnTo>
                      <a:pt x="50" y="1090"/>
                    </a:lnTo>
                    <a:lnTo>
                      <a:pt x="108" y="1034"/>
                    </a:lnTo>
                    <a:lnTo>
                      <a:pt x="160" y="968"/>
                    </a:lnTo>
                    <a:lnTo>
                      <a:pt x="214" y="906"/>
                    </a:lnTo>
                    <a:lnTo>
                      <a:pt x="268" y="846"/>
                    </a:lnTo>
                    <a:lnTo>
                      <a:pt x="324" y="790"/>
                    </a:lnTo>
                    <a:lnTo>
                      <a:pt x="380" y="738"/>
                    </a:lnTo>
                    <a:lnTo>
                      <a:pt x="438" y="688"/>
                    </a:lnTo>
                    <a:lnTo>
                      <a:pt x="496" y="640"/>
                    </a:lnTo>
                    <a:lnTo>
                      <a:pt x="556" y="598"/>
                    </a:lnTo>
                    <a:lnTo>
                      <a:pt x="616" y="556"/>
                    </a:lnTo>
                    <a:lnTo>
                      <a:pt x="678" y="518"/>
                    </a:lnTo>
                    <a:lnTo>
                      <a:pt x="740" y="482"/>
                    </a:lnTo>
                    <a:lnTo>
                      <a:pt x="804" y="450"/>
                    </a:lnTo>
                    <a:lnTo>
                      <a:pt x="870" y="420"/>
                    </a:lnTo>
                    <a:lnTo>
                      <a:pt x="934" y="390"/>
                    </a:lnTo>
                    <a:lnTo>
                      <a:pt x="1002" y="364"/>
                    </a:lnTo>
                    <a:lnTo>
                      <a:pt x="1070" y="340"/>
                    </a:lnTo>
                    <a:lnTo>
                      <a:pt x="1138" y="316"/>
                    </a:lnTo>
                    <a:lnTo>
                      <a:pt x="1208" y="296"/>
                    </a:lnTo>
                    <a:lnTo>
                      <a:pt x="1278" y="276"/>
                    </a:lnTo>
                    <a:lnTo>
                      <a:pt x="1350" y="258"/>
                    </a:lnTo>
                    <a:lnTo>
                      <a:pt x="1424" y="242"/>
                    </a:lnTo>
                    <a:lnTo>
                      <a:pt x="1498" y="226"/>
                    </a:lnTo>
                    <a:lnTo>
                      <a:pt x="1648" y="198"/>
                    </a:lnTo>
                    <a:lnTo>
                      <a:pt x="1804" y="174"/>
                    </a:lnTo>
                    <a:lnTo>
                      <a:pt x="1962" y="152"/>
                    </a:lnTo>
                    <a:lnTo>
                      <a:pt x="2126" y="132"/>
                    </a:lnTo>
                    <a:lnTo>
                      <a:pt x="2292" y="112"/>
                    </a:lnTo>
                    <a:close/>
                  </a:path>
                </a:pathLst>
              </a:custGeom>
              <a:gradFill rotWithShape="1">
                <a:gsLst>
                  <a:gs pos="0">
                    <a:srgbClr val="006D2A"/>
                  </a:gs>
                  <a:gs pos="92999">
                    <a:srgbClr val="008E39"/>
                  </a:gs>
                  <a:gs pos="100000">
                    <a:srgbClr val="007432"/>
                  </a:gs>
                </a:gsLst>
                <a:lin ang="13500000" scaled="1"/>
              </a:grad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ndParaRPr>
              </a:p>
            </p:txBody>
          </p:sp>
        </p:grpSp>
        <p:grpSp>
          <p:nvGrpSpPr>
            <p:cNvPr id="3348" name="Gruppe 153"/>
            <p:cNvGrpSpPr>
              <a:grpSpLocks/>
            </p:cNvGrpSpPr>
            <p:nvPr/>
          </p:nvGrpSpPr>
          <p:grpSpPr bwMode="auto">
            <a:xfrm rot="218200" flipH="1">
              <a:off x="1207904" y="3882259"/>
              <a:ext cx="2003930" cy="1101108"/>
              <a:chOff x="-576612" y="1443989"/>
              <a:chExt cx="10055528" cy="3995643"/>
            </a:xfrm>
          </p:grpSpPr>
          <p:grpSp>
            <p:nvGrpSpPr>
              <p:cNvPr id="3349" name="Gruppe 16"/>
              <p:cNvGrpSpPr>
                <a:grpSpLocks/>
              </p:cNvGrpSpPr>
              <p:nvPr/>
            </p:nvGrpSpPr>
            <p:grpSpPr bwMode="auto">
              <a:xfrm>
                <a:off x="-576612" y="1443989"/>
                <a:ext cx="10055528" cy="3995643"/>
                <a:chOff x="-1933470" y="-2879092"/>
                <a:chExt cx="11208392" cy="5993464"/>
              </a:xfrm>
            </p:grpSpPr>
            <p:sp>
              <p:nvSpPr>
                <p:cNvPr id="81" name="Freeform 6"/>
                <p:cNvSpPr>
                  <a:spLocks/>
                </p:cNvSpPr>
                <p:nvPr/>
              </p:nvSpPr>
              <p:spPr bwMode="auto">
                <a:xfrm>
                  <a:off x="-1878613" y="-2875708"/>
                  <a:ext cx="11157842" cy="5993430"/>
                </a:xfrm>
                <a:custGeom>
                  <a:avLst/>
                  <a:gdLst>
                    <a:gd name="T0" fmla="*/ 5438 w 7036"/>
                    <a:gd name="T1" fmla="*/ 1364 h 3760"/>
                    <a:gd name="T2" fmla="*/ 5644 w 7036"/>
                    <a:gd name="T3" fmla="*/ 1612 h 3760"/>
                    <a:gd name="T4" fmla="*/ 5850 w 7036"/>
                    <a:gd name="T5" fmla="*/ 1824 h 3760"/>
                    <a:gd name="T6" fmla="*/ 6160 w 7036"/>
                    <a:gd name="T7" fmla="*/ 2088 h 3760"/>
                    <a:gd name="T8" fmla="*/ 6584 w 7036"/>
                    <a:gd name="T9" fmla="*/ 2390 h 3760"/>
                    <a:gd name="T10" fmla="*/ 7036 w 7036"/>
                    <a:gd name="T11" fmla="*/ 2696 h 3760"/>
                    <a:gd name="T12" fmla="*/ 5784 w 7036"/>
                    <a:gd name="T13" fmla="*/ 3094 h 3760"/>
                    <a:gd name="T14" fmla="*/ 4056 w 7036"/>
                    <a:gd name="T15" fmla="*/ 3600 h 3760"/>
                    <a:gd name="T16" fmla="*/ 3546 w 7036"/>
                    <a:gd name="T17" fmla="*/ 3734 h 3760"/>
                    <a:gd name="T18" fmla="*/ 3242 w 7036"/>
                    <a:gd name="T19" fmla="*/ 3756 h 3760"/>
                    <a:gd name="T20" fmla="*/ 2782 w 7036"/>
                    <a:gd name="T21" fmla="*/ 3750 h 3760"/>
                    <a:gd name="T22" fmla="*/ 2492 w 7036"/>
                    <a:gd name="T23" fmla="*/ 3716 h 3760"/>
                    <a:gd name="T24" fmla="*/ 2210 w 7036"/>
                    <a:gd name="T25" fmla="*/ 3654 h 3760"/>
                    <a:gd name="T26" fmla="*/ 1960 w 7036"/>
                    <a:gd name="T27" fmla="*/ 3550 h 3760"/>
                    <a:gd name="T28" fmla="*/ 1832 w 7036"/>
                    <a:gd name="T29" fmla="*/ 3462 h 3760"/>
                    <a:gd name="T30" fmla="*/ 1750 w 7036"/>
                    <a:gd name="T31" fmla="*/ 3378 h 3760"/>
                    <a:gd name="T32" fmla="*/ 1638 w 7036"/>
                    <a:gd name="T33" fmla="*/ 3208 h 3760"/>
                    <a:gd name="T34" fmla="*/ 1508 w 7036"/>
                    <a:gd name="T35" fmla="*/ 2948 h 3760"/>
                    <a:gd name="T36" fmla="*/ 1434 w 7036"/>
                    <a:gd name="T37" fmla="*/ 2732 h 3760"/>
                    <a:gd name="T38" fmla="*/ 1382 w 7036"/>
                    <a:gd name="T39" fmla="*/ 2480 h 3760"/>
                    <a:gd name="T40" fmla="*/ 1344 w 7036"/>
                    <a:gd name="T41" fmla="*/ 2330 h 3760"/>
                    <a:gd name="T42" fmla="*/ 1284 w 7036"/>
                    <a:gd name="T43" fmla="*/ 2244 h 3760"/>
                    <a:gd name="T44" fmla="*/ 1176 w 7036"/>
                    <a:gd name="T45" fmla="*/ 2182 h 3760"/>
                    <a:gd name="T46" fmla="*/ 1048 w 7036"/>
                    <a:gd name="T47" fmla="*/ 2152 h 3760"/>
                    <a:gd name="T48" fmla="*/ 928 w 7036"/>
                    <a:gd name="T49" fmla="*/ 2168 h 3760"/>
                    <a:gd name="T50" fmla="*/ 784 w 7036"/>
                    <a:gd name="T51" fmla="*/ 2238 h 3760"/>
                    <a:gd name="T52" fmla="*/ 548 w 7036"/>
                    <a:gd name="T53" fmla="*/ 2406 h 3760"/>
                    <a:gd name="T54" fmla="*/ 206 w 7036"/>
                    <a:gd name="T55" fmla="*/ 2712 h 3760"/>
                    <a:gd name="T56" fmla="*/ 88 w 7036"/>
                    <a:gd name="T57" fmla="*/ 2816 h 3760"/>
                    <a:gd name="T58" fmla="*/ 34 w 7036"/>
                    <a:gd name="T59" fmla="*/ 2758 h 3760"/>
                    <a:gd name="T60" fmla="*/ 2 w 7036"/>
                    <a:gd name="T61" fmla="*/ 2676 h 3760"/>
                    <a:gd name="T62" fmla="*/ 10 w 7036"/>
                    <a:gd name="T63" fmla="*/ 2592 h 3760"/>
                    <a:gd name="T64" fmla="*/ 54 w 7036"/>
                    <a:gd name="T65" fmla="*/ 2506 h 3760"/>
                    <a:gd name="T66" fmla="*/ 150 w 7036"/>
                    <a:gd name="T67" fmla="*/ 2396 h 3760"/>
                    <a:gd name="T68" fmla="*/ 372 w 7036"/>
                    <a:gd name="T69" fmla="*/ 2222 h 3760"/>
                    <a:gd name="T70" fmla="*/ 648 w 7036"/>
                    <a:gd name="T71" fmla="*/ 2052 h 3760"/>
                    <a:gd name="T72" fmla="*/ 1240 w 7036"/>
                    <a:gd name="T73" fmla="*/ 1724 h 3760"/>
                    <a:gd name="T74" fmla="*/ 1396 w 7036"/>
                    <a:gd name="T75" fmla="*/ 1618 h 3760"/>
                    <a:gd name="T76" fmla="*/ 1506 w 7036"/>
                    <a:gd name="T77" fmla="*/ 1478 h 3760"/>
                    <a:gd name="T78" fmla="*/ 1662 w 7036"/>
                    <a:gd name="T79" fmla="*/ 1226 h 3760"/>
                    <a:gd name="T80" fmla="*/ 1912 w 7036"/>
                    <a:gd name="T81" fmla="*/ 776 h 3760"/>
                    <a:gd name="T82" fmla="*/ 2070 w 7036"/>
                    <a:gd name="T83" fmla="*/ 534 h 3760"/>
                    <a:gd name="T84" fmla="*/ 2264 w 7036"/>
                    <a:gd name="T85" fmla="*/ 322 h 3760"/>
                    <a:gd name="T86" fmla="*/ 2444 w 7036"/>
                    <a:gd name="T87" fmla="*/ 192 h 3760"/>
                    <a:gd name="T88" fmla="*/ 2584 w 7036"/>
                    <a:gd name="T89" fmla="*/ 120 h 3760"/>
                    <a:gd name="T90" fmla="*/ 2742 w 7036"/>
                    <a:gd name="T91" fmla="*/ 64 h 3760"/>
                    <a:gd name="T92" fmla="*/ 2922 w 7036"/>
                    <a:gd name="T93" fmla="*/ 24 h 3760"/>
                    <a:gd name="T94" fmla="*/ 3126 w 7036"/>
                    <a:gd name="T95" fmla="*/ 2 h 3760"/>
                    <a:gd name="T96" fmla="*/ 3288 w 7036"/>
                    <a:gd name="T97" fmla="*/ 2 h 3760"/>
                    <a:gd name="T98" fmla="*/ 3500 w 7036"/>
                    <a:gd name="T99" fmla="*/ 26 h 3760"/>
                    <a:gd name="T100" fmla="*/ 3706 w 7036"/>
                    <a:gd name="T101" fmla="*/ 74 h 3760"/>
                    <a:gd name="T102" fmla="*/ 3956 w 7036"/>
                    <a:gd name="T103" fmla="*/ 166 h 3760"/>
                    <a:gd name="T104" fmla="*/ 4330 w 7036"/>
                    <a:gd name="T105" fmla="*/ 360 h 3760"/>
                    <a:gd name="T106" fmla="*/ 4660 w 7036"/>
                    <a:gd name="T107" fmla="*/ 588 h 3760"/>
                    <a:gd name="T108" fmla="*/ 4938 w 7036"/>
                    <a:gd name="T109" fmla="*/ 820 h 3760"/>
                    <a:gd name="T110" fmla="*/ 5228 w 7036"/>
                    <a:gd name="T111" fmla="*/ 1104 h 376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036"/>
                    <a:gd name="T169" fmla="*/ 0 h 3760"/>
                    <a:gd name="T170" fmla="*/ 7036 w 7036"/>
                    <a:gd name="T171" fmla="*/ 3760 h 376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036" h="3760">
                      <a:moveTo>
                        <a:pt x="5332" y="1222"/>
                      </a:moveTo>
                      <a:lnTo>
                        <a:pt x="5332" y="1222"/>
                      </a:lnTo>
                      <a:lnTo>
                        <a:pt x="5386" y="1294"/>
                      </a:lnTo>
                      <a:lnTo>
                        <a:pt x="5438" y="1364"/>
                      </a:lnTo>
                      <a:lnTo>
                        <a:pt x="5490" y="1430"/>
                      </a:lnTo>
                      <a:lnTo>
                        <a:pt x="5542" y="1494"/>
                      </a:lnTo>
                      <a:lnTo>
                        <a:pt x="5594" y="1554"/>
                      </a:lnTo>
                      <a:lnTo>
                        <a:pt x="5644" y="1612"/>
                      </a:lnTo>
                      <a:lnTo>
                        <a:pt x="5696" y="1668"/>
                      </a:lnTo>
                      <a:lnTo>
                        <a:pt x="5748" y="1722"/>
                      </a:lnTo>
                      <a:lnTo>
                        <a:pt x="5800" y="1774"/>
                      </a:lnTo>
                      <a:lnTo>
                        <a:pt x="5850" y="1824"/>
                      </a:lnTo>
                      <a:lnTo>
                        <a:pt x="5902" y="1872"/>
                      </a:lnTo>
                      <a:lnTo>
                        <a:pt x="5954" y="1918"/>
                      </a:lnTo>
                      <a:lnTo>
                        <a:pt x="6056" y="2006"/>
                      </a:lnTo>
                      <a:lnTo>
                        <a:pt x="6160" y="2088"/>
                      </a:lnTo>
                      <a:lnTo>
                        <a:pt x="6264" y="2168"/>
                      </a:lnTo>
                      <a:lnTo>
                        <a:pt x="6370" y="2242"/>
                      </a:lnTo>
                      <a:lnTo>
                        <a:pt x="6476" y="2316"/>
                      </a:lnTo>
                      <a:lnTo>
                        <a:pt x="6584" y="2390"/>
                      </a:lnTo>
                      <a:lnTo>
                        <a:pt x="6806" y="2538"/>
                      </a:lnTo>
                      <a:lnTo>
                        <a:pt x="6920" y="2616"/>
                      </a:lnTo>
                      <a:lnTo>
                        <a:pt x="7036" y="2696"/>
                      </a:lnTo>
                      <a:lnTo>
                        <a:pt x="6882" y="2748"/>
                      </a:lnTo>
                      <a:lnTo>
                        <a:pt x="6700" y="2808"/>
                      </a:lnTo>
                      <a:lnTo>
                        <a:pt x="6272" y="2944"/>
                      </a:lnTo>
                      <a:lnTo>
                        <a:pt x="5784" y="3094"/>
                      </a:lnTo>
                      <a:lnTo>
                        <a:pt x="5266" y="3250"/>
                      </a:lnTo>
                      <a:lnTo>
                        <a:pt x="4752" y="3400"/>
                      </a:lnTo>
                      <a:lnTo>
                        <a:pt x="4272" y="3538"/>
                      </a:lnTo>
                      <a:lnTo>
                        <a:pt x="4056" y="3600"/>
                      </a:lnTo>
                      <a:lnTo>
                        <a:pt x="3860" y="3652"/>
                      </a:lnTo>
                      <a:lnTo>
                        <a:pt x="3690" y="3698"/>
                      </a:lnTo>
                      <a:lnTo>
                        <a:pt x="3546" y="3734"/>
                      </a:lnTo>
                      <a:lnTo>
                        <a:pt x="3502" y="3740"/>
                      </a:lnTo>
                      <a:lnTo>
                        <a:pt x="3434" y="3746"/>
                      </a:lnTo>
                      <a:lnTo>
                        <a:pt x="3346" y="3752"/>
                      </a:lnTo>
                      <a:lnTo>
                        <a:pt x="3242" y="3756"/>
                      </a:lnTo>
                      <a:lnTo>
                        <a:pt x="3122" y="3760"/>
                      </a:lnTo>
                      <a:lnTo>
                        <a:pt x="2992" y="3758"/>
                      </a:lnTo>
                      <a:lnTo>
                        <a:pt x="2854" y="3754"/>
                      </a:lnTo>
                      <a:lnTo>
                        <a:pt x="2782" y="3750"/>
                      </a:lnTo>
                      <a:lnTo>
                        <a:pt x="2710" y="3744"/>
                      </a:lnTo>
                      <a:lnTo>
                        <a:pt x="2638" y="3736"/>
                      </a:lnTo>
                      <a:lnTo>
                        <a:pt x="2564" y="3728"/>
                      </a:lnTo>
                      <a:lnTo>
                        <a:pt x="2492" y="3716"/>
                      </a:lnTo>
                      <a:lnTo>
                        <a:pt x="2420" y="3704"/>
                      </a:lnTo>
                      <a:lnTo>
                        <a:pt x="2348" y="3690"/>
                      </a:lnTo>
                      <a:lnTo>
                        <a:pt x="2278" y="3672"/>
                      </a:lnTo>
                      <a:lnTo>
                        <a:pt x="2210" y="3654"/>
                      </a:lnTo>
                      <a:lnTo>
                        <a:pt x="2144" y="3632"/>
                      </a:lnTo>
                      <a:lnTo>
                        <a:pt x="2080" y="3608"/>
                      </a:lnTo>
                      <a:lnTo>
                        <a:pt x="2018" y="3580"/>
                      </a:lnTo>
                      <a:lnTo>
                        <a:pt x="1960" y="3550"/>
                      </a:lnTo>
                      <a:lnTo>
                        <a:pt x="1906" y="3518"/>
                      </a:lnTo>
                      <a:lnTo>
                        <a:pt x="1880" y="3500"/>
                      </a:lnTo>
                      <a:lnTo>
                        <a:pt x="1856" y="3482"/>
                      </a:lnTo>
                      <a:lnTo>
                        <a:pt x="1832" y="3462"/>
                      </a:lnTo>
                      <a:lnTo>
                        <a:pt x="1810" y="3444"/>
                      </a:lnTo>
                      <a:lnTo>
                        <a:pt x="1788" y="3422"/>
                      </a:lnTo>
                      <a:lnTo>
                        <a:pt x="1768" y="3400"/>
                      </a:lnTo>
                      <a:lnTo>
                        <a:pt x="1750" y="3378"/>
                      </a:lnTo>
                      <a:lnTo>
                        <a:pt x="1732" y="3356"/>
                      </a:lnTo>
                      <a:lnTo>
                        <a:pt x="1682" y="3280"/>
                      </a:lnTo>
                      <a:lnTo>
                        <a:pt x="1638" y="3208"/>
                      </a:lnTo>
                      <a:lnTo>
                        <a:pt x="1600" y="3138"/>
                      </a:lnTo>
                      <a:lnTo>
                        <a:pt x="1564" y="3072"/>
                      </a:lnTo>
                      <a:lnTo>
                        <a:pt x="1534" y="3010"/>
                      </a:lnTo>
                      <a:lnTo>
                        <a:pt x="1508" y="2948"/>
                      </a:lnTo>
                      <a:lnTo>
                        <a:pt x="1484" y="2890"/>
                      </a:lnTo>
                      <a:lnTo>
                        <a:pt x="1466" y="2836"/>
                      </a:lnTo>
                      <a:lnTo>
                        <a:pt x="1448" y="2782"/>
                      </a:lnTo>
                      <a:lnTo>
                        <a:pt x="1434" y="2732"/>
                      </a:lnTo>
                      <a:lnTo>
                        <a:pt x="1422" y="2684"/>
                      </a:lnTo>
                      <a:lnTo>
                        <a:pt x="1412" y="2640"/>
                      </a:lnTo>
                      <a:lnTo>
                        <a:pt x="1396" y="2556"/>
                      </a:lnTo>
                      <a:lnTo>
                        <a:pt x="1382" y="2480"/>
                      </a:lnTo>
                      <a:lnTo>
                        <a:pt x="1368" y="2414"/>
                      </a:lnTo>
                      <a:lnTo>
                        <a:pt x="1362" y="2384"/>
                      </a:lnTo>
                      <a:lnTo>
                        <a:pt x="1354" y="2356"/>
                      </a:lnTo>
                      <a:lnTo>
                        <a:pt x="1344" y="2330"/>
                      </a:lnTo>
                      <a:lnTo>
                        <a:pt x="1332" y="2306"/>
                      </a:lnTo>
                      <a:lnTo>
                        <a:pt x="1318" y="2284"/>
                      </a:lnTo>
                      <a:lnTo>
                        <a:pt x="1302" y="2264"/>
                      </a:lnTo>
                      <a:lnTo>
                        <a:pt x="1284" y="2244"/>
                      </a:lnTo>
                      <a:lnTo>
                        <a:pt x="1262" y="2226"/>
                      </a:lnTo>
                      <a:lnTo>
                        <a:pt x="1238" y="2210"/>
                      </a:lnTo>
                      <a:lnTo>
                        <a:pt x="1208" y="2196"/>
                      </a:lnTo>
                      <a:lnTo>
                        <a:pt x="1176" y="2182"/>
                      </a:lnTo>
                      <a:lnTo>
                        <a:pt x="1138" y="2172"/>
                      </a:lnTo>
                      <a:lnTo>
                        <a:pt x="1096" y="2160"/>
                      </a:lnTo>
                      <a:lnTo>
                        <a:pt x="1048" y="2152"/>
                      </a:lnTo>
                      <a:lnTo>
                        <a:pt x="1020" y="2150"/>
                      </a:lnTo>
                      <a:lnTo>
                        <a:pt x="992" y="2152"/>
                      </a:lnTo>
                      <a:lnTo>
                        <a:pt x="962" y="2158"/>
                      </a:lnTo>
                      <a:lnTo>
                        <a:pt x="928" y="2168"/>
                      </a:lnTo>
                      <a:lnTo>
                        <a:pt x="894" y="2180"/>
                      </a:lnTo>
                      <a:lnTo>
                        <a:pt x="858" y="2198"/>
                      </a:lnTo>
                      <a:lnTo>
                        <a:pt x="822" y="2216"/>
                      </a:lnTo>
                      <a:lnTo>
                        <a:pt x="784" y="2238"/>
                      </a:lnTo>
                      <a:lnTo>
                        <a:pt x="746" y="2262"/>
                      </a:lnTo>
                      <a:lnTo>
                        <a:pt x="706" y="2288"/>
                      </a:lnTo>
                      <a:lnTo>
                        <a:pt x="628" y="2346"/>
                      </a:lnTo>
                      <a:lnTo>
                        <a:pt x="548" y="2406"/>
                      </a:lnTo>
                      <a:lnTo>
                        <a:pt x="470" y="2472"/>
                      </a:lnTo>
                      <a:lnTo>
                        <a:pt x="396" y="2536"/>
                      </a:lnTo>
                      <a:lnTo>
                        <a:pt x="326" y="2600"/>
                      </a:lnTo>
                      <a:lnTo>
                        <a:pt x="206" y="2712"/>
                      </a:lnTo>
                      <a:lnTo>
                        <a:pt x="122" y="2790"/>
                      </a:lnTo>
                      <a:lnTo>
                        <a:pt x="98" y="2810"/>
                      </a:lnTo>
                      <a:lnTo>
                        <a:pt x="90" y="2816"/>
                      </a:lnTo>
                      <a:lnTo>
                        <a:pt x="88" y="2816"/>
                      </a:lnTo>
                      <a:lnTo>
                        <a:pt x="66" y="2798"/>
                      </a:lnTo>
                      <a:lnTo>
                        <a:pt x="50" y="2778"/>
                      </a:lnTo>
                      <a:lnTo>
                        <a:pt x="34" y="2758"/>
                      </a:lnTo>
                      <a:lnTo>
                        <a:pt x="22" y="2738"/>
                      </a:lnTo>
                      <a:lnTo>
                        <a:pt x="14" y="2718"/>
                      </a:lnTo>
                      <a:lnTo>
                        <a:pt x="6" y="2698"/>
                      </a:lnTo>
                      <a:lnTo>
                        <a:pt x="2" y="2676"/>
                      </a:lnTo>
                      <a:lnTo>
                        <a:pt x="0" y="2656"/>
                      </a:lnTo>
                      <a:lnTo>
                        <a:pt x="2" y="2634"/>
                      </a:lnTo>
                      <a:lnTo>
                        <a:pt x="6" y="2614"/>
                      </a:lnTo>
                      <a:lnTo>
                        <a:pt x="10" y="2592"/>
                      </a:lnTo>
                      <a:lnTo>
                        <a:pt x="18" y="2570"/>
                      </a:lnTo>
                      <a:lnTo>
                        <a:pt x="28" y="2550"/>
                      </a:lnTo>
                      <a:lnTo>
                        <a:pt x="40" y="2528"/>
                      </a:lnTo>
                      <a:lnTo>
                        <a:pt x="54" y="2506"/>
                      </a:lnTo>
                      <a:lnTo>
                        <a:pt x="70" y="2484"/>
                      </a:lnTo>
                      <a:lnTo>
                        <a:pt x="86" y="2462"/>
                      </a:lnTo>
                      <a:lnTo>
                        <a:pt x="106" y="2440"/>
                      </a:lnTo>
                      <a:lnTo>
                        <a:pt x="150" y="2396"/>
                      </a:lnTo>
                      <a:lnTo>
                        <a:pt x="198" y="2352"/>
                      </a:lnTo>
                      <a:lnTo>
                        <a:pt x="252" y="2308"/>
                      </a:lnTo>
                      <a:lnTo>
                        <a:pt x="310" y="2264"/>
                      </a:lnTo>
                      <a:lnTo>
                        <a:pt x="372" y="2222"/>
                      </a:lnTo>
                      <a:lnTo>
                        <a:pt x="438" y="2178"/>
                      </a:lnTo>
                      <a:lnTo>
                        <a:pt x="506" y="2136"/>
                      </a:lnTo>
                      <a:lnTo>
                        <a:pt x="576" y="2092"/>
                      </a:lnTo>
                      <a:lnTo>
                        <a:pt x="648" y="2052"/>
                      </a:lnTo>
                      <a:lnTo>
                        <a:pt x="792" y="1970"/>
                      </a:lnTo>
                      <a:lnTo>
                        <a:pt x="1066" y="1822"/>
                      </a:lnTo>
                      <a:lnTo>
                        <a:pt x="1186" y="1754"/>
                      </a:lnTo>
                      <a:lnTo>
                        <a:pt x="1240" y="1724"/>
                      </a:lnTo>
                      <a:lnTo>
                        <a:pt x="1288" y="1694"/>
                      </a:lnTo>
                      <a:lnTo>
                        <a:pt x="1332" y="1666"/>
                      </a:lnTo>
                      <a:lnTo>
                        <a:pt x="1368" y="1640"/>
                      </a:lnTo>
                      <a:lnTo>
                        <a:pt x="1396" y="1618"/>
                      </a:lnTo>
                      <a:lnTo>
                        <a:pt x="1418" y="1596"/>
                      </a:lnTo>
                      <a:lnTo>
                        <a:pt x="1462" y="1538"/>
                      </a:lnTo>
                      <a:lnTo>
                        <a:pt x="1506" y="1478"/>
                      </a:lnTo>
                      <a:lnTo>
                        <a:pt x="1548" y="1416"/>
                      </a:lnTo>
                      <a:lnTo>
                        <a:pt x="1588" y="1354"/>
                      </a:lnTo>
                      <a:lnTo>
                        <a:pt x="1626" y="1290"/>
                      </a:lnTo>
                      <a:lnTo>
                        <a:pt x="1662" y="1226"/>
                      </a:lnTo>
                      <a:lnTo>
                        <a:pt x="1734" y="1096"/>
                      </a:lnTo>
                      <a:lnTo>
                        <a:pt x="1804" y="966"/>
                      </a:lnTo>
                      <a:lnTo>
                        <a:pt x="1874" y="838"/>
                      </a:lnTo>
                      <a:lnTo>
                        <a:pt x="1912" y="776"/>
                      </a:lnTo>
                      <a:lnTo>
                        <a:pt x="1948" y="714"/>
                      </a:lnTo>
                      <a:lnTo>
                        <a:pt x="1988" y="652"/>
                      </a:lnTo>
                      <a:lnTo>
                        <a:pt x="2028" y="592"/>
                      </a:lnTo>
                      <a:lnTo>
                        <a:pt x="2070" y="534"/>
                      </a:lnTo>
                      <a:lnTo>
                        <a:pt x="2116" y="478"/>
                      </a:lnTo>
                      <a:lnTo>
                        <a:pt x="2162" y="424"/>
                      </a:lnTo>
                      <a:lnTo>
                        <a:pt x="2212" y="372"/>
                      </a:lnTo>
                      <a:lnTo>
                        <a:pt x="2264" y="322"/>
                      </a:lnTo>
                      <a:lnTo>
                        <a:pt x="2320" y="276"/>
                      </a:lnTo>
                      <a:lnTo>
                        <a:pt x="2380" y="232"/>
                      </a:lnTo>
                      <a:lnTo>
                        <a:pt x="2412" y="212"/>
                      </a:lnTo>
                      <a:lnTo>
                        <a:pt x="2444" y="192"/>
                      </a:lnTo>
                      <a:lnTo>
                        <a:pt x="2478" y="172"/>
                      </a:lnTo>
                      <a:lnTo>
                        <a:pt x="2512" y="154"/>
                      </a:lnTo>
                      <a:lnTo>
                        <a:pt x="2548" y="136"/>
                      </a:lnTo>
                      <a:lnTo>
                        <a:pt x="2584" y="120"/>
                      </a:lnTo>
                      <a:lnTo>
                        <a:pt x="2622" y="104"/>
                      </a:lnTo>
                      <a:lnTo>
                        <a:pt x="2662" y="90"/>
                      </a:lnTo>
                      <a:lnTo>
                        <a:pt x="2702" y="76"/>
                      </a:lnTo>
                      <a:lnTo>
                        <a:pt x="2742" y="64"/>
                      </a:lnTo>
                      <a:lnTo>
                        <a:pt x="2786" y="52"/>
                      </a:lnTo>
                      <a:lnTo>
                        <a:pt x="2830" y="42"/>
                      </a:lnTo>
                      <a:lnTo>
                        <a:pt x="2876" y="32"/>
                      </a:lnTo>
                      <a:lnTo>
                        <a:pt x="2922" y="24"/>
                      </a:lnTo>
                      <a:lnTo>
                        <a:pt x="2972" y="16"/>
                      </a:lnTo>
                      <a:lnTo>
                        <a:pt x="3022" y="10"/>
                      </a:lnTo>
                      <a:lnTo>
                        <a:pt x="3074" y="6"/>
                      </a:lnTo>
                      <a:lnTo>
                        <a:pt x="3126" y="2"/>
                      </a:lnTo>
                      <a:lnTo>
                        <a:pt x="3180" y="0"/>
                      </a:lnTo>
                      <a:lnTo>
                        <a:pt x="3234" y="0"/>
                      </a:lnTo>
                      <a:lnTo>
                        <a:pt x="3288" y="2"/>
                      </a:lnTo>
                      <a:lnTo>
                        <a:pt x="3340" y="4"/>
                      </a:lnTo>
                      <a:lnTo>
                        <a:pt x="3394" y="10"/>
                      </a:lnTo>
                      <a:lnTo>
                        <a:pt x="3446" y="18"/>
                      </a:lnTo>
                      <a:lnTo>
                        <a:pt x="3500" y="26"/>
                      </a:lnTo>
                      <a:lnTo>
                        <a:pt x="3552" y="36"/>
                      </a:lnTo>
                      <a:lnTo>
                        <a:pt x="3604" y="48"/>
                      </a:lnTo>
                      <a:lnTo>
                        <a:pt x="3654" y="60"/>
                      </a:lnTo>
                      <a:lnTo>
                        <a:pt x="3706" y="74"/>
                      </a:lnTo>
                      <a:lnTo>
                        <a:pt x="3758" y="90"/>
                      </a:lnTo>
                      <a:lnTo>
                        <a:pt x="3808" y="108"/>
                      </a:lnTo>
                      <a:lnTo>
                        <a:pt x="3858" y="126"/>
                      </a:lnTo>
                      <a:lnTo>
                        <a:pt x="3956" y="166"/>
                      </a:lnTo>
                      <a:lnTo>
                        <a:pt x="4054" y="210"/>
                      </a:lnTo>
                      <a:lnTo>
                        <a:pt x="4148" y="256"/>
                      </a:lnTo>
                      <a:lnTo>
                        <a:pt x="4240" y="306"/>
                      </a:lnTo>
                      <a:lnTo>
                        <a:pt x="4330" y="360"/>
                      </a:lnTo>
                      <a:lnTo>
                        <a:pt x="4418" y="414"/>
                      </a:lnTo>
                      <a:lnTo>
                        <a:pt x="4502" y="472"/>
                      </a:lnTo>
                      <a:lnTo>
                        <a:pt x="4582" y="530"/>
                      </a:lnTo>
                      <a:lnTo>
                        <a:pt x="4660" y="588"/>
                      </a:lnTo>
                      <a:lnTo>
                        <a:pt x="4736" y="646"/>
                      </a:lnTo>
                      <a:lnTo>
                        <a:pt x="4806" y="706"/>
                      </a:lnTo>
                      <a:lnTo>
                        <a:pt x="4874" y="762"/>
                      </a:lnTo>
                      <a:lnTo>
                        <a:pt x="4938" y="820"/>
                      </a:lnTo>
                      <a:lnTo>
                        <a:pt x="4998" y="874"/>
                      </a:lnTo>
                      <a:lnTo>
                        <a:pt x="5052" y="926"/>
                      </a:lnTo>
                      <a:lnTo>
                        <a:pt x="5150" y="1022"/>
                      </a:lnTo>
                      <a:lnTo>
                        <a:pt x="5228" y="1104"/>
                      </a:lnTo>
                      <a:lnTo>
                        <a:pt x="5284" y="1166"/>
                      </a:lnTo>
                      <a:lnTo>
                        <a:pt x="5332" y="1222"/>
                      </a:lnTo>
                      <a:close/>
                    </a:path>
                  </a:pathLst>
                </a:custGeom>
                <a:gradFill rotWithShape="1">
                  <a:gsLst>
                    <a:gs pos="0">
                      <a:srgbClr val="006D2A"/>
                    </a:gs>
                    <a:gs pos="50000">
                      <a:srgbClr val="009E41"/>
                    </a:gs>
                    <a:gs pos="100000">
                      <a:srgbClr val="00BD4F"/>
                    </a:gs>
                  </a:gsLst>
                  <a:lin ang="13500000" scaled="1"/>
                </a:grad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ndParaRPr>
                </a:p>
              </p:txBody>
            </p:sp>
            <p:sp>
              <p:nvSpPr>
                <p:cNvPr id="82" name="Freeform 7"/>
                <p:cNvSpPr>
                  <a:spLocks/>
                </p:cNvSpPr>
                <p:nvPr/>
              </p:nvSpPr>
              <p:spPr bwMode="auto">
                <a:xfrm>
                  <a:off x="-1769737" y="-2924173"/>
                  <a:ext cx="11157876" cy="4441577"/>
                </a:xfrm>
                <a:custGeom>
                  <a:avLst/>
                  <a:gdLst>
                    <a:gd name="T0" fmla="*/ 2382 w 7034"/>
                    <a:gd name="T1" fmla="*/ 1714 h 2792"/>
                    <a:gd name="T2" fmla="*/ 2542 w 7034"/>
                    <a:gd name="T3" fmla="*/ 1702 h 2792"/>
                    <a:gd name="T4" fmla="*/ 2734 w 7034"/>
                    <a:gd name="T5" fmla="*/ 1704 h 2792"/>
                    <a:gd name="T6" fmla="*/ 2954 w 7034"/>
                    <a:gd name="T7" fmla="*/ 1722 h 2792"/>
                    <a:gd name="T8" fmla="*/ 3462 w 7034"/>
                    <a:gd name="T9" fmla="*/ 1794 h 2792"/>
                    <a:gd name="T10" fmla="*/ 4032 w 7034"/>
                    <a:gd name="T11" fmla="*/ 1902 h 2792"/>
                    <a:gd name="T12" fmla="*/ 4632 w 7034"/>
                    <a:gd name="T13" fmla="*/ 2038 h 2792"/>
                    <a:gd name="T14" fmla="*/ 5422 w 7034"/>
                    <a:gd name="T15" fmla="*/ 2238 h 2792"/>
                    <a:gd name="T16" fmla="*/ 6430 w 7034"/>
                    <a:gd name="T17" fmla="*/ 2518 h 2792"/>
                    <a:gd name="T18" fmla="*/ 7034 w 7034"/>
                    <a:gd name="T19" fmla="*/ 2696 h 2792"/>
                    <a:gd name="T20" fmla="*/ 6804 w 7034"/>
                    <a:gd name="T21" fmla="*/ 2538 h 2792"/>
                    <a:gd name="T22" fmla="*/ 6368 w 7034"/>
                    <a:gd name="T23" fmla="*/ 2242 h 2792"/>
                    <a:gd name="T24" fmla="*/ 6054 w 7034"/>
                    <a:gd name="T25" fmla="*/ 2006 h 2792"/>
                    <a:gd name="T26" fmla="*/ 5848 w 7034"/>
                    <a:gd name="T27" fmla="*/ 1824 h 2792"/>
                    <a:gd name="T28" fmla="*/ 5694 w 7034"/>
                    <a:gd name="T29" fmla="*/ 1668 h 2792"/>
                    <a:gd name="T30" fmla="*/ 5540 w 7034"/>
                    <a:gd name="T31" fmla="*/ 1494 h 2792"/>
                    <a:gd name="T32" fmla="*/ 5384 w 7034"/>
                    <a:gd name="T33" fmla="*/ 1294 h 2792"/>
                    <a:gd name="T34" fmla="*/ 5282 w 7034"/>
                    <a:gd name="T35" fmla="*/ 1166 h 2792"/>
                    <a:gd name="T36" fmla="*/ 5050 w 7034"/>
                    <a:gd name="T37" fmla="*/ 926 h 2792"/>
                    <a:gd name="T38" fmla="*/ 4872 w 7034"/>
                    <a:gd name="T39" fmla="*/ 762 h 2792"/>
                    <a:gd name="T40" fmla="*/ 4658 w 7034"/>
                    <a:gd name="T41" fmla="*/ 588 h 2792"/>
                    <a:gd name="T42" fmla="*/ 4416 w 7034"/>
                    <a:gd name="T43" fmla="*/ 414 h 2792"/>
                    <a:gd name="T44" fmla="*/ 4146 w 7034"/>
                    <a:gd name="T45" fmla="*/ 256 h 2792"/>
                    <a:gd name="T46" fmla="*/ 3856 w 7034"/>
                    <a:gd name="T47" fmla="*/ 126 h 2792"/>
                    <a:gd name="T48" fmla="*/ 3704 w 7034"/>
                    <a:gd name="T49" fmla="*/ 74 h 2792"/>
                    <a:gd name="T50" fmla="*/ 3550 w 7034"/>
                    <a:gd name="T51" fmla="*/ 36 h 2792"/>
                    <a:gd name="T52" fmla="*/ 3392 w 7034"/>
                    <a:gd name="T53" fmla="*/ 10 h 2792"/>
                    <a:gd name="T54" fmla="*/ 3232 w 7034"/>
                    <a:gd name="T55" fmla="*/ 0 h 2792"/>
                    <a:gd name="T56" fmla="*/ 3124 w 7034"/>
                    <a:gd name="T57" fmla="*/ 2 h 2792"/>
                    <a:gd name="T58" fmla="*/ 2970 w 7034"/>
                    <a:gd name="T59" fmla="*/ 16 h 2792"/>
                    <a:gd name="T60" fmla="*/ 2828 w 7034"/>
                    <a:gd name="T61" fmla="*/ 42 h 2792"/>
                    <a:gd name="T62" fmla="*/ 2700 w 7034"/>
                    <a:gd name="T63" fmla="*/ 76 h 2792"/>
                    <a:gd name="T64" fmla="*/ 2582 w 7034"/>
                    <a:gd name="T65" fmla="*/ 120 h 2792"/>
                    <a:gd name="T66" fmla="*/ 2476 w 7034"/>
                    <a:gd name="T67" fmla="*/ 172 h 2792"/>
                    <a:gd name="T68" fmla="*/ 2378 w 7034"/>
                    <a:gd name="T69" fmla="*/ 232 h 2792"/>
                    <a:gd name="T70" fmla="*/ 2210 w 7034"/>
                    <a:gd name="T71" fmla="*/ 372 h 2792"/>
                    <a:gd name="T72" fmla="*/ 2068 w 7034"/>
                    <a:gd name="T73" fmla="*/ 534 h 2792"/>
                    <a:gd name="T74" fmla="*/ 1946 w 7034"/>
                    <a:gd name="T75" fmla="*/ 714 h 2792"/>
                    <a:gd name="T76" fmla="*/ 1802 w 7034"/>
                    <a:gd name="T77" fmla="*/ 966 h 2792"/>
                    <a:gd name="T78" fmla="*/ 1624 w 7034"/>
                    <a:gd name="T79" fmla="*/ 1290 h 2792"/>
                    <a:gd name="T80" fmla="*/ 1504 w 7034"/>
                    <a:gd name="T81" fmla="*/ 1478 h 2792"/>
                    <a:gd name="T82" fmla="*/ 1416 w 7034"/>
                    <a:gd name="T83" fmla="*/ 1596 h 2792"/>
                    <a:gd name="T84" fmla="*/ 1332 w 7034"/>
                    <a:gd name="T85" fmla="*/ 1666 h 2792"/>
                    <a:gd name="T86" fmla="*/ 1192 w 7034"/>
                    <a:gd name="T87" fmla="*/ 1752 h 2792"/>
                    <a:gd name="T88" fmla="*/ 666 w 7034"/>
                    <a:gd name="T89" fmla="*/ 2040 h 2792"/>
                    <a:gd name="T90" fmla="*/ 394 w 7034"/>
                    <a:gd name="T91" fmla="*/ 2206 h 2792"/>
                    <a:gd name="T92" fmla="*/ 218 w 7034"/>
                    <a:gd name="T93" fmla="*/ 2334 h 2792"/>
                    <a:gd name="T94" fmla="*/ 84 w 7034"/>
                    <a:gd name="T95" fmla="*/ 2464 h 2792"/>
                    <a:gd name="T96" fmla="*/ 38 w 7034"/>
                    <a:gd name="T97" fmla="*/ 2528 h 2792"/>
                    <a:gd name="T98" fmla="*/ 10 w 7034"/>
                    <a:gd name="T99" fmla="*/ 2592 h 2792"/>
                    <a:gd name="T100" fmla="*/ 0 w 7034"/>
                    <a:gd name="T101" fmla="*/ 2654 h 2792"/>
                    <a:gd name="T102" fmla="*/ 10 w 7034"/>
                    <a:gd name="T103" fmla="*/ 2714 h 2792"/>
                    <a:gd name="T104" fmla="*/ 44 w 7034"/>
                    <a:gd name="T105" fmla="*/ 2774 h 2792"/>
                    <a:gd name="T106" fmla="*/ 80 w 7034"/>
                    <a:gd name="T107" fmla="*/ 2746 h 2792"/>
                    <a:gd name="T108" fmla="*/ 242 w 7034"/>
                    <a:gd name="T109" fmla="*/ 2532 h 2792"/>
                    <a:gd name="T110" fmla="*/ 416 w 7034"/>
                    <a:gd name="T111" fmla="*/ 2358 h 2792"/>
                    <a:gd name="T112" fmla="*/ 600 w 7034"/>
                    <a:gd name="T113" fmla="*/ 2218 h 2792"/>
                    <a:gd name="T114" fmla="*/ 796 w 7034"/>
                    <a:gd name="T115" fmla="*/ 2106 h 2792"/>
                    <a:gd name="T116" fmla="*/ 1000 w 7034"/>
                    <a:gd name="T117" fmla="*/ 2018 h 2792"/>
                    <a:gd name="T118" fmla="*/ 1214 w 7034"/>
                    <a:gd name="T119" fmla="*/ 1950 h 2792"/>
                    <a:gd name="T120" fmla="*/ 1438 w 7034"/>
                    <a:gd name="T121" fmla="*/ 1894 h 2792"/>
                    <a:gd name="T122" fmla="*/ 1832 w 7034"/>
                    <a:gd name="T123" fmla="*/ 1816 h 2792"/>
                    <a:gd name="T124" fmla="*/ 2336 w 7034"/>
                    <a:gd name="T125" fmla="*/ 1722 h 27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7034"/>
                    <a:gd name="T190" fmla="*/ 0 h 2792"/>
                    <a:gd name="T191" fmla="*/ 7034 w 7034"/>
                    <a:gd name="T192" fmla="*/ 2792 h 279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7034" h="2792">
                      <a:moveTo>
                        <a:pt x="2336" y="1722"/>
                      </a:moveTo>
                      <a:lnTo>
                        <a:pt x="2336" y="1722"/>
                      </a:lnTo>
                      <a:lnTo>
                        <a:pt x="2382" y="1714"/>
                      </a:lnTo>
                      <a:lnTo>
                        <a:pt x="2432" y="1708"/>
                      </a:lnTo>
                      <a:lnTo>
                        <a:pt x="2484" y="1704"/>
                      </a:lnTo>
                      <a:lnTo>
                        <a:pt x="2542" y="1702"/>
                      </a:lnTo>
                      <a:lnTo>
                        <a:pt x="2602" y="1700"/>
                      </a:lnTo>
                      <a:lnTo>
                        <a:pt x="2666" y="1702"/>
                      </a:lnTo>
                      <a:lnTo>
                        <a:pt x="2734" y="1704"/>
                      </a:lnTo>
                      <a:lnTo>
                        <a:pt x="2804" y="1708"/>
                      </a:lnTo>
                      <a:lnTo>
                        <a:pt x="2878" y="1714"/>
                      </a:lnTo>
                      <a:lnTo>
                        <a:pt x="2954" y="1722"/>
                      </a:lnTo>
                      <a:lnTo>
                        <a:pt x="3114" y="1740"/>
                      </a:lnTo>
                      <a:lnTo>
                        <a:pt x="3284" y="1764"/>
                      </a:lnTo>
                      <a:lnTo>
                        <a:pt x="3462" y="1794"/>
                      </a:lnTo>
                      <a:lnTo>
                        <a:pt x="3646" y="1826"/>
                      </a:lnTo>
                      <a:lnTo>
                        <a:pt x="3836" y="1862"/>
                      </a:lnTo>
                      <a:lnTo>
                        <a:pt x="4032" y="1902"/>
                      </a:lnTo>
                      <a:lnTo>
                        <a:pt x="4230" y="1946"/>
                      </a:lnTo>
                      <a:lnTo>
                        <a:pt x="4430" y="1992"/>
                      </a:lnTo>
                      <a:lnTo>
                        <a:pt x="4632" y="2038"/>
                      </a:lnTo>
                      <a:lnTo>
                        <a:pt x="4834" y="2088"/>
                      </a:lnTo>
                      <a:lnTo>
                        <a:pt x="5032" y="2138"/>
                      </a:lnTo>
                      <a:lnTo>
                        <a:pt x="5422" y="2238"/>
                      </a:lnTo>
                      <a:lnTo>
                        <a:pt x="5792" y="2338"/>
                      </a:lnTo>
                      <a:lnTo>
                        <a:pt x="6132" y="2432"/>
                      </a:lnTo>
                      <a:lnTo>
                        <a:pt x="6430" y="2518"/>
                      </a:lnTo>
                      <a:lnTo>
                        <a:pt x="6680" y="2590"/>
                      </a:lnTo>
                      <a:lnTo>
                        <a:pt x="6870" y="2648"/>
                      </a:lnTo>
                      <a:lnTo>
                        <a:pt x="7034" y="2696"/>
                      </a:lnTo>
                      <a:lnTo>
                        <a:pt x="6918" y="2616"/>
                      </a:lnTo>
                      <a:lnTo>
                        <a:pt x="6804" y="2538"/>
                      </a:lnTo>
                      <a:lnTo>
                        <a:pt x="6582" y="2390"/>
                      </a:lnTo>
                      <a:lnTo>
                        <a:pt x="6474" y="2316"/>
                      </a:lnTo>
                      <a:lnTo>
                        <a:pt x="6368" y="2242"/>
                      </a:lnTo>
                      <a:lnTo>
                        <a:pt x="6262" y="2168"/>
                      </a:lnTo>
                      <a:lnTo>
                        <a:pt x="6158" y="2088"/>
                      </a:lnTo>
                      <a:lnTo>
                        <a:pt x="6054" y="2006"/>
                      </a:lnTo>
                      <a:lnTo>
                        <a:pt x="5952" y="1918"/>
                      </a:lnTo>
                      <a:lnTo>
                        <a:pt x="5900" y="1872"/>
                      </a:lnTo>
                      <a:lnTo>
                        <a:pt x="5848" y="1824"/>
                      </a:lnTo>
                      <a:lnTo>
                        <a:pt x="5798" y="1774"/>
                      </a:lnTo>
                      <a:lnTo>
                        <a:pt x="5746" y="1722"/>
                      </a:lnTo>
                      <a:lnTo>
                        <a:pt x="5694" y="1668"/>
                      </a:lnTo>
                      <a:lnTo>
                        <a:pt x="5642" y="1612"/>
                      </a:lnTo>
                      <a:lnTo>
                        <a:pt x="5592" y="1554"/>
                      </a:lnTo>
                      <a:lnTo>
                        <a:pt x="5540" y="1494"/>
                      </a:lnTo>
                      <a:lnTo>
                        <a:pt x="5488" y="1430"/>
                      </a:lnTo>
                      <a:lnTo>
                        <a:pt x="5436" y="1364"/>
                      </a:lnTo>
                      <a:lnTo>
                        <a:pt x="5384" y="1294"/>
                      </a:lnTo>
                      <a:lnTo>
                        <a:pt x="5330" y="1222"/>
                      </a:lnTo>
                      <a:lnTo>
                        <a:pt x="5282" y="1166"/>
                      </a:lnTo>
                      <a:lnTo>
                        <a:pt x="5226" y="1104"/>
                      </a:lnTo>
                      <a:lnTo>
                        <a:pt x="5148" y="1022"/>
                      </a:lnTo>
                      <a:lnTo>
                        <a:pt x="5050" y="926"/>
                      </a:lnTo>
                      <a:lnTo>
                        <a:pt x="4996" y="874"/>
                      </a:lnTo>
                      <a:lnTo>
                        <a:pt x="4936" y="820"/>
                      </a:lnTo>
                      <a:lnTo>
                        <a:pt x="4872" y="762"/>
                      </a:lnTo>
                      <a:lnTo>
                        <a:pt x="4804" y="706"/>
                      </a:lnTo>
                      <a:lnTo>
                        <a:pt x="4734" y="646"/>
                      </a:lnTo>
                      <a:lnTo>
                        <a:pt x="4658" y="588"/>
                      </a:lnTo>
                      <a:lnTo>
                        <a:pt x="4580" y="530"/>
                      </a:lnTo>
                      <a:lnTo>
                        <a:pt x="4500" y="472"/>
                      </a:lnTo>
                      <a:lnTo>
                        <a:pt x="4416" y="414"/>
                      </a:lnTo>
                      <a:lnTo>
                        <a:pt x="4328" y="360"/>
                      </a:lnTo>
                      <a:lnTo>
                        <a:pt x="4238" y="306"/>
                      </a:lnTo>
                      <a:lnTo>
                        <a:pt x="4146" y="256"/>
                      </a:lnTo>
                      <a:lnTo>
                        <a:pt x="4052" y="210"/>
                      </a:lnTo>
                      <a:lnTo>
                        <a:pt x="3954" y="166"/>
                      </a:lnTo>
                      <a:lnTo>
                        <a:pt x="3856" y="126"/>
                      </a:lnTo>
                      <a:lnTo>
                        <a:pt x="3806" y="108"/>
                      </a:lnTo>
                      <a:lnTo>
                        <a:pt x="3756" y="90"/>
                      </a:lnTo>
                      <a:lnTo>
                        <a:pt x="3704" y="74"/>
                      </a:lnTo>
                      <a:lnTo>
                        <a:pt x="3652" y="60"/>
                      </a:lnTo>
                      <a:lnTo>
                        <a:pt x="3602" y="48"/>
                      </a:lnTo>
                      <a:lnTo>
                        <a:pt x="3550" y="36"/>
                      </a:lnTo>
                      <a:lnTo>
                        <a:pt x="3498" y="26"/>
                      </a:lnTo>
                      <a:lnTo>
                        <a:pt x="3444" y="18"/>
                      </a:lnTo>
                      <a:lnTo>
                        <a:pt x="3392" y="10"/>
                      </a:lnTo>
                      <a:lnTo>
                        <a:pt x="3338" y="4"/>
                      </a:lnTo>
                      <a:lnTo>
                        <a:pt x="3286" y="2"/>
                      </a:lnTo>
                      <a:lnTo>
                        <a:pt x="3232" y="0"/>
                      </a:lnTo>
                      <a:lnTo>
                        <a:pt x="3178" y="0"/>
                      </a:lnTo>
                      <a:lnTo>
                        <a:pt x="3124" y="2"/>
                      </a:lnTo>
                      <a:lnTo>
                        <a:pt x="3072" y="6"/>
                      </a:lnTo>
                      <a:lnTo>
                        <a:pt x="3020" y="10"/>
                      </a:lnTo>
                      <a:lnTo>
                        <a:pt x="2970" y="16"/>
                      </a:lnTo>
                      <a:lnTo>
                        <a:pt x="2920" y="24"/>
                      </a:lnTo>
                      <a:lnTo>
                        <a:pt x="2874" y="32"/>
                      </a:lnTo>
                      <a:lnTo>
                        <a:pt x="2828" y="42"/>
                      </a:lnTo>
                      <a:lnTo>
                        <a:pt x="2784" y="52"/>
                      </a:lnTo>
                      <a:lnTo>
                        <a:pt x="2740" y="64"/>
                      </a:lnTo>
                      <a:lnTo>
                        <a:pt x="2700" y="76"/>
                      </a:lnTo>
                      <a:lnTo>
                        <a:pt x="2660" y="90"/>
                      </a:lnTo>
                      <a:lnTo>
                        <a:pt x="2620" y="104"/>
                      </a:lnTo>
                      <a:lnTo>
                        <a:pt x="2582" y="120"/>
                      </a:lnTo>
                      <a:lnTo>
                        <a:pt x="2546" y="136"/>
                      </a:lnTo>
                      <a:lnTo>
                        <a:pt x="2510" y="154"/>
                      </a:lnTo>
                      <a:lnTo>
                        <a:pt x="2476" y="172"/>
                      </a:lnTo>
                      <a:lnTo>
                        <a:pt x="2442" y="192"/>
                      </a:lnTo>
                      <a:lnTo>
                        <a:pt x="2410" y="212"/>
                      </a:lnTo>
                      <a:lnTo>
                        <a:pt x="2378" y="232"/>
                      </a:lnTo>
                      <a:lnTo>
                        <a:pt x="2318" y="276"/>
                      </a:lnTo>
                      <a:lnTo>
                        <a:pt x="2262" y="322"/>
                      </a:lnTo>
                      <a:lnTo>
                        <a:pt x="2210" y="372"/>
                      </a:lnTo>
                      <a:lnTo>
                        <a:pt x="2160" y="424"/>
                      </a:lnTo>
                      <a:lnTo>
                        <a:pt x="2114" y="478"/>
                      </a:lnTo>
                      <a:lnTo>
                        <a:pt x="2068" y="534"/>
                      </a:lnTo>
                      <a:lnTo>
                        <a:pt x="2026" y="592"/>
                      </a:lnTo>
                      <a:lnTo>
                        <a:pt x="1986" y="652"/>
                      </a:lnTo>
                      <a:lnTo>
                        <a:pt x="1946" y="714"/>
                      </a:lnTo>
                      <a:lnTo>
                        <a:pt x="1910" y="776"/>
                      </a:lnTo>
                      <a:lnTo>
                        <a:pt x="1872" y="838"/>
                      </a:lnTo>
                      <a:lnTo>
                        <a:pt x="1802" y="966"/>
                      </a:lnTo>
                      <a:lnTo>
                        <a:pt x="1732" y="1096"/>
                      </a:lnTo>
                      <a:lnTo>
                        <a:pt x="1660" y="1226"/>
                      </a:lnTo>
                      <a:lnTo>
                        <a:pt x="1624" y="1290"/>
                      </a:lnTo>
                      <a:lnTo>
                        <a:pt x="1586" y="1354"/>
                      </a:lnTo>
                      <a:lnTo>
                        <a:pt x="1546" y="1416"/>
                      </a:lnTo>
                      <a:lnTo>
                        <a:pt x="1504" y="1478"/>
                      </a:lnTo>
                      <a:lnTo>
                        <a:pt x="1460" y="1538"/>
                      </a:lnTo>
                      <a:lnTo>
                        <a:pt x="1416" y="1596"/>
                      </a:lnTo>
                      <a:lnTo>
                        <a:pt x="1394" y="1616"/>
                      </a:lnTo>
                      <a:lnTo>
                        <a:pt x="1366" y="1640"/>
                      </a:lnTo>
                      <a:lnTo>
                        <a:pt x="1332" y="1666"/>
                      </a:lnTo>
                      <a:lnTo>
                        <a:pt x="1290" y="1692"/>
                      </a:lnTo>
                      <a:lnTo>
                        <a:pt x="1244" y="1720"/>
                      </a:lnTo>
                      <a:lnTo>
                        <a:pt x="1192" y="1752"/>
                      </a:lnTo>
                      <a:lnTo>
                        <a:pt x="1074" y="1816"/>
                      </a:lnTo>
                      <a:lnTo>
                        <a:pt x="806" y="1962"/>
                      </a:lnTo>
                      <a:lnTo>
                        <a:pt x="666" y="2040"/>
                      </a:lnTo>
                      <a:lnTo>
                        <a:pt x="526" y="2122"/>
                      </a:lnTo>
                      <a:lnTo>
                        <a:pt x="458" y="2164"/>
                      </a:lnTo>
                      <a:lnTo>
                        <a:pt x="394" y="2206"/>
                      </a:lnTo>
                      <a:lnTo>
                        <a:pt x="330" y="2248"/>
                      </a:lnTo>
                      <a:lnTo>
                        <a:pt x="272" y="2292"/>
                      </a:lnTo>
                      <a:lnTo>
                        <a:pt x="218" y="2334"/>
                      </a:lnTo>
                      <a:lnTo>
                        <a:pt x="168" y="2378"/>
                      </a:lnTo>
                      <a:lnTo>
                        <a:pt x="122" y="2420"/>
                      </a:lnTo>
                      <a:lnTo>
                        <a:pt x="84" y="2464"/>
                      </a:lnTo>
                      <a:lnTo>
                        <a:pt x="66" y="2486"/>
                      </a:lnTo>
                      <a:lnTo>
                        <a:pt x="52" y="2506"/>
                      </a:lnTo>
                      <a:lnTo>
                        <a:pt x="38" y="2528"/>
                      </a:lnTo>
                      <a:lnTo>
                        <a:pt x="26" y="2550"/>
                      </a:lnTo>
                      <a:lnTo>
                        <a:pt x="16" y="2570"/>
                      </a:lnTo>
                      <a:lnTo>
                        <a:pt x="10" y="2592"/>
                      </a:lnTo>
                      <a:lnTo>
                        <a:pt x="4" y="2612"/>
                      </a:lnTo>
                      <a:lnTo>
                        <a:pt x="0" y="2632"/>
                      </a:lnTo>
                      <a:lnTo>
                        <a:pt x="0" y="2654"/>
                      </a:lnTo>
                      <a:lnTo>
                        <a:pt x="0" y="2674"/>
                      </a:lnTo>
                      <a:lnTo>
                        <a:pt x="4" y="2694"/>
                      </a:lnTo>
                      <a:lnTo>
                        <a:pt x="10" y="2714"/>
                      </a:lnTo>
                      <a:lnTo>
                        <a:pt x="18" y="2734"/>
                      </a:lnTo>
                      <a:lnTo>
                        <a:pt x="30" y="2754"/>
                      </a:lnTo>
                      <a:lnTo>
                        <a:pt x="44" y="2774"/>
                      </a:lnTo>
                      <a:lnTo>
                        <a:pt x="60" y="2792"/>
                      </a:lnTo>
                      <a:lnTo>
                        <a:pt x="80" y="2746"/>
                      </a:lnTo>
                      <a:lnTo>
                        <a:pt x="134" y="2670"/>
                      </a:lnTo>
                      <a:lnTo>
                        <a:pt x="188" y="2600"/>
                      </a:lnTo>
                      <a:lnTo>
                        <a:pt x="242" y="2532"/>
                      </a:lnTo>
                      <a:lnTo>
                        <a:pt x="300" y="2470"/>
                      </a:lnTo>
                      <a:lnTo>
                        <a:pt x="358" y="2412"/>
                      </a:lnTo>
                      <a:lnTo>
                        <a:pt x="416" y="2358"/>
                      </a:lnTo>
                      <a:lnTo>
                        <a:pt x="476" y="2308"/>
                      </a:lnTo>
                      <a:lnTo>
                        <a:pt x="538" y="2262"/>
                      </a:lnTo>
                      <a:lnTo>
                        <a:pt x="600" y="2218"/>
                      </a:lnTo>
                      <a:lnTo>
                        <a:pt x="664" y="2178"/>
                      </a:lnTo>
                      <a:lnTo>
                        <a:pt x="730" y="2142"/>
                      </a:lnTo>
                      <a:lnTo>
                        <a:pt x="796" y="2106"/>
                      </a:lnTo>
                      <a:lnTo>
                        <a:pt x="862" y="2076"/>
                      </a:lnTo>
                      <a:lnTo>
                        <a:pt x="930" y="2046"/>
                      </a:lnTo>
                      <a:lnTo>
                        <a:pt x="1000" y="2018"/>
                      </a:lnTo>
                      <a:lnTo>
                        <a:pt x="1070" y="1994"/>
                      </a:lnTo>
                      <a:lnTo>
                        <a:pt x="1142" y="1970"/>
                      </a:lnTo>
                      <a:lnTo>
                        <a:pt x="1214" y="1950"/>
                      </a:lnTo>
                      <a:lnTo>
                        <a:pt x="1288" y="1930"/>
                      </a:lnTo>
                      <a:lnTo>
                        <a:pt x="1362" y="1910"/>
                      </a:lnTo>
                      <a:lnTo>
                        <a:pt x="1438" y="1894"/>
                      </a:lnTo>
                      <a:lnTo>
                        <a:pt x="1514" y="1876"/>
                      </a:lnTo>
                      <a:lnTo>
                        <a:pt x="1670" y="1846"/>
                      </a:lnTo>
                      <a:lnTo>
                        <a:pt x="1832" y="1816"/>
                      </a:lnTo>
                      <a:lnTo>
                        <a:pt x="1996" y="1786"/>
                      </a:lnTo>
                      <a:lnTo>
                        <a:pt x="2164" y="1756"/>
                      </a:lnTo>
                      <a:lnTo>
                        <a:pt x="2336" y="1722"/>
                      </a:lnTo>
                      <a:close/>
                    </a:path>
                  </a:pathLst>
                </a:custGeom>
                <a:gradFill rotWithShape="1">
                  <a:gsLst>
                    <a:gs pos="0">
                      <a:srgbClr val="92D050"/>
                    </a:gs>
                    <a:gs pos="50000">
                      <a:srgbClr val="92D050"/>
                    </a:gs>
                    <a:gs pos="100000">
                      <a:srgbClr val="00BD4F"/>
                    </a:gs>
                  </a:gsLst>
                  <a:lin ang="13500000" scaled="1"/>
                </a:grad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ndParaRPr>
                </a:p>
              </p:txBody>
            </p:sp>
          </p:grpSp>
          <p:sp>
            <p:nvSpPr>
              <p:cNvPr id="80" name="Freeform 20"/>
              <p:cNvSpPr>
                <a:spLocks/>
              </p:cNvSpPr>
              <p:nvPr/>
            </p:nvSpPr>
            <p:spPr bwMode="auto">
              <a:xfrm>
                <a:off x="-398494" y="3092529"/>
                <a:ext cx="9960881" cy="1141606"/>
              </a:xfrm>
              <a:custGeom>
                <a:avLst/>
                <a:gdLst>
                  <a:gd name="T0" fmla="*/ 2292 w 6888"/>
                  <a:gd name="T1" fmla="*/ 112 h 1108"/>
                  <a:gd name="T2" fmla="*/ 2376 w 6888"/>
                  <a:gd name="T3" fmla="*/ 106 h 1108"/>
                  <a:gd name="T4" fmla="*/ 2472 w 6888"/>
                  <a:gd name="T5" fmla="*/ 104 h 1108"/>
                  <a:gd name="T6" fmla="*/ 2694 w 6888"/>
                  <a:gd name="T7" fmla="*/ 114 h 1108"/>
                  <a:gd name="T8" fmla="*/ 2956 w 6888"/>
                  <a:gd name="T9" fmla="*/ 142 h 1108"/>
                  <a:gd name="T10" fmla="*/ 3246 w 6888"/>
                  <a:gd name="T11" fmla="*/ 184 h 1108"/>
                  <a:gd name="T12" fmla="*/ 3564 w 6888"/>
                  <a:gd name="T13" fmla="*/ 238 h 1108"/>
                  <a:gd name="T14" fmla="*/ 3898 w 6888"/>
                  <a:gd name="T15" fmla="*/ 302 h 1108"/>
                  <a:gd name="T16" fmla="*/ 4244 w 6888"/>
                  <a:gd name="T17" fmla="*/ 376 h 1108"/>
                  <a:gd name="T18" fmla="*/ 4944 w 6888"/>
                  <a:gd name="T19" fmla="*/ 536 h 1108"/>
                  <a:gd name="T20" fmla="*/ 5616 w 6888"/>
                  <a:gd name="T21" fmla="*/ 704 h 1108"/>
                  <a:gd name="T22" fmla="*/ 6206 w 6888"/>
                  <a:gd name="T23" fmla="*/ 862 h 1108"/>
                  <a:gd name="T24" fmla="*/ 6664 w 6888"/>
                  <a:gd name="T25" fmla="*/ 990 h 1108"/>
                  <a:gd name="T26" fmla="*/ 6826 w 6888"/>
                  <a:gd name="T27" fmla="*/ 1038 h 1108"/>
                  <a:gd name="T28" fmla="*/ 6888 w 6888"/>
                  <a:gd name="T29" fmla="*/ 1016 h 1108"/>
                  <a:gd name="T30" fmla="*/ 6744 w 6888"/>
                  <a:gd name="T31" fmla="*/ 918 h 1108"/>
                  <a:gd name="T32" fmla="*/ 6346 w 6888"/>
                  <a:gd name="T33" fmla="*/ 802 h 1108"/>
                  <a:gd name="T34" fmla="*/ 5808 w 6888"/>
                  <a:gd name="T35" fmla="*/ 656 h 1108"/>
                  <a:gd name="T36" fmla="*/ 5176 w 6888"/>
                  <a:gd name="T37" fmla="*/ 492 h 1108"/>
                  <a:gd name="T38" fmla="*/ 4498 w 6888"/>
                  <a:gd name="T39" fmla="*/ 328 h 1108"/>
                  <a:gd name="T40" fmla="*/ 3988 w 6888"/>
                  <a:gd name="T41" fmla="*/ 216 h 1108"/>
                  <a:gd name="T42" fmla="*/ 3658 w 6888"/>
                  <a:gd name="T43" fmla="*/ 150 h 1108"/>
                  <a:gd name="T44" fmla="*/ 3344 w 6888"/>
                  <a:gd name="T45" fmla="*/ 94 h 1108"/>
                  <a:gd name="T46" fmla="*/ 3050 w 6888"/>
                  <a:gd name="T47" fmla="*/ 50 h 1108"/>
                  <a:gd name="T48" fmla="*/ 2784 w 6888"/>
                  <a:gd name="T49" fmla="*/ 18 h 1108"/>
                  <a:gd name="T50" fmla="*/ 2550 w 6888"/>
                  <a:gd name="T51" fmla="*/ 2 h 1108"/>
                  <a:gd name="T52" fmla="*/ 2402 w 6888"/>
                  <a:gd name="T53" fmla="*/ 2 h 1108"/>
                  <a:gd name="T54" fmla="*/ 2314 w 6888"/>
                  <a:gd name="T55" fmla="*/ 8 h 1108"/>
                  <a:gd name="T56" fmla="*/ 2276 w 6888"/>
                  <a:gd name="T57" fmla="*/ 12 h 1108"/>
                  <a:gd name="T58" fmla="*/ 1774 w 6888"/>
                  <a:gd name="T59" fmla="*/ 86 h 1108"/>
                  <a:gd name="T60" fmla="*/ 1458 w 6888"/>
                  <a:gd name="T61" fmla="*/ 142 h 1108"/>
                  <a:gd name="T62" fmla="*/ 1306 w 6888"/>
                  <a:gd name="T63" fmla="*/ 176 h 1108"/>
                  <a:gd name="T64" fmla="*/ 1158 w 6888"/>
                  <a:gd name="T65" fmla="*/ 216 h 1108"/>
                  <a:gd name="T66" fmla="*/ 1014 w 6888"/>
                  <a:gd name="T67" fmla="*/ 262 h 1108"/>
                  <a:gd name="T68" fmla="*/ 874 w 6888"/>
                  <a:gd name="T69" fmla="*/ 318 h 1108"/>
                  <a:gd name="T70" fmla="*/ 738 w 6888"/>
                  <a:gd name="T71" fmla="*/ 382 h 1108"/>
                  <a:gd name="T72" fmla="*/ 606 w 6888"/>
                  <a:gd name="T73" fmla="*/ 458 h 1108"/>
                  <a:gd name="T74" fmla="*/ 480 w 6888"/>
                  <a:gd name="T75" fmla="*/ 544 h 1108"/>
                  <a:gd name="T76" fmla="*/ 358 w 6888"/>
                  <a:gd name="T77" fmla="*/ 644 h 1108"/>
                  <a:gd name="T78" fmla="*/ 240 w 6888"/>
                  <a:gd name="T79" fmla="*/ 758 h 1108"/>
                  <a:gd name="T80" fmla="*/ 128 w 6888"/>
                  <a:gd name="T81" fmla="*/ 890 h 1108"/>
                  <a:gd name="T82" fmla="*/ 20 w 6888"/>
                  <a:gd name="T83" fmla="*/ 1036 h 1108"/>
                  <a:gd name="T84" fmla="*/ 0 w 6888"/>
                  <a:gd name="T85" fmla="*/ 1084 h 1108"/>
                  <a:gd name="T86" fmla="*/ 26 w 6888"/>
                  <a:gd name="T87" fmla="*/ 1108 h 1108"/>
                  <a:gd name="T88" fmla="*/ 32 w 6888"/>
                  <a:gd name="T89" fmla="*/ 1104 h 1108"/>
                  <a:gd name="T90" fmla="*/ 108 w 6888"/>
                  <a:gd name="T91" fmla="*/ 1034 h 1108"/>
                  <a:gd name="T92" fmla="*/ 160 w 6888"/>
                  <a:gd name="T93" fmla="*/ 968 h 1108"/>
                  <a:gd name="T94" fmla="*/ 268 w 6888"/>
                  <a:gd name="T95" fmla="*/ 846 h 1108"/>
                  <a:gd name="T96" fmla="*/ 380 w 6888"/>
                  <a:gd name="T97" fmla="*/ 738 h 1108"/>
                  <a:gd name="T98" fmla="*/ 496 w 6888"/>
                  <a:gd name="T99" fmla="*/ 640 h 1108"/>
                  <a:gd name="T100" fmla="*/ 616 w 6888"/>
                  <a:gd name="T101" fmla="*/ 556 h 1108"/>
                  <a:gd name="T102" fmla="*/ 740 w 6888"/>
                  <a:gd name="T103" fmla="*/ 482 h 1108"/>
                  <a:gd name="T104" fmla="*/ 870 w 6888"/>
                  <a:gd name="T105" fmla="*/ 420 h 1108"/>
                  <a:gd name="T106" fmla="*/ 1002 w 6888"/>
                  <a:gd name="T107" fmla="*/ 364 h 1108"/>
                  <a:gd name="T108" fmla="*/ 1138 w 6888"/>
                  <a:gd name="T109" fmla="*/ 316 h 1108"/>
                  <a:gd name="T110" fmla="*/ 1278 w 6888"/>
                  <a:gd name="T111" fmla="*/ 276 h 1108"/>
                  <a:gd name="T112" fmla="*/ 1424 w 6888"/>
                  <a:gd name="T113" fmla="*/ 242 h 1108"/>
                  <a:gd name="T114" fmla="*/ 1648 w 6888"/>
                  <a:gd name="T115" fmla="*/ 198 h 1108"/>
                  <a:gd name="T116" fmla="*/ 1962 w 6888"/>
                  <a:gd name="T117" fmla="*/ 152 h 1108"/>
                  <a:gd name="T118" fmla="*/ 2292 w 6888"/>
                  <a:gd name="T119" fmla="*/ 112 h 110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6888"/>
                  <a:gd name="T181" fmla="*/ 0 h 1108"/>
                  <a:gd name="T182" fmla="*/ 6888 w 6888"/>
                  <a:gd name="T183" fmla="*/ 1108 h 110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6888" h="1108">
                    <a:moveTo>
                      <a:pt x="2292" y="112"/>
                    </a:moveTo>
                    <a:lnTo>
                      <a:pt x="2292" y="112"/>
                    </a:lnTo>
                    <a:lnTo>
                      <a:pt x="2332" y="108"/>
                    </a:lnTo>
                    <a:lnTo>
                      <a:pt x="2376" y="106"/>
                    </a:lnTo>
                    <a:lnTo>
                      <a:pt x="2422" y="104"/>
                    </a:lnTo>
                    <a:lnTo>
                      <a:pt x="2472" y="104"/>
                    </a:lnTo>
                    <a:lnTo>
                      <a:pt x="2578" y="106"/>
                    </a:lnTo>
                    <a:lnTo>
                      <a:pt x="2694" y="114"/>
                    </a:lnTo>
                    <a:lnTo>
                      <a:pt x="2820" y="126"/>
                    </a:lnTo>
                    <a:lnTo>
                      <a:pt x="2956" y="142"/>
                    </a:lnTo>
                    <a:lnTo>
                      <a:pt x="3098" y="160"/>
                    </a:lnTo>
                    <a:lnTo>
                      <a:pt x="3246" y="184"/>
                    </a:lnTo>
                    <a:lnTo>
                      <a:pt x="3402" y="210"/>
                    </a:lnTo>
                    <a:lnTo>
                      <a:pt x="3564" y="238"/>
                    </a:lnTo>
                    <a:lnTo>
                      <a:pt x="3728" y="270"/>
                    </a:lnTo>
                    <a:lnTo>
                      <a:pt x="3898" y="302"/>
                    </a:lnTo>
                    <a:lnTo>
                      <a:pt x="4070" y="338"/>
                    </a:lnTo>
                    <a:lnTo>
                      <a:pt x="4244" y="376"/>
                    </a:lnTo>
                    <a:lnTo>
                      <a:pt x="4594" y="454"/>
                    </a:lnTo>
                    <a:lnTo>
                      <a:pt x="4944" y="536"/>
                    </a:lnTo>
                    <a:lnTo>
                      <a:pt x="5288" y="622"/>
                    </a:lnTo>
                    <a:lnTo>
                      <a:pt x="5616" y="704"/>
                    </a:lnTo>
                    <a:lnTo>
                      <a:pt x="5924" y="786"/>
                    </a:lnTo>
                    <a:lnTo>
                      <a:pt x="6206" y="862"/>
                    </a:lnTo>
                    <a:lnTo>
                      <a:pt x="6454" y="930"/>
                    </a:lnTo>
                    <a:lnTo>
                      <a:pt x="6664" y="990"/>
                    </a:lnTo>
                    <a:lnTo>
                      <a:pt x="6826" y="1038"/>
                    </a:lnTo>
                    <a:lnTo>
                      <a:pt x="6888" y="1016"/>
                    </a:lnTo>
                    <a:lnTo>
                      <a:pt x="6744" y="918"/>
                    </a:lnTo>
                    <a:lnTo>
                      <a:pt x="6566" y="866"/>
                    </a:lnTo>
                    <a:lnTo>
                      <a:pt x="6346" y="802"/>
                    </a:lnTo>
                    <a:lnTo>
                      <a:pt x="6092" y="732"/>
                    </a:lnTo>
                    <a:lnTo>
                      <a:pt x="5808" y="656"/>
                    </a:lnTo>
                    <a:lnTo>
                      <a:pt x="5500" y="574"/>
                    </a:lnTo>
                    <a:lnTo>
                      <a:pt x="5176" y="492"/>
                    </a:lnTo>
                    <a:lnTo>
                      <a:pt x="4840" y="410"/>
                    </a:lnTo>
                    <a:lnTo>
                      <a:pt x="4498" y="328"/>
                    </a:lnTo>
                    <a:lnTo>
                      <a:pt x="4156" y="252"/>
                    </a:lnTo>
                    <a:lnTo>
                      <a:pt x="3988" y="216"/>
                    </a:lnTo>
                    <a:lnTo>
                      <a:pt x="3822" y="182"/>
                    </a:lnTo>
                    <a:lnTo>
                      <a:pt x="3658" y="150"/>
                    </a:lnTo>
                    <a:lnTo>
                      <a:pt x="3498" y="122"/>
                    </a:lnTo>
                    <a:lnTo>
                      <a:pt x="3344" y="94"/>
                    </a:lnTo>
                    <a:lnTo>
                      <a:pt x="3194" y="70"/>
                    </a:lnTo>
                    <a:lnTo>
                      <a:pt x="3050" y="50"/>
                    </a:lnTo>
                    <a:lnTo>
                      <a:pt x="2914" y="32"/>
                    </a:lnTo>
                    <a:lnTo>
                      <a:pt x="2784" y="18"/>
                    </a:lnTo>
                    <a:lnTo>
                      <a:pt x="2662" y="8"/>
                    </a:lnTo>
                    <a:lnTo>
                      <a:pt x="2550" y="2"/>
                    </a:lnTo>
                    <a:lnTo>
                      <a:pt x="2448" y="0"/>
                    </a:lnTo>
                    <a:lnTo>
                      <a:pt x="2402" y="2"/>
                    </a:lnTo>
                    <a:lnTo>
                      <a:pt x="2356" y="4"/>
                    </a:lnTo>
                    <a:lnTo>
                      <a:pt x="2314" y="8"/>
                    </a:lnTo>
                    <a:lnTo>
                      <a:pt x="2276" y="12"/>
                    </a:lnTo>
                    <a:lnTo>
                      <a:pt x="1938" y="60"/>
                    </a:lnTo>
                    <a:lnTo>
                      <a:pt x="1774" y="86"/>
                    </a:lnTo>
                    <a:lnTo>
                      <a:pt x="1614" y="112"/>
                    </a:lnTo>
                    <a:lnTo>
                      <a:pt x="1458" y="142"/>
                    </a:lnTo>
                    <a:lnTo>
                      <a:pt x="1382" y="158"/>
                    </a:lnTo>
                    <a:lnTo>
                      <a:pt x="1306" y="176"/>
                    </a:lnTo>
                    <a:lnTo>
                      <a:pt x="1232" y="194"/>
                    </a:lnTo>
                    <a:lnTo>
                      <a:pt x="1158" y="216"/>
                    </a:lnTo>
                    <a:lnTo>
                      <a:pt x="1086" y="238"/>
                    </a:lnTo>
                    <a:lnTo>
                      <a:pt x="1014" y="262"/>
                    </a:lnTo>
                    <a:lnTo>
                      <a:pt x="942" y="288"/>
                    </a:lnTo>
                    <a:lnTo>
                      <a:pt x="874" y="318"/>
                    </a:lnTo>
                    <a:lnTo>
                      <a:pt x="804" y="348"/>
                    </a:lnTo>
                    <a:lnTo>
                      <a:pt x="738" y="382"/>
                    </a:lnTo>
                    <a:lnTo>
                      <a:pt x="672" y="418"/>
                    </a:lnTo>
                    <a:lnTo>
                      <a:pt x="606" y="458"/>
                    </a:lnTo>
                    <a:lnTo>
                      <a:pt x="542" y="500"/>
                    </a:lnTo>
                    <a:lnTo>
                      <a:pt x="480" y="544"/>
                    </a:lnTo>
                    <a:lnTo>
                      <a:pt x="418" y="592"/>
                    </a:lnTo>
                    <a:lnTo>
                      <a:pt x="358" y="644"/>
                    </a:lnTo>
                    <a:lnTo>
                      <a:pt x="298" y="700"/>
                    </a:lnTo>
                    <a:lnTo>
                      <a:pt x="240" y="758"/>
                    </a:lnTo>
                    <a:lnTo>
                      <a:pt x="184" y="822"/>
                    </a:lnTo>
                    <a:lnTo>
                      <a:pt x="128" y="890"/>
                    </a:lnTo>
                    <a:lnTo>
                      <a:pt x="74" y="960"/>
                    </a:lnTo>
                    <a:lnTo>
                      <a:pt x="20" y="1036"/>
                    </a:lnTo>
                    <a:lnTo>
                      <a:pt x="0" y="1084"/>
                    </a:lnTo>
                    <a:lnTo>
                      <a:pt x="26" y="1108"/>
                    </a:lnTo>
                    <a:lnTo>
                      <a:pt x="28" y="1106"/>
                    </a:lnTo>
                    <a:lnTo>
                      <a:pt x="32" y="1104"/>
                    </a:lnTo>
                    <a:lnTo>
                      <a:pt x="50" y="1090"/>
                    </a:lnTo>
                    <a:lnTo>
                      <a:pt x="108" y="1034"/>
                    </a:lnTo>
                    <a:lnTo>
                      <a:pt x="160" y="968"/>
                    </a:lnTo>
                    <a:lnTo>
                      <a:pt x="214" y="906"/>
                    </a:lnTo>
                    <a:lnTo>
                      <a:pt x="268" y="846"/>
                    </a:lnTo>
                    <a:lnTo>
                      <a:pt x="324" y="790"/>
                    </a:lnTo>
                    <a:lnTo>
                      <a:pt x="380" y="738"/>
                    </a:lnTo>
                    <a:lnTo>
                      <a:pt x="438" y="688"/>
                    </a:lnTo>
                    <a:lnTo>
                      <a:pt x="496" y="640"/>
                    </a:lnTo>
                    <a:lnTo>
                      <a:pt x="556" y="598"/>
                    </a:lnTo>
                    <a:lnTo>
                      <a:pt x="616" y="556"/>
                    </a:lnTo>
                    <a:lnTo>
                      <a:pt x="678" y="518"/>
                    </a:lnTo>
                    <a:lnTo>
                      <a:pt x="740" y="482"/>
                    </a:lnTo>
                    <a:lnTo>
                      <a:pt x="804" y="450"/>
                    </a:lnTo>
                    <a:lnTo>
                      <a:pt x="870" y="420"/>
                    </a:lnTo>
                    <a:lnTo>
                      <a:pt x="934" y="390"/>
                    </a:lnTo>
                    <a:lnTo>
                      <a:pt x="1002" y="364"/>
                    </a:lnTo>
                    <a:lnTo>
                      <a:pt x="1070" y="340"/>
                    </a:lnTo>
                    <a:lnTo>
                      <a:pt x="1138" y="316"/>
                    </a:lnTo>
                    <a:lnTo>
                      <a:pt x="1208" y="296"/>
                    </a:lnTo>
                    <a:lnTo>
                      <a:pt x="1278" y="276"/>
                    </a:lnTo>
                    <a:lnTo>
                      <a:pt x="1350" y="258"/>
                    </a:lnTo>
                    <a:lnTo>
                      <a:pt x="1424" y="242"/>
                    </a:lnTo>
                    <a:lnTo>
                      <a:pt x="1498" y="226"/>
                    </a:lnTo>
                    <a:lnTo>
                      <a:pt x="1648" y="198"/>
                    </a:lnTo>
                    <a:lnTo>
                      <a:pt x="1804" y="174"/>
                    </a:lnTo>
                    <a:lnTo>
                      <a:pt x="1962" y="152"/>
                    </a:lnTo>
                    <a:lnTo>
                      <a:pt x="2126" y="132"/>
                    </a:lnTo>
                    <a:lnTo>
                      <a:pt x="2292" y="112"/>
                    </a:lnTo>
                    <a:close/>
                  </a:path>
                </a:pathLst>
              </a:custGeom>
              <a:gradFill rotWithShape="1">
                <a:gsLst>
                  <a:gs pos="0">
                    <a:srgbClr val="006D2A"/>
                  </a:gs>
                  <a:gs pos="92999">
                    <a:srgbClr val="008E39"/>
                  </a:gs>
                  <a:gs pos="100000">
                    <a:srgbClr val="007432"/>
                  </a:gs>
                </a:gsLst>
                <a:lin ang="13500000" scaled="1"/>
              </a:grad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ndParaRPr>
              </a:p>
            </p:txBody>
          </p:sp>
        </p:grpSp>
      </p:grpSp>
      <p:sp>
        <p:nvSpPr>
          <p:cNvPr id="106" name="Rektangel 14"/>
          <p:cNvSpPr/>
          <p:nvPr/>
        </p:nvSpPr>
        <p:spPr bwMode="auto">
          <a:xfrm>
            <a:off x="6215801" y="4035398"/>
            <a:ext cx="1977579" cy="830997"/>
          </a:xfrm>
          <a:prstGeom prst="rect">
            <a:avLst/>
          </a:prstGeom>
        </p:spPr>
        <p:txBody>
          <a:bodyPr wrap="square">
            <a:spAutoFit/>
          </a:bodyPr>
          <a:lstStyle/>
          <a:p>
            <a:pPr algn="ctr" fontAlgn="auto">
              <a:spcBef>
                <a:spcPts val="0"/>
              </a:spcBef>
              <a:spcAft>
                <a:spcPts val="0"/>
              </a:spcAft>
              <a:defRPr/>
            </a:pPr>
            <a:r>
              <a:rPr lang="tr-TR" sz="2400" b="1" kern="0" noProof="1" smtClean="0">
                <a:solidFill>
                  <a:schemeClr val="tx2">
                    <a:lumMod val="50000"/>
                  </a:schemeClr>
                </a:solidFill>
                <a:latin typeface="Calibri" pitchFamily="34" charset="0"/>
                <a:cs typeface="Arial" charset="0"/>
              </a:rPr>
              <a:t>Özel Entegrasyon</a:t>
            </a:r>
            <a:endParaRPr lang="da-DK" sz="2800" kern="0" dirty="0">
              <a:solidFill>
                <a:schemeClr val="tx2">
                  <a:lumMod val="50000"/>
                </a:schemeClr>
              </a:solidFill>
              <a:latin typeface="Arial" pitchFamily="34" charset="0"/>
            </a:endParaRPr>
          </a:p>
        </p:txBody>
      </p:sp>
      <p:sp>
        <p:nvSpPr>
          <p:cNvPr id="17" name="Rektangel 16"/>
          <p:cNvSpPr/>
          <p:nvPr/>
        </p:nvSpPr>
        <p:spPr bwMode="auto">
          <a:xfrm>
            <a:off x="765747" y="3861048"/>
            <a:ext cx="1764642" cy="830997"/>
          </a:xfrm>
          <a:prstGeom prst="rect">
            <a:avLst/>
          </a:prstGeom>
        </p:spPr>
        <p:txBody>
          <a:bodyPr wrap="square">
            <a:spAutoFit/>
          </a:bodyPr>
          <a:lstStyle/>
          <a:p>
            <a:pPr fontAlgn="auto">
              <a:spcBef>
                <a:spcPts val="0"/>
              </a:spcBef>
              <a:spcAft>
                <a:spcPts val="0"/>
              </a:spcAft>
              <a:defRPr/>
            </a:pPr>
            <a:r>
              <a:rPr lang="tr-TR" sz="2400" b="1" kern="0" noProof="1" smtClean="0">
                <a:solidFill>
                  <a:schemeClr val="bg1"/>
                </a:solidFill>
                <a:latin typeface="Calibri" pitchFamily="34" charset="0"/>
                <a:cs typeface="Arial" charset="0"/>
              </a:rPr>
              <a:t>e – Fatura Portal</a:t>
            </a:r>
            <a:endParaRPr lang="da-DK" sz="3200" kern="0" dirty="0">
              <a:solidFill>
                <a:schemeClr val="bg1"/>
              </a:solidFill>
              <a:latin typeface="Arial" pitchFamily="34" charset="0"/>
            </a:endParaRPr>
          </a:p>
        </p:txBody>
      </p:sp>
      <p:pic>
        <p:nvPicPr>
          <p:cNvPr id="110" name="Picture 2"/>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9067" t="9932" r="11889" b="16671"/>
          <a:stretch/>
        </p:blipFill>
        <p:spPr bwMode="auto">
          <a:xfrm rot="20097013">
            <a:off x="233224" y="4971484"/>
            <a:ext cx="1755508" cy="136232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78" name="Gruppe 408"/>
          <p:cNvGrpSpPr>
            <a:grpSpLocks/>
          </p:cNvGrpSpPr>
          <p:nvPr/>
        </p:nvGrpSpPr>
        <p:grpSpPr bwMode="auto">
          <a:xfrm>
            <a:off x="2553195" y="3861048"/>
            <a:ext cx="1334295" cy="1054599"/>
            <a:chOff x="3584575" y="3621705"/>
            <a:chExt cx="1966913" cy="2061545"/>
          </a:xfrm>
        </p:grpSpPr>
        <p:grpSp>
          <p:nvGrpSpPr>
            <p:cNvPr id="79" name="Gruppe 530"/>
            <p:cNvGrpSpPr>
              <a:grpSpLocks/>
            </p:cNvGrpSpPr>
            <p:nvPr/>
          </p:nvGrpSpPr>
          <p:grpSpPr bwMode="auto">
            <a:xfrm>
              <a:off x="3738563" y="3621705"/>
              <a:ext cx="1521618" cy="1519240"/>
              <a:chOff x="4018280" y="2291865"/>
              <a:chExt cx="1013460" cy="1013462"/>
            </a:xfrm>
          </p:grpSpPr>
          <p:sp>
            <p:nvSpPr>
              <p:cNvPr id="88" name="Ellipse 235"/>
              <p:cNvSpPr/>
              <p:nvPr/>
            </p:nvSpPr>
            <p:spPr>
              <a:xfrm>
                <a:off x="4018280" y="2291865"/>
                <a:ext cx="1013460" cy="1013462"/>
              </a:xfrm>
              <a:prstGeom prst="ellipse">
                <a:avLst/>
              </a:prstGeom>
              <a:solidFill>
                <a:schemeClr val="bg1">
                  <a:lumMod val="85000"/>
                </a:schemeClr>
              </a:solidFill>
              <a:ln w="9525" cap="flat" cmpd="sng" algn="ctr">
                <a:noFill/>
                <a:prstDash val="solid"/>
              </a:ln>
              <a:effectLst/>
            </p:spPr>
            <p:txBody>
              <a:bodyPr anchor="ctr"/>
              <a:lstStyle/>
              <a:p>
                <a:pPr algn="ctr" fontAlgn="auto">
                  <a:spcBef>
                    <a:spcPts val="0"/>
                  </a:spcBef>
                  <a:spcAft>
                    <a:spcPts val="0"/>
                  </a:spcAft>
                  <a:defRPr/>
                </a:pPr>
                <a:endParaRPr lang="da-DK" kern="0" dirty="0">
                  <a:solidFill>
                    <a:sysClr val="window" lastClr="FFFFFF"/>
                  </a:solidFill>
                  <a:latin typeface="Calibri"/>
                  <a:ea typeface="ＭＳ Ｐゴシック" pitchFamily="-97" charset="-128"/>
                  <a:cs typeface="+mn-cs"/>
                </a:endParaRPr>
              </a:p>
            </p:txBody>
          </p:sp>
          <p:grpSp>
            <p:nvGrpSpPr>
              <p:cNvPr id="89" name="Gruppe 352"/>
              <p:cNvGrpSpPr>
                <a:grpSpLocks/>
              </p:cNvGrpSpPr>
              <p:nvPr/>
            </p:nvGrpSpPr>
            <p:grpSpPr bwMode="auto">
              <a:xfrm>
                <a:off x="4244617" y="2571374"/>
                <a:ext cx="525503" cy="640456"/>
                <a:chOff x="4768533" y="2411730"/>
                <a:chExt cx="406400" cy="495300"/>
              </a:xfrm>
            </p:grpSpPr>
            <p:sp>
              <p:nvSpPr>
                <p:cNvPr id="94" name="Freeform 21"/>
                <p:cNvSpPr>
                  <a:spLocks noEditPoints="1"/>
                </p:cNvSpPr>
                <p:nvPr/>
              </p:nvSpPr>
              <p:spPr bwMode="auto">
                <a:xfrm>
                  <a:off x="4768533" y="2411730"/>
                  <a:ext cx="276225" cy="390525"/>
                </a:xfrm>
                <a:custGeom>
                  <a:avLst/>
                  <a:gdLst>
                    <a:gd name="T0" fmla="*/ 2147483647 w 174"/>
                    <a:gd name="T1" fmla="*/ 2147483647 h 246"/>
                    <a:gd name="T2" fmla="*/ 2147483647 w 174"/>
                    <a:gd name="T3" fmla="*/ 0 h 246"/>
                    <a:gd name="T4" fmla="*/ 2147483647 w 174"/>
                    <a:gd name="T5" fmla="*/ 2147483647 h 246"/>
                    <a:gd name="T6" fmla="*/ 2147483647 w 174"/>
                    <a:gd name="T7" fmla="*/ 2147483647 h 246"/>
                    <a:gd name="T8" fmla="*/ 2147483647 w 174"/>
                    <a:gd name="T9" fmla="*/ 2147483647 h 246"/>
                    <a:gd name="T10" fmla="*/ 0 w 174"/>
                    <a:gd name="T11" fmla="*/ 2147483647 h 246"/>
                    <a:gd name="T12" fmla="*/ 0 w 174"/>
                    <a:gd name="T13" fmla="*/ 0 h 246"/>
                    <a:gd name="T14" fmla="*/ 2147483647 w 174"/>
                    <a:gd name="T15" fmla="*/ 0 h 246"/>
                    <a:gd name="T16" fmla="*/ 2147483647 w 174"/>
                    <a:gd name="T17" fmla="*/ 2147483647 h 246"/>
                    <a:gd name="T18" fmla="*/ 2147483647 w 174"/>
                    <a:gd name="T19" fmla="*/ 2147483647 h 246"/>
                    <a:gd name="T20" fmla="*/ 2147483647 w 174"/>
                    <a:gd name="T21" fmla="*/ 2147483647 h 246"/>
                    <a:gd name="T22" fmla="*/ 0 w 174"/>
                    <a:gd name="T23" fmla="*/ 2147483647 h 24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74"/>
                    <a:gd name="T37" fmla="*/ 0 h 246"/>
                    <a:gd name="T38" fmla="*/ 174 w 174"/>
                    <a:gd name="T39" fmla="*/ 246 h 24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74" h="246">
                      <a:moveTo>
                        <a:pt x="174" y="26"/>
                      </a:moveTo>
                      <a:lnTo>
                        <a:pt x="148" y="0"/>
                      </a:lnTo>
                      <a:lnTo>
                        <a:pt x="148" y="26"/>
                      </a:lnTo>
                      <a:lnTo>
                        <a:pt x="174" y="26"/>
                      </a:lnTo>
                      <a:close/>
                      <a:moveTo>
                        <a:pt x="0" y="246"/>
                      </a:moveTo>
                      <a:lnTo>
                        <a:pt x="0" y="0"/>
                      </a:lnTo>
                      <a:lnTo>
                        <a:pt x="138" y="0"/>
                      </a:lnTo>
                      <a:lnTo>
                        <a:pt x="138" y="36"/>
                      </a:lnTo>
                      <a:lnTo>
                        <a:pt x="174" y="36"/>
                      </a:lnTo>
                      <a:lnTo>
                        <a:pt x="174" y="246"/>
                      </a:lnTo>
                      <a:lnTo>
                        <a:pt x="0" y="246"/>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tr-TR"/>
                </a:p>
              </p:txBody>
            </p:sp>
            <p:sp>
              <p:nvSpPr>
                <p:cNvPr id="95" name="Freeform 22"/>
                <p:cNvSpPr>
                  <a:spLocks noEditPoints="1"/>
                </p:cNvSpPr>
                <p:nvPr/>
              </p:nvSpPr>
              <p:spPr bwMode="auto">
                <a:xfrm>
                  <a:off x="4816158" y="2453005"/>
                  <a:ext cx="196850" cy="311150"/>
                </a:xfrm>
                <a:custGeom>
                  <a:avLst/>
                  <a:gdLst>
                    <a:gd name="T0" fmla="*/ 0 w 124"/>
                    <a:gd name="T1" fmla="*/ 0 h 196"/>
                    <a:gd name="T2" fmla="*/ 2147483647 w 124"/>
                    <a:gd name="T3" fmla="*/ 0 h 196"/>
                    <a:gd name="T4" fmla="*/ 2147483647 w 124"/>
                    <a:gd name="T5" fmla="*/ 2147483647 h 196"/>
                    <a:gd name="T6" fmla="*/ 0 w 124"/>
                    <a:gd name="T7" fmla="*/ 2147483647 h 196"/>
                    <a:gd name="T8" fmla="*/ 0 w 124"/>
                    <a:gd name="T9" fmla="*/ 0 h 196"/>
                    <a:gd name="T10" fmla="*/ 0 w 124"/>
                    <a:gd name="T11" fmla="*/ 0 h 196"/>
                    <a:gd name="T12" fmla="*/ 0 w 124"/>
                    <a:gd name="T13" fmla="*/ 2147483647 h 196"/>
                    <a:gd name="T14" fmla="*/ 2147483647 w 124"/>
                    <a:gd name="T15" fmla="*/ 2147483647 h 196"/>
                    <a:gd name="T16" fmla="*/ 2147483647 w 124"/>
                    <a:gd name="T17" fmla="*/ 2147483647 h 196"/>
                    <a:gd name="T18" fmla="*/ 0 w 124"/>
                    <a:gd name="T19" fmla="*/ 2147483647 h 196"/>
                    <a:gd name="T20" fmla="*/ 0 w 124"/>
                    <a:gd name="T21" fmla="*/ 2147483647 h 196"/>
                    <a:gd name="T22" fmla="*/ 0 w 124"/>
                    <a:gd name="T23" fmla="*/ 2147483647 h 196"/>
                    <a:gd name="T24" fmla="*/ 2147483647 w 124"/>
                    <a:gd name="T25" fmla="*/ 2147483647 h 196"/>
                    <a:gd name="T26" fmla="*/ 2147483647 w 124"/>
                    <a:gd name="T27" fmla="*/ 2147483647 h 196"/>
                    <a:gd name="T28" fmla="*/ 0 w 124"/>
                    <a:gd name="T29" fmla="*/ 2147483647 h 196"/>
                    <a:gd name="T30" fmla="*/ 0 w 124"/>
                    <a:gd name="T31" fmla="*/ 2147483647 h 196"/>
                    <a:gd name="T32" fmla="*/ 2147483647 w 124"/>
                    <a:gd name="T33" fmla="*/ 2147483647 h 196"/>
                    <a:gd name="T34" fmla="*/ 2147483647 w 124"/>
                    <a:gd name="T35" fmla="*/ 2147483647 h 196"/>
                    <a:gd name="T36" fmla="*/ 2147483647 w 124"/>
                    <a:gd name="T37" fmla="*/ 2147483647 h 196"/>
                    <a:gd name="T38" fmla="*/ 2147483647 w 124"/>
                    <a:gd name="T39" fmla="*/ 2147483647 h 196"/>
                    <a:gd name="T40" fmla="*/ 0 w 124"/>
                    <a:gd name="T41" fmla="*/ 2147483647 h 196"/>
                    <a:gd name="T42" fmla="*/ 0 w 124"/>
                    <a:gd name="T43" fmla="*/ 2147483647 h 196"/>
                    <a:gd name="T44" fmla="*/ 2147483647 w 124"/>
                    <a:gd name="T45" fmla="*/ 2147483647 h 196"/>
                    <a:gd name="T46" fmla="*/ 2147483647 w 124"/>
                    <a:gd name="T47" fmla="*/ 2147483647 h 196"/>
                    <a:gd name="T48" fmla="*/ 2147483647 w 124"/>
                    <a:gd name="T49" fmla="*/ 2147483647 h 196"/>
                    <a:gd name="T50" fmla="*/ 2147483647 w 124"/>
                    <a:gd name="T51" fmla="*/ 2147483647 h 196"/>
                    <a:gd name="T52" fmla="*/ 0 w 124"/>
                    <a:gd name="T53" fmla="*/ 2147483647 h 196"/>
                    <a:gd name="T54" fmla="*/ 0 w 124"/>
                    <a:gd name="T55" fmla="*/ 2147483647 h 196"/>
                    <a:gd name="T56" fmla="*/ 2147483647 w 124"/>
                    <a:gd name="T57" fmla="*/ 2147483647 h 196"/>
                    <a:gd name="T58" fmla="*/ 2147483647 w 124"/>
                    <a:gd name="T59" fmla="*/ 2147483647 h 196"/>
                    <a:gd name="T60" fmla="*/ 2147483647 w 124"/>
                    <a:gd name="T61" fmla="*/ 2147483647 h 196"/>
                    <a:gd name="T62" fmla="*/ 2147483647 w 124"/>
                    <a:gd name="T63" fmla="*/ 2147483647 h 196"/>
                    <a:gd name="T64" fmla="*/ 0 w 124"/>
                    <a:gd name="T65" fmla="*/ 2147483647 h 196"/>
                    <a:gd name="T66" fmla="*/ 0 w 124"/>
                    <a:gd name="T67" fmla="*/ 2147483647 h 196"/>
                    <a:gd name="T68" fmla="*/ 2147483647 w 124"/>
                    <a:gd name="T69" fmla="*/ 2147483647 h 196"/>
                    <a:gd name="T70" fmla="*/ 2147483647 w 124"/>
                    <a:gd name="T71" fmla="*/ 2147483647 h 196"/>
                    <a:gd name="T72" fmla="*/ 0 w 124"/>
                    <a:gd name="T73" fmla="*/ 2147483647 h 196"/>
                    <a:gd name="T74" fmla="*/ 2147483647 w 124"/>
                    <a:gd name="T75" fmla="*/ 2147483647 h 196"/>
                    <a:gd name="T76" fmla="*/ 2147483647 w 124"/>
                    <a:gd name="T77" fmla="*/ 2147483647 h 196"/>
                    <a:gd name="T78" fmla="*/ 0 w 124"/>
                    <a:gd name="T79" fmla="*/ 2147483647 h 196"/>
                    <a:gd name="T80" fmla="*/ 0 w 124"/>
                    <a:gd name="T81" fmla="*/ 2147483647 h 196"/>
                    <a:gd name="T82" fmla="*/ 0 w 124"/>
                    <a:gd name="T83" fmla="*/ 2147483647 h 196"/>
                    <a:gd name="T84" fmla="*/ 2147483647 w 124"/>
                    <a:gd name="T85" fmla="*/ 2147483647 h 196"/>
                    <a:gd name="T86" fmla="*/ 2147483647 w 124"/>
                    <a:gd name="T87" fmla="*/ 2147483647 h 196"/>
                    <a:gd name="T88" fmla="*/ 0 w 124"/>
                    <a:gd name="T89" fmla="*/ 2147483647 h 196"/>
                    <a:gd name="T90" fmla="*/ 0 w 124"/>
                    <a:gd name="T91" fmla="*/ 2147483647 h 196"/>
                    <a:gd name="T92" fmla="*/ 2147483647 w 124"/>
                    <a:gd name="T93" fmla="*/ 2147483647 h 19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24"/>
                    <a:gd name="T142" fmla="*/ 0 h 196"/>
                    <a:gd name="T143" fmla="*/ 124 w 124"/>
                    <a:gd name="T144" fmla="*/ 196 h 19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24" h="196">
                      <a:moveTo>
                        <a:pt x="0" y="0"/>
                      </a:moveTo>
                      <a:lnTo>
                        <a:pt x="94" y="0"/>
                      </a:lnTo>
                      <a:lnTo>
                        <a:pt x="94" y="8"/>
                      </a:lnTo>
                      <a:lnTo>
                        <a:pt x="0" y="8"/>
                      </a:lnTo>
                      <a:lnTo>
                        <a:pt x="0" y="0"/>
                      </a:lnTo>
                      <a:close/>
                      <a:moveTo>
                        <a:pt x="0" y="26"/>
                      </a:moveTo>
                      <a:lnTo>
                        <a:pt x="124" y="26"/>
                      </a:lnTo>
                      <a:lnTo>
                        <a:pt x="124" y="36"/>
                      </a:lnTo>
                      <a:lnTo>
                        <a:pt x="0" y="36"/>
                      </a:lnTo>
                      <a:lnTo>
                        <a:pt x="0" y="26"/>
                      </a:lnTo>
                      <a:close/>
                      <a:moveTo>
                        <a:pt x="124" y="160"/>
                      </a:moveTo>
                      <a:lnTo>
                        <a:pt x="124" y="168"/>
                      </a:lnTo>
                      <a:lnTo>
                        <a:pt x="0" y="168"/>
                      </a:lnTo>
                      <a:lnTo>
                        <a:pt x="0" y="160"/>
                      </a:lnTo>
                      <a:lnTo>
                        <a:pt x="124" y="160"/>
                      </a:lnTo>
                      <a:close/>
                      <a:moveTo>
                        <a:pt x="124" y="52"/>
                      </a:moveTo>
                      <a:lnTo>
                        <a:pt x="124" y="62"/>
                      </a:lnTo>
                      <a:lnTo>
                        <a:pt x="0" y="62"/>
                      </a:lnTo>
                      <a:lnTo>
                        <a:pt x="0" y="52"/>
                      </a:lnTo>
                      <a:lnTo>
                        <a:pt x="124" y="52"/>
                      </a:lnTo>
                      <a:close/>
                      <a:moveTo>
                        <a:pt x="124" y="106"/>
                      </a:moveTo>
                      <a:lnTo>
                        <a:pt x="124" y="116"/>
                      </a:lnTo>
                      <a:lnTo>
                        <a:pt x="0" y="116"/>
                      </a:lnTo>
                      <a:lnTo>
                        <a:pt x="0" y="106"/>
                      </a:lnTo>
                      <a:lnTo>
                        <a:pt x="124" y="106"/>
                      </a:lnTo>
                      <a:close/>
                      <a:moveTo>
                        <a:pt x="124" y="132"/>
                      </a:moveTo>
                      <a:lnTo>
                        <a:pt x="124" y="142"/>
                      </a:lnTo>
                      <a:lnTo>
                        <a:pt x="0" y="142"/>
                      </a:lnTo>
                      <a:lnTo>
                        <a:pt x="0" y="132"/>
                      </a:lnTo>
                      <a:lnTo>
                        <a:pt x="124" y="132"/>
                      </a:lnTo>
                      <a:close/>
                      <a:moveTo>
                        <a:pt x="0" y="186"/>
                      </a:moveTo>
                      <a:lnTo>
                        <a:pt x="124" y="186"/>
                      </a:lnTo>
                      <a:lnTo>
                        <a:pt x="124" y="196"/>
                      </a:lnTo>
                      <a:lnTo>
                        <a:pt x="0" y="196"/>
                      </a:lnTo>
                      <a:lnTo>
                        <a:pt x="0" y="186"/>
                      </a:lnTo>
                      <a:close/>
                      <a:moveTo>
                        <a:pt x="124" y="80"/>
                      </a:moveTo>
                      <a:lnTo>
                        <a:pt x="124" y="88"/>
                      </a:lnTo>
                      <a:lnTo>
                        <a:pt x="0" y="88"/>
                      </a:lnTo>
                      <a:lnTo>
                        <a:pt x="0" y="80"/>
                      </a:lnTo>
                      <a:lnTo>
                        <a:pt x="124" y="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tr-TR"/>
                </a:p>
              </p:txBody>
            </p:sp>
            <p:sp>
              <p:nvSpPr>
                <p:cNvPr id="96" name="Freeform 23"/>
                <p:cNvSpPr>
                  <a:spLocks noEditPoints="1"/>
                </p:cNvSpPr>
                <p:nvPr/>
              </p:nvSpPr>
              <p:spPr bwMode="auto">
                <a:xfrm>
                  <a:off x="4901883" y="2516505"/>
                  <a:ext cx="273050" cy="390525"/>
                </a:xfrm>
                <a:custGeom>
                  <a:avLst/>
                  <a:gdLst>
                    <a:gd name="T0" fmla="*/ 2147483647 w 172"/>
                    <a:gd name="T1" fmla="*/ 2147483647 h 246"/>
                    <a:gd name="T2" fmla="*/ 2147483647 w 172"/>
                    <a:gd name="T3" fmla="*/ 0 h 246"/>
                    <a:gd name="T4" fmla="*/ 2147483647 w 172"/>
                    <a:gd name="T5" fmla="*/ 2147483647 h 246"/>
                    <a:gd name="T6" fmla="*/ 2147483647 w 172"/>
                    <a:gd name="T7" fmla="*/ 2147483647 h 246"/>
                    <a:gd name="T8" fmla="*/ 2147483647 w 172"/>
                    <a:gd name="T9" fmla="*/ 2147483647 h 246"/>
                    <a:gd name="T10" fmla="*/ 0 w 172"/>
                    <a:gd name="T11" fmla="*/ 2147483647 h 246"/>
                    <a:gd name="T12" fmla="*/ 0 w 172"/>
                    <a:gd name="T13" fmla="*/ 0 h 246"/>
                    <a:gd name="T14" fmla="*/ 2147483647 w 172"/>
                    <a:gd name="T15" fmla="*/ 0 h 246"/>
                    <a:gd name="T16" fmla="*/ 2147483647 w 172"/>
                    <a:gd name="T17" fmla="*/ 2147483647 h 246"/>
                    <a:gd name="T18" fmla="*/ 2147483647 w 172"/>
                    <a:gd name="T19" fmla="*/ 2147483647 h 246"/>
                    <a:gd name="T20" fmla="*/ 2147483647 w 172"/>
                    <a:gd name="T21" fmla="*/ 2147483647 h 246"/>
                    <a:gd name="T22" fmla="*/ 0 w 172"/>
                    <a:gd name="T23" fmla="*/ 2147483647 h 24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72"/>
                    <a:gd name="T37" fmla="*/ 0 h 246"/>
                    <a:gd name="T38" fmla="*/ 172 w 172"/>
                    <a:gd name="T39" fmla="*/ 246 h 24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72" h="246">
                      <a:moveTo>
                        <a:pt x="172" y="28"/>
                      </a:moveTo>
                      <a:lnTo>
                        <a:pt x="146" y="0"/>
                      </a:lnTo>
                      <a:lnTo>
                        <a:pt x="146" y="28"/>
                      </a:lnTo>
                      <a:lnTo>
                        <a:pt x="172" y="28"/>
                      </a:lnTo>
                      <a:close/>
                      <a:moveTo>
                        <a:pt x="0" y="246"/>
                      </a:moveTo>
                      <a:lnTo>
                        <a:pt x="0" y="0"/>
                      </a:lnTo>
                      <a:lnTo>
                        <a:pt x="138" y="0"/>
                      </a:lnTo>
                      <a:lnTo>
                        <a:pt x="138" y="36"/>
                      </a:lnTo>
                      <a:lnTo>
                        <a:pt x="172" y="36"/>
                      </a:lnTo>
                      <a:lnTo>
                        <a:pt x="172" y="246"/>
                      </a:lnTo>
                      <a:lnTo>
                        <a:pt x="0" y="246"/>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tr-TR"/>
                </a:p>
              </p:txBody>
            </p:sp>
            <p:sp>
              <p:nvSpPr>
                <p:cNvPr id="97" name="Freeform 24"/>
                <p:cNvSpPr>
                  <a:spLocks noEditPoints="1"/>
                </p:cNvSpPr>
                <p:nvPr/>
              </p:nvSpPr>
              <p:spPr bwMode="auto">
                <a:xfrm>
                  <a:off x="4946333" y="2557780"/>
                  <a:ext cx="200025" cy="307975"/>
                </a:xfrm>
                <a:custGeom>
                  <a:avLst/>
                  <a:gdLst>
                    <a:gd name="T0" fmla="*/ 0 w 126"/>
                    <a:gd name="T1" fmla="*/ 0 h 194"/>
                    <a:gd name="T2" fmla="*/ 2147483647 w 126"/>
                    <a:gd name="T3" fmla="*/ 0 h 194"/>
                    <a:gd name="T4" fmla="*/ 2147483647 w 126"/>
                    <a:gd name="T5" fmla="*/ 2147483647 h 194"/>
                    <a:gd name="T6" fmla="*/ 0 w 126"/>
                    <a:gd name="T7" fmla="*/ 2147483647 h 194"/>
                    <a:gd name="T8" fmla="*/ 0 w 126"/>
                    <a:gd name="T9" fmla="*/ 0 h 194"/>
                    <a:gd name="T10" fmla="*/ 0 w 126"/>
                    <a:gd name="T11" fmla="*/ 0 h 194"/>
                    <a:gd name="T12" fmla="*/ 0 w 126"/>
                    <a:gd name="T13" fmla="*/ 2147483647 h 194"/>
                    <a:gd name="T14" fmla="*/ 2147483647 w 126"/>
                    <a:gd name="T15" fmla="*/ 2147483647 h 194"/>
                    <a:gd name="T16" fmla="*/ 2147483647 w 126"/>
                    <a:gd name="T17" fmla="*/ 2147483647 h 194"/>
                    <a:gd name="T18" fmla="*/ 0 w 126"/>
                    <a:gd name="T19" fmla="*/ 2147483647 h 194"/>
                    <a:gd name="T20" fmla="*/ 0 w 126"/>
                    <a:gd name="T21" fmla="*/ 2147483647 h 194"/>
                    <a:gd name="T22" fmla="*/ 0 w 126"/>
                    <a:gd name="T23" fmla="*/ 2147483647 h 194"/>
                    <a:gd name="T24" fmla="*/ 2147483647 w 126"/>
                    <a:gd name="T25" fmla="*/ 2147483647 h 194"/>
                    <a:gd name="T26" fmla="*/ 2147483647 w 126"/>
                    <a:gd name="T27" fmla="*/ 2147483647 h 194"/>
                    <a:gd name="T28" fmla="*/ 0 w 126"/>
                    <a:gd name="T29" fmla="*/ 2147483647 h 194"/>
                    <a:gd name="T30" fmla="*/ 0 w 126"/>
                    <a:gd name="T31" fmla="*/ 2147483647 h 194"/>
                    <a:gd name="T32" fmla="*/ 2147483647 w 126"/>
                    <a:gd name="T33" fmla="*/ 2147483647 h 194"/>
                    <a:gd name="T34" fmla="*/ 2147483647 w 126"/>
                    <a:gd name="T35" fmla="*/ 2147483647 h 194"/>
                    <a:gd name="T36" fmla="*/ 2147483647 w 126"/>
                    <a:gd name="T37" fmla="*/ 2147483647 h 194"/>
                    <a:gd name="T38" fmla="*/ 2147483647 w 126"/>
                    <a:gd name="T39" fmla="*/ 2147483647 h 194"/>
                    <a:gd name="T40" fmla="*/ 0 w 126"/>
                    <a:gd name="T41" fmla="*/ 2147483647 h 194"/>
                    <a:gd name="T42" fmla="*/ 0 w 126"/>
                    <a:gd name="T43" fmla="*/ 2147483647 h 194"/>
                    <a:gd name="T44" fmla="*/ 2147483647 w 126"/>
                    <a:gd name="T45" fmla="*/ 2147483647 h 194"/>
                    <a:gd name="T46" fmla="*/ 2147483647 w 126"/>
                    <a:gd name="T47" fmla="*/ 2147483647 h 194"/>
                    <a:gd name="T48" fmla="*/ 2147483647 w 126"/>
                    <a:gd name="T49" fmla="*/ 2147483647 h 194"/>
                    <a:gd name="T50" fmla="*/ 2147483647 w 126"/>
                    <a:gd name="T51" fmla="*/ 2147483647 h 194"/>
                    <a:gd name="T52" fmla="*/ 0 w 126"/>
                    <a:gd name="T53" fmla="*/ 2147483647 h 194"/>
                    <a:gd name="T54" fmla="*/ 0 w 126"/>
                    <a:gd name="T55" fmla="*/ 2147483647 h 194"/>
                    <a:gd name="T56" fmla="*/ 2147483647 w 126"/>
                    <a:gd name="T57" fmla="*/ 2147483647 h 194"/>
                    <a:gd name="T58" fmla="*/ 2147483647 w 126"/>
                    <a:gd name="T59" fmla="*/ 2147483647 h 194"/>
                    <a:gd name="T60" fmla="*/ 2147483647 w 126"/>
                    <a:gd name="T61" fmla="*/ 2147483647 h 194"/>
                    <a:gd name="T62" fmla="*/ 2147483647 w 126"/>
                    <a:gd name="T63" fmla="*/ 2147483647 h 194"/>
                    <a:gd name="T64" fmla="*/ 0 w 126"/>
                    <a:gd name="T65" fmla="*/ 2147483647 h 194"/>
                    <a:gd name="T66" fmla="*/ 0 w 126"/>
                    <a:gd name="T67" fmla="*/ 2147483647 h 194"/>
                    <a:gd name="T68" fmla="*/ 2147483647 w 126"/>
                    <a:gd name="T69" fmla="*/ 2147483647 h 194"/>
                    <a:gd name="T70" fmla="*/ 2147483647 w 126"/>
                    <a:gd name="T71" fmla="*/ 2147483647 h 194"/>
                    <a:gd name="T72" fmla="*/ 0 w 126"/>
                    <a:gd name="T73" fmla="*/ 2147483647 h 194"/>
                    <a:gd name="T74" fmla="*/ 2147483647 w 126"/>
                    <a:gd name="T75" fmla="*/ 2147483647 h 194"/>
                    <a:gd name="T76" fmla="*/ 2147483647 w 126"/>
                    <a:gd name="T77" fmla="*/ 2147483647 h 194"/>
                    <a:gd name="T78" fmla="*/ 0 w 126"/>
                    <a:gd name="T79" fmla="*/ 2147483647 h 194"/>
                    <a:gd name="T80" fmla="*/ 0 w 126"/>
                    <a:gd name="T81" fmla="*/ 2147483647 h 194"/>
                    <a:gd name="T82" fmla="*/ 0 w 126"/>
                    <a:gd name="T83" fmla="*/ 2147483647 h 194"/>
                    <a:gd name="T84" fmla="*/ 2147483647 w 126"/>
                    <a:gd name="T85" fmla="*/ 2147483647 h 194"/>
                    <a:gd name="T86" fmla="*/ 2147483647 w 126"/>
                    <a:gd name="T87" fmla="*/ 2147483647 h 194"/>
                    <a:gd name="T88" fmla="*/ 0 w 126"/>
                    <a:gd name="T89" fmla="*/ 2147483647 h 194"/>
                    <a:gd name="T90" fmla="*/ 0 w 126"/>
                    <a:gd name="T91" fmla="*/ 2147483647 h 194"/>
                    <a:gd name="T92" fmla="*/ 2147483647 w 126"/>
                    <a:gd name="T93" fmla="*/ 2147483647 h 19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26"/>
                    <a:gd name="T142" fmla="*/ 0 h 194"/>
                    <a:gd name="T143" fmla="*/ 126 w 126"/>
                    <a:gd name="T144" fmla="*/ 194 h 19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26" h="194">
                      <a:moveTo>
                        <a:pt x="0" y="0"/>
                      </a:moveTo>
                      <a:lnTo>
                        <a:pt x="96" y="0"/>
                      </a:lnTo>
                      <a:lnTo>
                        <a:pt x="96" y="8"/>
                      </a:lnTo>
                      <a:lnTo>
                        <a:pt x="0" y="8"/>
                      </a:lnTo>
                      <a:lnTo>
                        <a:pt x="0" y="0"/>
                      </a:lnTo>
                      <a:close/>
                      <a:moveTo>
                        <a:pt x="0" y="26"/>
                      </a:moveTo>
                      <a:lnTo>
                        <a:pt x="126" y="26"/>
                      </a:lnTo>
                      <a:lnTo>
                        <a:pt x="126" y="34"/>
                      </a:lnTo>
                      <a:lnTo>
                        <a:pt x="0" y="34"/>
                      </a:lnTo>
                      <a:lnTo>
                        <a:pt x="0" y="26"/>
                      </a:lnTo>
                      <a:close/>
                      <a:moveTo>
                        <a:pt x="126" y="160"/>
                      </a:moveTo>
                      <a:lnTo>
                        <a:pt x="126" y="168"/>
                      </a:lnTo>
                      <a:lnTo>
                        <a:pt x="0" y="168"/>
                      </a:lnTo>
                      <a:lnTo>
                        <a:pt x="0" y="160"/>
                      </a:lnTo>
                      <a:lnTo>
                        <a:pt x="126" y="160"/>
                      </a:lnTo>
                      <a:close/>
                      <a:moveTo>
                        <a:pt x="126" y="54"/>
                      </a:moveTo>
                      <a:lnTo>
                        <a:pt x="126" y="62"/>
                      </a:lnTo>
                      <a:lnTo>
                        <a:pt x="0" y="62"/>
                      </a:lnTo>
                      <a:lnTo>
                        <a:pt x="0" y="54"/>
                      </a:lnTo>
                      <a:lnTo>
                        <a:pt x="126" y="54"/>
                      </a:lnTo>
                      <a:close/>
                      <a:moveTo>
                        <a:pt x="126" y="106"/>
                      </a:moveTo>
                      <a:lnTo>
                        <a:pt x="126" y="114"/>
                      </a:lnTo>
                      <a:lnTo>
                        <a:pt x="0" y="114"/>
                      </a:lnTo>
                      <a:lnTo>
                        <a:pt x="0" y="106"/>
                      </a:lnTo>
                      <a:lnTo>
                        <a:pt x="126" y="106"/>
                      </a:lnTo>
                      <a:close/>
                      <a:moveTo>
                        <a:pt x="126" y="132"/>
                      </a:moveTo>
                      <a:lnTo>
                        <a:pt x="126" y="142"/>
                      </a:lnTo>
                      <a:lnTo>
                        <a:pt x="0" y="142"/>
                      </a:lnTo>
                      <a:lnTo>
                        <a:pt x="0" y="132"/>
                      </a:lnTo>
                      <a:lnTo>
                        <a:pt x="126" y="132"/>
                      </a:lnTo>
                      <a:close/>
                      <a:moveTo>
                        <a:pt x="0" y="186"/>
                      </a:moveTo>
                      <a:lnTo>
                        <a:pt x="126" y="186"/>
                      </a:lnTo>
                      <a:lnTo>
                        <a:pt x="126" y="194"/>
                      </a:lnTo>
                      <a:lnTo>
                        <a:pt x="0" y="194"/>
                      </a:lnTo>
                      <a:lnTo>
                        <a:pt x="0" y="186"/>
                      </a:lnTo>
                      <a:close/>
                      <a:moveTo>
                        <a:pt x="126" y="80"/>
                      </a:moveTo>
                      <a:lnTo>
                        <a:pt x="126" y="88"/>
                      </a:lnTo>
                      <a:lnTo>
                        <a:pt x="0" y="88"/>
                      </a:lnTo>
                      <a:lnTo>
                        <a:pt x="0" y="80"/>
                      </a:lnTo>
                      <a:lnTo>
                        <a:pt x="126" y="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tr-TR"/>
                </a:p>
              </p:txBody>
            </p:sp>
          </p:grpSp>
          <p:sp>
            <p:nvSpPr>
              <p:cNvPr id="93" name="Ellipse 45"/>
              <p:cNvSpPr/>
              <p:nvPr/>
            </p:nvSpPr>
            <p:spPr bwMode="auto">
              <a:xfrm>
                <a:off x="4162078" y="2430178"/>
                <a:ext cx="723221" cy="540089"/>
              </a:xfrm>
              <a:prstGeom prst="ellipse">
                <a:avLst/>
              </a:prstGeom>
              <a:gradFill flip="none" rotWithShape="1">
                <a:gsLst>
                  <a:gs pos="0">
                    <a:srgbClr val="FFFFFF">
                      <a:lumMod val="40000"/>
                      <a:lumOff val="60000"/>
                      <a:alpha val="0"/>
                    </a:srgbClr>
                  </a:gs>
                  <a:gs pos="100000">
                    <a:srgbClr val="FFFCF9">
                      <a:alpha val="77000"/>
                    </a:srgbClr>
                  </a:gs>
                </a:gsLst>
                <a:lin ang="16200000" scaled="0"/>
                <a:tileRect/>
              </a:gradFill>
              <a:ln w="9525" cap="flat" cmpd="sng" algn="ctr">
                <a:noFill/>
                <a:prstDash val="solid"/>
              </a:ln>
              <a:effectLst/>
            </p:spPr>
            <p:txBody>
              <a:bodyPr anchor="ctr"/>
              <a:lstStyle/>
              <a:p>
                <a:pPr algn="ctr" fontAlgn="auto">
                  <a:spcBef>
                    <a:spcPts val="0"/>
                  </a:spcBef>
                  <a:spcAft>
                    <a:spcPts val="0"/>
                  </a:spcAft>
                  <a:defRPr/>
                </a:pPr>
                <a:endParaRPr lang="da-DK" kern="0" dirty="0">
                  <a:solidFill>
                    <a:sysClr val="window" lastClr="FFFFFF"/>
                  </a:solidFill>
                  <a:latin typeface="Calibri"/>
                  <a:ea typeface="ＭＳ Ｐゴシック" pitchFamily="-97" charset="-128"/>
                  <a:cs typeface="+mn-cs"/>
                </a:endParaRPr>
              </a:p>
            </p:txBody>
          </p:sp>
        </p:grpSp>
        <p:sp>
          <p:nvSpPr>
            <p:cNvPr id="83" name="Ellipse 395"/>
            <p:cNvSpPr/>
            <p:nvPr/>
          </p:nvSpPr>
          <p:spPr bwMode="auto">
            <a:xfrm>
              <a:off x="3584575" y="5426212"/>
              <a:ext cx="1966913" cy="257038"/>
            </a:xfrm>
            <a:prstGeom prst="ellipse">
              <a:avLst/>
            </a:prstGeom>
            <a:gradFill flip="none" rotWithShape="1">
              <a:gsLst>
                <a:gs pos="24000">
                  <a:sysClr val="windowText" lastClr="000000">
                    <a:alpha val="22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fontAlgn="auto">
                <a:spcBef>
                  <a:spcPts val="0"/>
                </a:spcBef>
                <a:spcAft>
                  <a:spcPts val="0"/>
                </a:spcAft>
                <a:defRPr/>
              </a:pPr>
              <a:endParaRPr lang="da-DK" kern="0" dirty="0" err="1">
                <a:solidFill>
                  <a:sysClr val="window" lastClr="FFFFFF"/>
                </a:solidFill>
                <a:latin typeface="Calibri"/>
                <a:ea typeface="ＭＳ Ｐゴシック" pitchFamily="-97" charset="-128"/>
                <a:cs typeface="+mn-cs"/>
              </a:endParaRPr>
            </a:p>
          </p:txBody>
        </p:sp>
      </p:grpSp>
      <p:grpSp>
        <p:nvGrpSpPr>
          <p:cNvPr id="71" name="Grup 70"/>
          <p:cNvGrpSpPr/>
          <p:nvPr/>
        </p:nvGrpSpPr>
        <p:grpSpPr>
          <a:xfrm>
            <a:off x="812002" y="786678"/>
            <a:ext cx="6621472" cy="1804865"/>
            <a:chOff x="800889" y="570488"/>
            <a:chExt cx="6621472" cy="1804865"/>
          </a:xfrm>
        </p:grpSpPr>
        <p:sp>
          <p:nvSpPr>
            <p:cNvPr id="72" name="Rounded Rectangle 4"/>
            <p:cNvSpPr>
              <a:spLocks noChangeArrowheads="1"/>
            </p:cNvSpPr>
            <p:nvPr/>
          </p:nvSpPr>
          <p:spPr bwMode="auto">
            <a:xfrm>
              <a:off x="800889" y="570488"/>
              <a:ext cx="6621472" cy="1804865"/>
            </a:xfrm>
            <a:prstGeom prst="roundRect">
              <a:avLst>
                <a:gd name="adj" fmla="val 9843"/>
              </a:avLst>
            </a:prstGeom>
            <a:solidFill>
              <a:srgbClr val="FFFFFF"/>
            </a:solidFill>
            <a:ln w="6350">
              <a:solidFill>
                <a:srgbClr val="D9D9D9"/>
              </a:solidFill>
              <a:round/>
              <a:headEnd/>
              <a:tailEnd/>
            </a:ln>
          </p:spPr>
          <p:txBody>
            <a:bodyPr anchor="ctr"/>
            <a:lstStyle/>
            <a:p>
              <a:pPr algn="ctr" defTabSz="457200" eaLnBrk="1" hangingPunct="1"/>
              <a:endParaRPr lang="tr-TR">
                <a:solidFill>
                  <a:srgbClr val="FFFFFF"/>
                </a:solidFill>
              </a:endParaRPr>
            </a:p>
          </p:txBody>
        </p:sp>
        <p:sp>
          <p:nvSpPr>
            <p:cNvPr id="73" name="Dikdörtgen 72"/>
            <p:cNvSpPr/>
            <p:nvPr/>
          </p:nvSpPr>
          <p:spPr>
            <a:xfrm>
              <a:off x="942738" y="620522"/>
              <a:ext cx="6087877" cy="1631216"/>
            </a:xfrm>
            <a:prstGeom prst="rect">
              <a:avLst/>
            </a:prstGeom>
          </p:spPr>
          <p:txBody>
            <a:bodyPr wrap="square">
              <a:spAutoFit/>
            </a:bodyPr>
            <a:lstStyle/>
            <a:p>
              <a:pPr marL="342900" lvl="0" indent="-342900">
                <a:buFont typeface="Arial" pitchFamily="34" charset="0"/>
                <a:buChar char="•"/>
                <a:defRPr/>
              </a:pPr>
              <a:r>
                <a:rPr lang="tr-TR" sz="2000" kern="0" dirty="0">
                  <a:solidFill>
                    <a:prstClr val="black"/>
                  </a:solidFill>
                </a:rPr>
                <a:t>W</a:t>
              </a:r>
              <a:r>
                <a:rPr lang="en-US" sz="2000" kern="0" dirty="0" err="1">
                  <a:solidFill>
                    <a:prstClr val="black"/>
                  </a:solidFill>
                </a:rPr>
                <a:t>eb</a:t>
              </a:r>
              <a:r>
                <a:rPr lang="en-US" sz="2000" kern="0" dirty="0">
                  <a:solidFill>
                    <a:prstClr val="black"/>
                  </a:solidFill>
                </a:rPr>
                <a:t> </a:t>
              </a:r>
              <a:r>
                <a:rPr lang="tr-TR" sz="2000" kern="0" dirty="0">
                  <a:solidFill>
                    <a:prstClr val="black"/>
                  </a:solidFill>
                </a:rPr>
                <a:t>uygulaması</a:t>
              </a:r>
            </a:p>
            <a:p>
              <a:pPr marL="342900" lvl="0" indent="-342900">
                <a:buFont typeface="Arial" pitchFamily="34" charset="0"/>
                <a:buChar char="•"/>
                <a:defRPr/>
              </a:pPr>
              <a:r>
                <a:rPr lang="tr-TR" sz="2000" kern="0" dirty="0">
                  <a:solidFill>
                    <a:prstClr val="black"/>
                  </a:solidFill>
                </a:rPr>
                <a:t>Temel fonksiyonlar </a:t>
              </a:r>
            </a:p>
            <a:p>
              <a:pPr marL="342900" lvl="0" indent="-342900">
                <a:buFont typeface="Arial" pitchFamily="34" charset="0"/>
                <a:buChar char="•"/>
                <a:defRPr/>
              </a:pPr>
              <a:r>
                <a:rPr lang="tr-TR" sz="2000" kern="0" dirty="0">
                  <a:solidFill>
                    <a:prstClr val="black"/>
                  </a:solidFill>
                </a:rPr>
                <a:t>E-imza/mali mühür Gönderme ve Alma </a:t>
              </a:r>
            </a:p>
            <a:p>
              <a:pPr marL="342900" lvl="0" indent="-342900">
                <a:buFont typeface="Arial" pitchFamily="34" charset="0"/>
                <a:buChar char="•"/>
                <a:defRPr/>
              </a:pPr>
              <a:r>
                <a:rPr lang="tr-TR" sz="2000" kern="0" dirty="0">
                  <a:solidFill>
                    <a:prstClr val="black"/>
                  </a:solidFill>
                </a:rPr>
                <a:t>Arşivleme</a:t>
              </a:r>
            </a:p>
            <a:p>
              <a:pPr marL="342900" lvl="0" indent="-342900">
                <a:buFont typeface="Arial" pitchFamily="34" charset="0"/>
                <a:buChar char="•"/>
                <a:defRPr/>
              </a:pPr>
              <a:r>
                <a:rPr lang="tr-TR" sz="2000" kern="0" dirty="0">
                  <a:solidFill>
                    <a:prstClr val="black"/>
                  </a:solidFill>
                </a:rPr>
                <a:t>Küçük işletmeler için uygun</a:t>
              </a:r>
              <a:endParaRPr lang="en-US" sz="2000" kern="0" dirty="0">
                <a:solidFill>
                  <a:prstClr val="black"/>
                </a:solidFill>
              </a:endParaRPr>
            </a:p>
          </p:txBody>
        </p:sp>
      </p:grpSp>
      <p:sp>
        <p:nvSpPr>
          <p:cNvPr id="77" name="Rektangel 16"/>
          <p:cNvSpPr/>
          <p:nvPr/>
        </p:nvSpPr>
        <p:spPr bwMode="auto">
          <a:xfrm>
            <a:off x="323528" y="178194"/>
            <a:ext cx="3099886" cy="461665"/>
          </a:xfrm>
          <a:prstGeom prst="rect">
            <a:avLst/>
          </a:prstGeom>
        </p:spPr>
        <p:txBody>
          <a:bodyPr wrap="square">
            <a:spAutoFit/>
          </a:bodyPr>
          <a:lstStyle/>
          <a:p>
            <a:pPr fontAlgn="auto">
              <a:spcBef>
                <a:spcPts val="0"/>
              </a:spcBef>
              <a:spcAft>
                <a:spcPts val="0"/>
              </a:spcAft>
              <a:defRPr/>
            </a:pPr>
            <a:r>
              <a:rPr lang="tr-TR" sz="2400" b="1" kern="0" noProof="1" smtClean="0">
                <a:solidFill>
                  <a:schemeClr val="tx2">
                    <a:lumMod val="50000"/>
                  </a:schemeClr>
                </a:solidFill>
                <a:latin typeface="Calibri" pitchFamily="34" charset="0"/>
                <a:cs typeface="Arial" charset="0"/>
              </a:rPr>
              <a:t>e – Fatura Portal</a:t>
            </a:r>
            <a:endParaRPr lang="da-DK" sz="3200" kern="0" dirty="0">
              <a:solidFill>
                <a:schemeClr val="tx2">
                  <a:lumMod val="50000"/>
                </a:schemeClr>
              </a:solidFill>
              <a:latin typeface="Arial" pitchFamily="34" charset="0"/>
            </a:endParaRPr>
          </a:p>
        </p:txBody>
      </p:sp>
    </p:spTree>
    <p:extLst>
      <p:ext uri="{BB962C8B-B14F-4D97-AF65-F5344CB8AC3E}">
        <p14:creationId xmlns:p14="http://schemas.microsoft.com/office/powerpoint/2010/main" val="3023614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Arc 38"/>
          <p:cNvSpPr/>
          <p:nvPr/>
        </p:nvSpPr>
        <p:spPr>
          <a:xfrm>
            <a:off x="-9156700" y="3009900"/>
            <a:ext cx="18300700" cy="7715250"/>
          </a:xfrm>
          <a:prstGeom prst="arc">
            <a:avLst>
              <a:gd name="adj1" fmla="val 16197650"/>
              <a:gd name="adj2" fmla="val 7945"/>
            </a:avLst>
          </a:prstGeom>
          <a:solidFill>
            <a:schemeClr val="tx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0" name="Arc 39"/>
          <p:cNvSpPr/>
          <p:nvPr/>
        </p:nvSpPr>
        <p:spPr>
          <a:xfrm>
            <a:off x="-5448300" y="3187700"/>
            <a:ext cx="10896600" cy="7340600"/>
          </a:xfrm>
          <a:prstGeom prst="arc">
            <a:avLst>
              <a:gd name="adj1" fmla="val 16201078"/>
              <a:gd name="adj2" fmla="val 7125"/>
            </a:avLst>
          </a:prstGeom>
          <a:solidFill>
            <a:schemeClr val="bg1"/>
          </a:solidFill>
          <a:ln w="85725" cap="flat" cmpd="sng" algn="ctr">
            <a:no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nb-NO">
              <a:ea typeface="ＭＳ Ｐゴシック" pitchFamily="-109" charset="-128"/>
            </a:endParaRPr>
          </a:p>
        </p:txBody>
      </p:sp>
      <p:sp>
        <p:nvSpPr>
          <p:cNvPr id="6" name="TextBox 14"/>
          <p:cNvSpPr txBox="1"/>
          <p:nvPr/>
        </p:nvSpPr>
        <p:spPr>
          <a:xfrm>
            <a:off x="4499992" y="1061763"/>
            <a:ext cx="2520280" cy="584775"/>
          </a:xfrm>
          <a:prstGeom prst="rect">
            <a:avLst/>
          </a:prstGeom>
          <a:noFill/>
        </p:spPr>
        <p:txBody>
          <a:bodyPr wrap="square" rtlCol="0">
            <a:spAutoFit/>
          </a:bodyPr>
          <a:lstStyle/>
          <a:p>
            <a:pPr lvl="0">
              <a:spcBef>
                <a:spcPct val="0"/>
              </a:spcBef>
              <a:defRPr/>
            </a:pPr>
            <a:r>
              <a:rPr lang="tr-TR" sz="3200" b="1" dirty="0" smtClean="0"/>
              <a:t>e - FATURA </a:t>
            </a:r>
            <a:endParaRPr lang="tr-TR" sz="3200" b="1" dirty="0"/>
          </a:p>
        </p:txBody>
      </p:sp>
      <p:pic>
        <p:nvPicPr>
          <p:cNvPr id="8" name="Resim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2875" y="980728"/>
            <a:ext cx="3747690" cy="2880320"/>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p:spPr>
      </p:pic>
    </p:spTree>
    <p:extLst>
      <p:ext uri="{BB962C8B-B14F-4D97-AF65-F5344CB8AC3E}">
        <p14:creationId xmlns:p14="http://schemas.microsoft.com/office/powerpoint/2010/main" val="564022330"/>
      </p:ext>
    </p:extLst>
  </p:cSld>
  <p:clrMapOvr>
    <a:masterClrMapping/>
  </p:clrMapOvr>
  <p:transition advClick="0" advTm="4000">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2" presetClass="entr" presetSubtype="8"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 calcmode="lin" valueType="num">
                                      <p:cBhvr additive="base">
                                        <p:cTn id="10" dur="500"/>
                                        <p:tgtEl>
                                          <p:spTgt spid="8"/>
                                        </p:tgtEl>
                                        <p:attrNameLst>
                                          <p:attrName>ppt_x</p:attrName>
                                        </p:attrNameLst>
                                      </p:cBhvr>
                                      <p:tavLst>
                                        <p:tav tm="0">
                                          <p:val>
                                            <p:strVal val="#ppt_x-#ppt_w*1.125000"/>
                                          </p:val>
                                        </p:tav>
                                        <p:tav tm="100000">
                                          <p:val>
                                            <p:strVal val="#ppt_x"/>
                                          </p:val>
                                        </p:tav>
                                      </p:tavLst>
                                    </p:anim>
                                    <p:animEffect transition="in" filter="wipe(right)">
                                      <p:cBhvr>
                                        <p:cTn id="11"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Billede 32" descr="Blue sky Corner.jpg"/>
          <p:cNvPicPr>
            <a:picLocks noChangeAspect="1"/>
          </p:cNvPicPr>
          <p:nvPr/>
        </p:nvPicPr>
        <p:blipFill>
          <a:blip r:embed="rId3"/>
          <a:srcRect/>
          <a:stretch>
            <a:fillRect/>
          </a:stretch>
        </p:blipFill>
        <p:spPr bwMode="auto">
          <a:xfrm>
            <a:off x="6341" y="-2020"/>
            <a:ext cx="9144000" cy="5255060"/>
          </a:xfrm>
          <a:prstGeom prst="rect">
            <a:avLst/>
          </a:prstGeom>
          <a:noFill/>
          <a:ln w="9525">
            <a:noFill/>
            <a:miter lim="800000"/>
            <a:headEnd/>
            <a:tailEnd/>
          </a:ln>
        </p:spPr>
      </p:pic>
      <p:grpSp>
        <p:nvGrpSpPr>
          <p:cNvPr id="147" name="Grup 146"/>
          <p:cNvGrpSpPr/>
          <p:nvPr/>
        </p:nvGrpSpPr>
        <p:grpSpPr>
          <a:xfrm>
            <a:off x="4638276" y="3592945"/>
            <a:ext cx="4502199" cy="3265055"/>
            <a:chOff x="4638276" y="3025959"/>
            <a:chExt cx="4502199" cy="3832041"/>
          </a:xfrm>
        </p:grpSpPr>
        <p:sp>
          <p:nvSpPr>
            <p:cNvPr id="150" name="Freeform 69"/>
            <p:cNvSpPr>
              <a:spLocks/>
            </p:cNvSpPr>
            <p:nvPr/>
          </p:nvSpPr>
          <p:spPr bwMode="auto">
            <a:xfrm>
              <a:off x="4666480" y="3025959"/>
              <a:ext cx="4473994" cy="2342048"/>
            </a:xfrm>
            <a:custGeom>
              <a:avLst/>
              <a:gdLst/>
              <a:ahLst/>
              <a:cxnLst>
                <a:cxn ang="0">
                  <a:pos x="2538" y="1530"/>
                </a:cxn>
                <a:cxn ang="0">
                  <a:pos x="2538" y="0"/>
                </a:cxn>
                <a:cxn ang="0">
                  <a:pos x="0" y="0"/>
                </a:cxn>
                <a:cxn ang="0">
                  <a:pos x="2538" y="1530"/>
                </a:cxn>
              </a:cxnLst>
              <a:rect l="0" t="0" r="r" b="b"/>
              <a:pathLst>
                <a:path w="2538" h="1530">
                  <a:moveTo>
                    <a:pt x="2538" y="1530"/>
                  </a:moveTo>
                  <a:lnTo>
                    <a:pt x="2538" y="0"/>
                  </a:lnTo>
                  <a:lnTo>
                    <a:pt x="0" y="0"/>
                  </a:lnTo>
                  <a:lnTo>
                    <a:pt x="2538" y="1530"/>
                  </a:lnTo>
                  <a:close/>
                </a:path>
              </a:pathLst>
            </a:custGeom>
            <a:solidFill>
              <a:schemeClr val="bg1">
                <a:lumMod val="95000"/>
              </a:schemeClr>
            </a:solidFill>
            <a:ln w="28575" cap="flat" cmpd="sng" algn="ctr">
              <a:noFill/>
              <a:prstDash val="solid"/>
            </a:ln>
            <a:effectLst/>
          </p:spPr>
          <p:txBody>
            <a:bodyPr anchor="ctr"/>
            <a:lstStyle/>
            <a:p>
              <a:pPr algn="ctr" fontAlgn="auto">
                <a:spcBef>
                  <a:spcPts val="0"/>
                </a:spcBef>
                <a:spcAft>
                  <a:spcPts val="0"/>
                </a:spcAft>
                <a:defRPr/>
              </a:pPr>
              <a:endParaRPr lang="da-DK" kern="0">
                <a:solidFill>
                  <a:sysClr val="window" lastClr="FFFFFF"/>
                </a:solidFill>
                <a:latin typeface="Calibri"/>
              </a:endParaRPr>
            </a:p>
          </p:txBody>
        </p:sp>
        <p:sp>
          <p:nvSpPr>
            <p:cNvPr id="151" name="Freeform 71"/>
            <p:cNvSpPr>
              <a:spLocks/>
            </p:cNvSpPr>
            <p:nvPr/>
          </p:nvSpPr>
          <p:spPr bwMode="auto">
            <a:xfrm>
              <a:off x="4638276" y="3028900"/>
              <a:ext cx="4502199" cy="3829100"/>
            </a:xfrm>
            <a:custGeom>
              <a:avLst/>
              <a:gdLst/>
              <a:ahLst/>
              <a:cxnLst>
                <a:cxn ang="0">
                  <a:pos x="1230" y="2604"/>
                </a:cxn>
                <a:cxn ang="0">
                  <a:pos x="1230" y="2604"/>
                </a:cxn>
                <a:cxn ang="0">
                  <a:pos x="2554" y="2604"/>
                </a:cxn>
                <a:cxn ang="0">
                  <a:pos x="2554" y="1540"/>
                </a:cxn>
                <a:cxn ang="0">
                  <a:pos x="0" y="0"/>
                </a:cxn>
                <a:cxn ang="0">
                  <a:pos x="1230" y="2604"/>
                </a:cxn>
              </a:cxnLst>
              <a:rect l="0" t="0" r="r" b="b"/>
              <a:pathLst>
                <a:path w="2554" h="2604">
                  <a:moveTo>
                    <a:pt x="1230" y="2604"/>
                  </a:moveTo>
                  <a:lnTo>
                    <a:pt x="1230" y="2604"/>
                  </a:lnTo>
                  <a:lnTo>
                    <a:pt x="2554" y="2604"/>
                  </a:lnTo>
                  <a:lnTo>
                    <a:pt x="2554" y="1540"/>
                  </a:lnTo>
                  <a:lnTo>
                    <a:pt x="0" y="0"/>
                  </a:lnTo>
                  <a:lnTo>
                    <a:pt x="1230" y="2604"/>
                  </a:lnTo>
                  <a:close/>
                </a:path>
              </a:pathLst>
            </a:custGeom>
            <a:solidFill>
              <a:schemeClr val="bg1">
                <a:lumMod val="95000"/>
              </a:schemeClr>
            </a:solidFill>
            <a:ln w="28575" cap="flat" cmpd="sng" algn="ctr">
              <a:noFill/>
              <a:prstDash val="solid"/>
            </a:ln>
            <a:effectLst/>
          </p:spPr>
          <p:txBody>
            <a:bodyPr anchor="ctr"/>
            <a:lstStyle/>
            <a:p>
              <a:pPr algn="ctr" fontAlgn="auto">
                <a:spcBef>
                  <a:spcPts val="0"/>
                </a:spcBef>
                <a:spcAft>
                  <a:spcPts val="0"/>
                </a:spcAft>
                <a:defRPr/>
              </a:pPr>
              <a:endParaRPr lang="da-DK" kern="0">
                <a:solidFill>
                  <a:sysClr val="window" lastClr="FFFFFF"/>
                </a:solidFill>
                <a:latin typeface="Calibri"/>
              </a:endParaRPr>
            </a:p>
          </p:txBody>
        </p:sp>
      </p:grpSp>
      <p:grpSp>
        <p:nvGrpSpPr>
          <p:cNvPr id="159" name="Grup 158"/>
          <p:cNvGrpSpPr/>
          <p:nvPr/>
        </p:nvGrpSpPr>
        <p:grpSpPr>
          <a:xfrm>
            <a:off x="2104" y="3592945"/>
            <a:ext cx="4604441" cy="3265055"/>
            <a:chOff x="2104" y="3025959"/>
            <a:chExt cx="4604441" cy="3832041"/>
          </a:xfrm>
          <a:solidFill>
            <a:schemeClr val="tx2">
              <a:lumMod val="50000"/>
            </a:schemeClr>
          </a:solidFill>
        </p:grpSpPr>
        <p:sp>
          <p:nvSpPr>
            <p:cNvPr id="160" name="Freeform 68"/>
            <p:cNvSpPr>
              <a:spLocks/>
            </p:cNvSpPr>
            <p:nvPr/>
          </p:nvSpPr>
          <p:spPr bwMode="auto">
            <a:xfrm>
              <a:off x="2104" y="3028900"/>
              <a:ext cx="4604441" cy="3829100"/>
            </a:xfrm>
            <a:custGeom>
              <a:avLst/>
              <a:gdLst/>
              <a:ahLst/>
              <a:cxnLst>
                <a:cxn ang="0">
                  <a:pos x="0" y="1562"/>
                </a:cxn>
                <a:cxn ang="0">
                  <a:pos x="0" y="2604"/>
                </a:cxn>
                <a:cxn ang="0">
                  <a:pos x="1272" y="2604"/>
                </a:cxn>
                <a:cxn ang="0">
                  <a:pos x="2612" y="0"/>
                </a:cxn>
                <a:cxn ang="0">
                  <a:pos x="0" y="1562"/>
                </a:cxn>
              </a:cxnLst>
              <a:rect l="0" t="0" r="r" b="b"/>
              <a:pathLst>
                <a:path w="2612" h="2604">
                  <a:moveTo>
                    <a:pt x="0" y="1562"/>
                  </a:moveTo>
                  <a:lnTo>
                    <a:pt x="0" y="2604"/>
                  </a:lnTo>
                  <a:lnTo>
                    <a:pt x="1272" y="2604"/>
                  </a:lnTo>
                  <a:lnTo>
                    <a:pt x="2612" y="0"/>
                  </a:lnTo>
                  <a:lnTo>
                    <a:pt x="0" y="1562"/>
                  </a:lnTo>
                  <a:close/>
                </a:path>
              </a:pathLst>
            </a:custGeom>
            <a:solidFill>
              <a:schemeClr val="bg1">
                <a:lumMod val="95000"/>
              </a:schemeClr>
            </a:solidFill>
            <a:ln w="28575" cap="flat" cmpd="sng" algn="ctr">
              <a:noFill/>
              <a:prstDash val="solid"/>
            </a:ln>
            <a:effectLst/>
          </p:spPr>
          <p:txBody>
            <a:bodyPr anchor="ctr"/>
            <a:lstStyle/>
            <a:p>
              <a:pPr algn="ctr" fontAlgn="auto">
                <a:spcBef>
                  <a:spcPts val="0"/>
                </a:spcBef>
                <a:spcAft>
                  <a:spcPts val="0"/>
                </a:spcAft>
              </a:pPr>
              <a:endParaRPr lang="da-DK" kern="0">
                <a:solidFill>
                  <a:sysClr val="window" lastClr="FFFFFF"/>
                </a:solidFill>
                <a:latin typeface="Calibri"/>
              </a:endParaRPr>
            </a:p>
          </p:txBody>
        </p:sp>
        <p:sp>
          <p:nvSpPr>
            <p:cNvPr id="161" name="Freeform 72"/>
            <p:cNvSpPr>
              <a:spLocks/>
            </p:cNvSpPr>
            <p:nvPr/>
          </p:nvSpPr>
          <p:spPr bwMode="auto">
            <a:xfrm>
              <a:off x="2104" y="3025959"/>
              <a:ext cx="4576237" cy="2342048"/>
            </a:xfrm>
            <a:custGeom>
              <a:avLst/>
              <a:gdLst/>
              <a:ahLst/>
              <a:cxnLst>
                <a:cxn ang="0">
                  <a:pos x="2592" y="0"/>
                </a:cxn>
                <a:cxn ang="0">
                  <a:pos x="0" y="0"/>
                </a:cxn>
                <a:cxn ang="0">
                  <a:pos x="0" y="1552"/>
                </a:cxn>
                <a:cxn ang="0">
                  <a:pos x="2596" y="0"/>
                </a:cxn>
                <a:cxn ang="0">
                  <a:pos x="2592" y="0"/>
                </a:cxn>
              </a:cxnLst>
              <a:rect l="0" t="0" r="r" b="b"/>
              <a:pathLst>
                <a:path w="2596" h="1552">
                  <a:moveTo>
                    <a:pt x="2592" y="0"/>
                  </a:moveTo>
                  <a:lnTo>
                    <a:pt x="0" y="0"/>
                  </a:lnTo>
                  <a:lnTo>
                    <a:pt x="0" y="1552"/>
                  </a:lnTo>
                  <a:lnTo>
                    <a:pt x="2596" y="0"/>
                  </a:lnTo>
                  <a:lnTo>
                    <a:pt x="2592" y="0"/>
                  </a:lnTo>
                  <a:close/>
                </a:path>
              </a:pathLst>
            </a:custGeom>
            <a:solidFill>
              <a:schemeClr val="bg1">
                <a:lumMod val="95000"/>
              </a:schemeClr>
            </a:solidFill>
            <a:ln w="28575" cap="flat" cmpd="sng" algn="ctr">
              <a:noFill/>
              <a:prstDash val="solid"/>
            </a:ln>
            <a:effectLst/>
          </p:spPr>
          <p:txBody>
            <a:bodyPr anchor="ctr"/>
            <a:lstStyle/>
            <a:p>
              <a:pPr algn="ctr" fontAlgn="auto">
                <a:spcBef>
                  <a:spcPts val="0"/>
                </a:spcBef>
                <a:spcAft>
                  <a:spcPts val="0"/>
                </a:spcAft>
              </a:pPr>
              <a:endParaRPr lang="da-DK" kern="0">
                <a:solidFill>
                  <a:sysClr val="window" lastClr="FFFFFF"/>
                </a:solidFill>
                <a:latin typeface="Calibri"/>
              </a:endParaRPr>
            </a:p>
          </p:txBody>
        </p:sp>
      </p:grpSp>
      <p:sp>
        <p:nvSpPr>
          <p:cNvPr id="146" name="Freeform 70"/>
          <p:cNvSpPr>
            <a:spLocks/>
          </p:cNvSpPr>
          <p:nvPr/>
        </p:nvSpPr>
        <p:spPr bwMode="auto">
          <a:xfrm>
            <a:off x="2262017" y="3597956"/>
            <a:ext cx="4526878" cy="3260044"/>
          </a:xfrm>
          <a:custGeom>
            <a:avLst/>
            <a:gdLst/>
            <a:ahLst/>
            <a:cxnLst>
              <a:cxn ang="0">
                <a:pos x="0" y="2602"/>
              </a:cxn>
              <a:cxn ang="0">
                <a:pos x="2568" y="2602"/>
              </a:cxn>
              <a:cxn ang="0">
                <a:pos x="1338" y="0"/>
              </a:cxn>
              <a:cxn ang="0">
                <a:pos x="0" y="2602"/>
              </a:cxn>
            </a:cxnLst>
            <a:rect l="0" t="0" r="r" b="b"/>
            <a:pathLst>
              <a:path w="2568" h="2602">
                <a:moveTo>
                  <a:pt x="0" y="2602"/>
                </a:moveTo>
                <a:lnTo>
                  <a:pt x="2568" y="2602"/>
                </a:lnTo>
                <a:lnTo>
                  <a:pt x="1338" y="0"/>
                </a:lnTo>
                <a:lnTo>
                  <a:pt x="0" y="2602"/>
                </a:lnTo>
                <a:close/>
              </a:path>
            </a:pathLst>
          </a:custGeom>
          <a:solidFill>
            <a:schemeClr val="tx2">
              <a:lumMod val="75000"/>
            </a:schemeClr>
          </a:solidFill>
          <a:ln w="28575" cap="flat" cmpd="sng" algn="ctr">
            <a:gradFill flip="none" rotWithShape="1">
              <a:gsLst>
                <a:gs pos="50000">
                  <a:schemeClr val="accent5">
                    <a:lumMod val="60000"/>
                    <a:lumOff val="40000"/>
                  </a:schemeClr>
                </a:gs>
                <a:gs pos="100000">
                  <a:srgbClr val="002060"/>
                </a:gs>
              </a:gsLst>
              <a:lin ang="5400000" scaled="1"/>
              <a:tileRect/>
            </a:gradFill>
            <a:prstDash val="solid"/>
          </a:ln>
          <a:effectLst/>
        </p:spPr>
        <p:txBody>
          <a:bodyPr anchor="ctr"/>
          <a:lstStyle/>
          <a:p>
            <a:pPr algn="ctr" fontAlgn="auto">
              <a:spcBef>
                <a:spcPts val="0"/>
              </a:spcBef>
              <a:spcAft>
                <a:spcPts val="0"/>
              </a:spcAft>
              <a:defRPr/>
            </a:pPr>
            <a:endParaRPr lang="da-DK" kern="0" dirty="0">
              <a:solidFill>
                <a:sysClr val="window" lastClr="FFFFFF"/>
              </a:solidFill>
              <a:latin typeface="Calibri"/>
            </a:endParaRPr>
          </a:p>
        </p:txBody>
      </p:sp>
      <p:sp>
        <p:nvSpPr>
          <p:cNvPr id="15" name="Rektangel 14"/>
          <p:cNvSpPr/>
          <p:nvPr/>
        </p:nvSpPr>
        <p:spPr bwMode="auto">
          <a:xfrm>
            <a:off x="3563888" y="5099682"/>
            <a:ext cx="1977579" cy="461665"/>
          </a:xfrm>
          <a:prstGeom prst="rect">
            <a:avLst/>
          </a:prstGeom>
        </p:spPr>
        <p:txBody>
          <a:bodyPr wrap="square">
            <a:spAutoFit/>
          </a:bodyPr>
          <a:lstStyle/>
          <a:p>
            <a:pPr algn="ctr" fontAlgn="auto">
              <a:spcBef>
                <a:spcPts val="0"/>
              </a:spcBef>
              <a:spcAft>
                <a:spcPts val="0"/>
              </a:spcAft>
              <a:defRPr/>
            </a:pPr>
            <a:r>
              <a:rPr lang="tr-TR" sz="2400" b="1" kern="0" noProof="1" smtClean="0">
                <a:solidFill>
                  <a:schemeClr val="bg1"/>
                </a:solidFill>
                <a:latin typeface="Calibri" pitchFamily="34" charset="0"/>
                <a:cs typeface="Arial" charset="0"/>
              </a:rPr>
              <a:t>Entegrasyon</a:t>
            </a:r>
            <a:endParaRPr lang="da-DK" sz="2800" kern="0" dirty="0">
              <a:solidFill>
                <a:schemeClr val="bg1"/>
              </a:solidFill>
              <a:latin typeface="Arial" pitchFamily="34" charset="0"/>
            </a:endParaRPr>
          </a:p>
        </p:txBody>
      </p:sp>
      <p:grpSp>
        <p:nvGrpSpPr>
          <p:cNvPr id="3099" name="Gruppe 158"/>
          <p:cNvGrpSpPr>
            <a:grpSpLocks/>
          </p:cNvGrpSpPr>
          <p:nvPr/>
        </p:nvGrpSpPr>
        <p:grpSpPr bwMode="auto">
          <a:xfrm>
            <a:off x="4791868" y="5703248"/>
            <a:ext cx="1376362" cy="1143000"/>
            <a:chOff x="1957594" y="3932767"/>
            <a:chExt cx="1651328" cy="1371122"/>
          </a:xfrm>
        </p:grpSpPr>
        <p:grpSp>
          <p:nvGrpSpPr>
            <p:cNvPr id="20" name="Gruppe 376"/>
            <p:cNvGrpSpPr/>
            <p:nvPr/>
          </p:nvGrpSpPr>
          <p:grpSpPr>
            <a:xfrm>
              <a:off x="2620111" y="3932767"/>
              <a:ext cx="988811" cy="971071"/>
              <a:chOff x="2360448" y="750203"/>
              <a:chExt cx="4325435" cy="4247827"/>
            </a:xfrm>
            <a:solidFill>
              <a:schemeClr val="tx1"/>
            </a:solidFill>
            <a:effectLst>
              <a:outerShdw blurRad="50800" dist="38100" dir="2700000" algn="tl" rotWithShape="0">
                <a:prstClr val="black">
                  <a:alpha val="40000"/>
                </a:prstClr>
              </a:outerShdw>
            </a:effectLst>
          </p:grpSpPr>
          <p:sp>
            <p:nvSpPr>
              <p:cNvPr id="126" name="Blokbue 125"/>
              <p:cNvSpPr/>
              <p:nvPr/>
            </p:nvSpPr>
            <p:spPr bwMode="auto">
              <a:xfrm rot="10843925">
                <a:off x="2516174" y="1020923"/>
                <a:ext cx="3842697" cy="3842328"/>
              </a:xfrm>
              <a:prstGeom prst="blockArc">
                <a:avLst>
                  <a:gd name="adj1" fmla="val 12299351"/>
                  <a:gd name="adj2" fmla="val 15897654"/>
                  <a:gd name="adj3" fmla="val 26577"/>
                </a:avLst>
              </a:prstGeom>
              <a:solidFill>
                <a:schemeClr val="accent1">
                  <a:lumMod val="20000"/>
                  <a:lumOff val="80000"/>
                </a:schemeClr>
              </a:solidFill>
              <a:ln w="3175" cap="flat" cmpd="sng">
                <a:solidFill>
                  <a:schemeClr val="bg1">
                    <a:lumMod val="50000"/>
                  </a:schemeClr>
                </a:solidFill>
                <a:prstDash val="solid"/>
                <a:round/>
                <a:headEnd type="none" w="med" len="med"/>
                <a:tailEnd type="none" w="med" len="med"/>
              </a:ln>
              <a:effectLst/>
            </p:spPr>
            <p:txBody>
              <a:bodyPr/>
              <a:lstStyle/>
              <a:p>
                <a:pPr fontAlgn="auto">
                  <a:spcBef>
                    <a:spcPts val="0"/>
                  </a:spcBef>
                  <a:spcAft>
                    <a:spcPts val="0"/>
                  </a:spcAft>
                  <a:defRPr/>
                </a:pPr>
                <a:endParaRPr lang="da-DK" kern="0">
                  <a:solidFill>
                    <a:sysClr val="windowText" lastClr="000000">
                      <a:lumMod val="95000"/>
                      <a:lumOff val="5000"/>
                    </a:sysClr>
                  </a:solidFill>
                  <a:latin typeface="Calibri"/>
                </a:endParaRPr>
              </a:p>
            </p:txBody>
          </p:sp>
          <p:sp>
            <p:nvSpPr>
              <p:cNvPr id="127" name="Blokbue 126"/>
              <p:cNvSpPr/>
              <p:nvPr/>
            </p:nvSpPr>
            <p:spPr bwMode="auto">
              <a:xfrm rot="14446858">
                <a:off x="2411090" y="1028057"/>
                <a:ext cx="3842697" cy="3842328"/>
              </a:xfrm>
              <a:prstGeom prst="blockArc">
                <a:avLst>
                  <a:gd name="adj1" fmla="val 12299351"/>
                  <a:gd name="adj2" fmla="val 15897654"/>
                  <a:gd name="adj3" fmla="val 26577"/>
                </a:avLst>
              </a:prstGeom>
              <a:solidFill>
                <a:schemeClr val="accent1">
                  <a:lumMod val="20000"/>
                  <a:lumOff val="80000"/>
                </a:schemeClr>
              </a:solidFill>
              <a:ln w="3175" cap="flat" cmpd="sng">
                <a:solidFill>
                  <a:schemeClr val="bg1">
                    <a:lumMod val="50000"/>
                  </a:schemeClr>
                </a:solidFill>
                <a:prstDash val="solid"/>
                <a:round/>
                <a:headEnd type="none" w="med" len="med"/>
                <a:tailEnd type="none" w="med" len="med"/>
              </a:ln>
              <a:effectLst/>
            </p:spPr>
            <p:txBody>
              <a:bodyPr/>
              <a:lstStyle/>
              <a:p>
                <a:pPr fontAlgn="auto">
                  <a:spcBef>
                    <a:spcPts val="0"/>
                  </a:spcBef>
                  <a:spcAft>
                    <a:spcPts val="0"/>
                  </a:spcAft>
                  <a:defRPr/>
                </a:pPr>
                <a:endParaRPr lang="da-DK" kern="0">
                  <a:solidFill>
                    <a:sysClr val="windowText" lastClr="000000">
                      <a:lumMod val="95000"/>
                      <a:lumOff val="5000"/>
                    </a:sysClr>
                  </a:solidFill>
                  <a:latin typeface="Calibri"/>
                </a:endParaRPr>
              </a:p>
            </p:txBody>
          </p:sp>
          <p:sp>
            <p:nvSpPr>
              <p:cNvPr id="128" name="Blokbue 127"/>
              <p:cNvSpPr/>
              <p:nvPr/>
            </p:nvSpPr>
            <p:spPr bwMode="auto">
              <a:xfrm rot="18033862">
                <a:off x="2382907" y="921207"/>
                <a:ext cx="3842328" cy="3842697"/>
              </a:xfrm>
              <a:prstGeom prst="blockArc">
                <a:avLst>
                  <a:gd name="adj1" fmla="val 12299351"/>
                  <a:gd name="adj2" fmla="val 15897654"/>
                  <a:gd name="adj3" fmla="val 26577"/>
                </a:avLst>
              </a:prstGeom>
              <a:solidFill>
                <a:schemeClr val="accent1">
                  <a:lumMod val="20000"/>
                  <a:lumOff val="80000"/>
                </a:schemeClr>
              </a:solidFill>
              <a:ln w="3175" cap="flat" cmpd="sng">
                <a:solidFill>
                  <a:schemeClr val="bg1">
                    <a:lumMod val="50000"/>
                  </a:schemeClr>
                </a:solidFill>
                <a:prstDash val="solid"/>
                <a:round/>
                <a:headEnd type="none" w="med" len="med"/>
                <a:tailEnd type="none" w="med" len="med"/>
              </a:ln>
              <a:effectLst/>
            </p:spPr>
            <p:txBody>
              <a:bodyPr/>
              <a:lstStyle/>
              <a:p>
                <a:pPr fontAlgn="auto">
                  <a:spcBef>
                    <a:spcPts val="0"/>
                  </a:spcBef>
                  <a:spcAft>
                    <a:spcPts val="0"/>
                  </a:spcAft>
                  <a:defRPr/>
                </a:pPr>
                <a:endParaRPr lang="da-DK" kern="0">
                  <a:solidFill>
                    <a:sysClr val="windowText" lastClr="000000">
                      <a:lumMod val="95000"/>
                      <a:lumOff val="5000"/>
                    </a:sysClr>
                  </a:solidFill>
                  <a:latin typeface="Calibri"/>
                </a:endParaRPr>
              </a:p>
            </p:txBody>
          </p:sp>
          <p:sp>
            <p:nvSpPr>
              <p:cNvPr id="129" name="Blokbue 128"/>
              <p:cNvSpPr/>
              <p:nvPr/>
            </p:nvSpPr>
            <p:spPr bwMode="auto">
              <a:xfrm rot="14285">
                <a:off x="2443889" y="844858"/>
                <a:ext cx="3842697" cy="3842328"/>
              </a:xfrm>
              <a:prstGeom prst="blockArc">
                <a:avLst>
                  <a:gd name="adj1" fmla="val 12299351"/>
                  <a:gd name="adj2" fmla="val 15897654"/>
                  <a:gd name="adj3" fmla="val 26577"/>
                </a:avLst>
              </a:prstGeom>
              <a:solidFill>
                <a:schemeClr val="accent1">
                  <a:lumMod val="20000"/>
                  <a:lumOff val="80000"/>
                </a:schemeClr>
              </a:solidFill>
              <a:ln w="3175" cap="flat" cmpd="sng">
                <a:solidFill>
                  <a:schemeClr val="bg1">
                    <a:lumMod val="50000"/>
                  </a:schemeClr>
                </a:solidFill>
                <a:prstDash val="solid"/>
                <a:round/>
                <a:headEnd type="none" w="med" len="med"/>
                <a:tailEnd type="none" w="med" len="med"/>
              </a:ln>
              <a:effectLst/>
            </p:spPr>
            <p:txBody>
              <a:bodyPr/>
              <a:lstStyle/>
              <a:p>
                <a:pPr fontAlgn="auto">
                  <a:spcBef>
                    <a:spcPts val="0"/>
                  </a:spcBef>
                  <a:spcAft>
                    <a:spcPts val="0"/>
                  </a:spcAft>
                  <a:defRPr/>
                </a:pPr>
                <a:endParaRPr lang="da-DK" kern="0">
                  <a:solidFill>
                    <a:sysClr val="windowText" lastClr="000000">
                      <a:lumMod val="95000"/>
                      <a:lumOff val="5000"/>
                    </a:sysClr>
                  </a:solidFill>
                  <a:latin typeface="Calibri"/>
                </a:endParaRPr>
              </a:p>
            </p:txBody>
          </p:sp>
          <p:sp>
            <p:nvSpPr>
              <p:cNvPr id="130" name="Blokbue 129"/>
              <p:cNvSpPr/>
              <p:nvPr/>
            </p:nvSpPr>
            <p:spPr bwMode="auto">
              <a:xfrm rot="3730573">
                <a:off x="2518962" y="839770"/>
                <a:ext cx="3842697" cy="3842328"/>
              </a:xfrm>
              <a:prstGeom prst="blockArc">
                <a:avLst>
                  <a:gd name="adj1" fmla="val 12299351"/>
                  <a:gd name="adj2" fmla="val 15897654"/>
                  <a:gd name="adj3" fmla="val 26577"/>
                </a:avLst>
              </a:prstGeom>
              <a:solidFill>
                <a:schemeClr val="accent1">
                  <a:lumMod val="20000"/>
                  <a:lumOff val="80000"/>
                </a:schemeClr>
              </a:solidFill>
              <a:ln w="3175" cap="flat" cmpd="sng">
                <a:solidFill>
                  <a:schemeClr val="bg1">
                    <a:lumMod val="50000"/>
                  </a:schemeClr>
                </a:solidFill>
                <a:prstDash val="solid"/>
                <a:round/>
                <a:headEnd type="none" w="med" len="med"/>
                <a:tailEnd type="none" w="med" len="med"/>
              </a:ln>
              <a:effectLst/>
            </p:spPr>
            <p:txBody>
              <a:bodyPr/>
              <a:lstStyle/>
              <a:p>
                <a:pPr fontAlgn="auto">
                  <a:spcBef>
                    <a:spcPts val="0"/>
                  </a:spcBef>
                  <a:spcAft>
                    <a:spcPts val="0"/>
                  </a:spcAft>
                  <a:defRPr/>
                </a:pPr>
                <a:endParaRPr lang="da-DK" kern="0">
                  <a:solidFill>
                    <a:sysClr val="windowText" lastClr="000000">
                      <a:lumMod val="95000"/>
                      <a:lumOff val="5000"/>
                    </a:sysClr>
                  </a:solidFill>
                  <a:latin typeface="Calibri"/>
                </a:endParaRPr>
              </a:p>
            </p:txBody>
          </p:sp>
          <p:sp>
            <p:nvSpPr>
              <p:cNvPr id="131" name="Cirkulær pil 130"/>
              <p:cNvSpPr/>
              <p:nvPr/>
            </p:nvSpPr>
            <p:spPr>
              <a:xfrm rot="14216451" flipH="1" flipV="1">
                <a:off x="2399252" y="711399"/>
                <a:ext cx="4247827" cy="4325435"/>
              </a:xfrm>
              <a:prstGeom prst="circularArrow">
                <a:avLst>
                  <a:gd name="adj1" fmla="val 25269"/>
                  <a:gd name="adj2" fmla="val 1142319"/>
                  <a:gd name="adj3" fmla="val 20391973"/>
                  <a:gd name="adj4" fmla="val 16090810"/>
                  <a:gd name="adj5" fmla="val 17581"/>
                </a:avLst>
              </a:prstGeom>
              <a:solidFill>
                <a:schemeClr val="bg2">
                  <a:lumMod val="75000"/>
                </a:schemeClr>
              </a:solidFill>
              <a:ln w="9525" cap="flat" cmpd="sng" algn="ctr">
                <a:solidFill>
                  <a:schemeClr val="bg1">
                    <a:lumMod val="50000"/>
                  </a:schemeClr>
                </a:solidFill>
                <a:prstDash val="solid"/>
              </a:ln>
              <a:effectLst/>
            </p:spPr>
            <p:txBody>
              <a:bodyPr anchor="ctr"/>
              <a:lstStyle/>
              <a:p>
                <a:pPr algn="ctr" fontAlgn="auto">
                  <a:spcBef>
                    <a:spcPts val="0"/>
                  </a:spcBef>
                  <a:spcAft>
                    <a:spcPts val="0"/>
                  </a:spcAft>
                  <a:defRPr/>
                </a:pPr>
                <a:endParaRPr lang="da-DK" kern="0">
                  <a:solidFill>
                    <a:sysClr val="window" lastClr="FFFFFF"/>
                  </a:solidFill>
                  <a:latin typeface="Calibri"/>
                </a:endParaRPr>
              </a:p>
            </p:txBody>
          </p:sp>
        </p:grpSp>
        <p:grpSp>
          <p:nvGrpSpPr>
            <p:cNvPr id="21" name="Gruppe 376"/>
            <p:cNvGrpSpPr/>
            <p:nvPr/>
          </p:nvGrpSpPr>
          <p:grpSpPr>
            <a:xfrm>
              <a:off x="1957594" y="4332818"/>
              <a:ext cx="988811" cy="971071"/>
              <a:chOff x="2360449" y="750202"/>
              <a:chExt cx="4325434" cy="4247827"/>
            </a:xfrm>
            <a:solidFill>
              <a:schemeClr val="tx1"/>
            </a:solidFill>
            <a:effectLst>
              <a:outerShdw blurRad="50800" dist="38100" dir="2700000" algn="tl" rotWithShape="0">
                <a:prstClr val="black">
                  <a:alpha val="40000"/>
                </a:prstClr>
              </a:outerShdw>
            </a:effectLst>
          </p:grpSpPr>
          <p:sp>
            <p:nvSpPr>
              <p:cNvPr id="133" name="Blokbue 132"/>
              <p:cNvSpPr/>
              <p:nvPr/>
            </p:nvSpPr>
            <p:spPr bwMode="auto">
              <a:xfrm rot="10843925">
                <a:off x="2516174" y="1020923"/>
                <a:ext cx="3842697" cy="3842328"/>
              </a:xfrm>
              <a:prstGeom prst="blockArc">
                <a:avLst>
                  <a:gd name="adj1" fmla="val 12299351"/>
                  <a:gd name="adj2" fmla="val 15897654"/>
                  <a:gd name="adj3" fmla="val 26577"/>
                </a:avLst>
              </a:prstGeom>
              <a:solidFill>
                <a:schemeClr val="accent1">
                  <a:lumMod val="20000"/>
                  <a:lumOff val="80000"/>
                </a:schemeClr>
              </a:solidFill>
              <a:ln w="3175" cap="flat" cmpd="sng">
                <a:solidFill>
                  <a:schemeClr val="bg1">
                    <a:lumMod val="50000"/>
                  </a:schemeClr>
                </a:solidFill>
                <a:prstDash val="solid"/>
                <a:round/>
                <a:headEnd type="none" w="med" len="med"/>
                <a:tailEnd type="none" w="med" len="med"/>
              </a:ln>
              <a:effectLst/>
            </p:spPr>
            <p:txBody>
              <a:bodyPr/>
              <a:lstStyle/>
              <a:p>
                <a:pPr fontAlgn="auto">
                  <a:spcBef>
                    <a:spcPts val="0"/>
                  </a:spcBef>
                  <a:spcAft>
                    <a:spcPts val="0"/>
                  </a:spcAft>
                  <a:defRPr/>
                </a:pPr>
                <a:endParaRPr lang="da-DK" kern="0">
                  <a:solidFill>
                    <a:sysClr val="windowText" lastClr="000000">
                      <a:lumMod val="95000"/>
                      <a:lumOff val="5000"/>
                    </a:sysClr>
                  </a:solidFill>
                  <a:latin typeface="Calibri"/>
                </a:endParaRPr>
              </a:p>
            </p:txBody>
          </p:sp>
          <p:sp>
            <p:nvSpPr>
              <p:cNvPr id="134" name="Blokbue 133"/>
              <p:cNvSpPr/>
              <p:nvPr/>
            </p:nvSpPr>
            <p:spPr bwMode="auto">
              <a:xfrm rot="14446858">
                <a:off x="2411090" y="1028057"/>
                <a:ext cx="3842697" cy="3842328"/>
              </a:xfrm>
              <a:prstGeom prst="blockArc">
                <a:avLst>
                  <a:gd name="adj1" fmla="val 12299351"/>
                  <a:gd name="adj2" fmla="val 15897654"/>
                  <a:gd name="adj3" fmla="val 26577"/>
                </a:avLst>
              </a:prstGeom>
              <a:solidFill>
                <a:schemeClr val="accent1">
                  <a:lumMod val="20000"/>
                  <a:lumOff val="80000"/>
                </a:schemeClr>
              </a:solidFill>
              <a:ln w="3175" cap="flat" cmpd="sng">
                <a:solidFill>
                  <a:schemeClr val="bg1">
                    <a:lumMod val="50000"/>
                  </a:schemeClr>
                </a:solidFill>
                <a:prstDash val="solid"/>
                <a:round/>
                <a:headEnd type="none" w="med" len="med"/>
                <a:tailEnd type="none" w="med" len="med"/>
              </a:ln>
              <a:effectLst/>
            </p:spPr>
            <p:txBody>
              <a:bodyPr/>
              <a:lstStyle/>
              <a:p>
                <a:pPr fontAlgn="auto">
                  <a:spcBef>
                    <a:spcPts val="0"/>
                  </a:spcBef>
                  <a:spcAft>
                    <a:spcPts val="0"/>
                  </a:spcAft>
                  <a:defRPr/>
                </a:pPr>
                <a:endParaRPr lang="da-DK" kern="0">
                  <a:solidFill>
                    <a:sysClr val="windowText" lastClr="000000">
                      <a:lumMod val="95000"/>
                      <a:lumOff val="5000"/>
                    </a:sysClr>
                  </a:solidFill>
                  <a:latin typeface="Calibri"/>
                </a:endParaRPr>
              </a:p>
            </p:txBody>
          </p:sp>
          <p:sp>
            <p:nvSpPr>
              <p:cNvPr id="135" name="Blokbue 134"/>
              <p:cNvSpPr/>
              <p:nvPr/>
            </p:nvSpPr>
            <p:spPr bwMode="auto">
              <a:xfrm rot="18033862">
                <a:off x="2382907" y="921207"/>
                <a:ext cx="3842328" cy="3842697"/>
              </a:xfrm>
              <a:prstGeom prst="blockArc">
                <a:avLst>
                  <a:gd name="adj1" fmla="val 12299351"/>
                  <a:gd name="adj2" fmla="val 15897654"/>
                  <a:gd name="adj3" fmla="val 26577"/>
                </a:avLst>
              </a:prstGeom>
              <a:solidFill>
                <a:schemeClr val="accent1">
                  <a:lumMod val="20000"/>
                  <a:lumOff val="80000"/>
                </a:schemeClr>
              </a:solidFill>
              <a:ln w="3175" cap="flat" cmpd="sng">
                <a:solidFill>
                  <a:schemeClr val="bg1">
                    <a:lumMod val="50000"/>
                  </a:schemeClr>
                </a:solidFill>
                <a:prstDash val="solid"/>
                <a:round/>
                <a:headEnd type="none" w="med" len="med"/>
                <a:tailEnd type="none" w="med" len="med"/>
              </a:ln>
              <a:effectLst/>
            </p:spPr>
            <p:txBody>
              <a:bodyPr/>
              <a:lstStyle/>
              <a:p>
                <a:pPr fontAlgn="auto">
                  <a:spcBef>
                    <a:spcPts val="0"/>
                  </a:spcBef>
                  <a:spcAft>
                    <a:spcPts val="0"/>
                  </a:spcAft>
                  <a:defRPr/>
                </a:pPr>
                <a:endParaRPr lang="da-DK" kern="0">
                  <a:solidFill>
                    <a:sysClr val="windowText" lastClr="000000">
                      <a:lumMod val="95000"/>
                      <a:lumOff val="5000"/>
                    </a:sysClr>
                  </a:solidFill>
                  <a:latin typeface="Calibri"/>
                </a:endParaRPr>
              </a:p>
            </p:txBody>
          </p:sp>
          <p:sp>
            <p:nvSpPr>
              <p:cNvPr id="136" name="Blokbue 135"/>
              <p:cNvSpPr/>
              <p:nvPr/>
            </p:nvSpPr>
            <p:spPr bwMode="auto">
              <a:xfrm rot="14285">
                <a:off x="2443889" y="844858"/>
                <a:ext cx="3842697" cy="3842328"/>
              </a:xfrm>
              <a:prstGeom prst="blockArc">
                <a:avLst>
                  <a:gd name="adj1" fmla="val 12299351"/>
                  <a:gd name="adj2" fmla="val 15897654"/>
                  <a:gd name="adj3" fmla="val 26577"/>
                </a:avLst>
              </a:prstGeom>
              <a:solidFill>
                <a:schemeClr val="accent1">
                  <a:lumMod val="20000"/>
                  <a:lumOff val="80000"/>
                </a:schemeClr>
              </a:solidFill>
              <a:ln w="3175" cap="flat" cmpd="sng">
                <a:solidFill>
                  <a:schemeClr val="bg1">
                    <a:lumMod val="50000"/>
                  </a:schemeClr>
                </a:solidFill>
                <a:prstDash val="solid"/>
                <a:round/>
                <a:headEnd type="none" w="med" len="med"/>
                <a:tailEnd type="none" w="med" len="med"/>
              </a:ln>
              <a:effectLst/>
            </p:spPr>
            <p:txBody>
              <a:bodyPr/>
              <a:lstStyle/>
              <a:p>
                <a:pPr fontAlgn="auto">
                  <a:spcBef>
                    <a:spcPts val="0"/>
                  </a:spcBef>
                  <a:spcAft>
                    <a:spcPts val="0"/>
                  </a:spcAft>
                  <a:defRPr/>
                </a:pPr>
                <a:endParaRPr lang="da-DK" kern="0">
                  <a:solidFill>
                    <a:sysClr val="windowText" lastClr="000000">
                      <a:lumMod val="95000"/>
                      <a:lumOff val="5000"/>
                    </a:sysClr>
                  </a:solidFill>
                  <a:latin typeface="Calibri"/>
                </a:endParaRPr>
              </a:p>
            </p:txBody>
          </p:sp>
          <p:sp>
            <p:nvSpPr>
              <p:cNvPr id="137" name="Blokbue 136"/>
              <p:cNvSpPr/>
              <p:nvPr/>
            </p:nvSpPr>
            <p:spPr bwMode="auto">
              <a:xfrm rot="3730573">
                <a:off x="2518962" y="839770"/>
                <a:ext cx="3842697" cy="3842328"/>
              </a:xfrm>
              <a:prstGeom prst="blockArc">
                <a:avLst>
                  <a:gd name="adj1" fmla="val 12299351"/>
                  <a:gd name="adj2" fmla="val 15897654"/>
                  <a:gd name="adj3" fmla="val 26577"/>
                </a:avLst>
              </a:prstGeom>
              <a:solidFill>
                <a:schemeClr val="accent1">
                  <a:lumMod val="20000"/>
                  <a:lumOff val="80000"/>
                </a:schemeClr>
              </a:solidFill>
              <a:ln w="3175" cap="flat" cmpd="sng">
                <a:solidFill>
                  <a:schemeClr val="bg1">
                    <a:lumMod val="50000"/>
                  </a:schemeClr>
                </a:solidFill>
                <a:prstDash val="solid"/>
                <a:round/>
                <a:headEnd type="none" w="med" len="med"/>
                <a:tailEnd type="none" w="med" len="med"/>
              </a:ln>
              <a:effectLst/>
            </p:spPr>
            <p:txBody>
              <a:bodyPr/>
              <a:lstStyle/>
              <a:p>
                <a:pPr fontAlgn="auto">
                  <a:spcBef>
                    <a:spcPts val="0"/>
                  </a:spcBef>
                  <a:spcAft>
                    <a:spcPts val="0"/>
                  </a:spcAft>
                  <a:defRPr/>
                </a:pPr>
                <a:endParaRPr lang="da-DK" kern="0">
                  <a:solidFill>
                    <a:sysClr val="windowText" lastClr="000000">
                      <a:lumMod val="95000"/>
                      <a:lumOff val="5000"/>
                    </a:sysClr>
                  </a:solidFill>
                  <a:latin typeface="Calibri"/>
                </a:endParaRPr>
              </a:p>
            </p:txBody>
          </p:sp>
          <p:sp>
            <p:nvSpPr>
              <p:cNvPr id="138" name="Cirkulær pil 137"/>
              <p:cNvSpPr/>
              <p:nvPr/>
            </p:nvSpPr>
            <p:spPr>
              <a:xfrm rot="14216451" flipH="1" flipV="1">
                <a:off x="2399252" y="711399"/>
                <a:ext cx="4247827" cy="4325434"/>
              </a:xfrm>
              <a:prstGeom prst="circularArrow">
                <a:avLst>
                  <a:gd name="adj1" fmla="val 25269"/>
                  <a:gd name="adj2" fmla="val 1142319"/>
                  <a:gd name="adj3" fmla="val 20391973"/>
                  <a:gd name="adj4" fmla="val 16090810"/>
                  <a:gd name="adj5" fmla="val 17581"/>
                </a:avLst>
              </a:prstGeom>
              <a:solidFill>
                <a:schemeClr val="bg2">
                  <a:lumMod val="75000"/>
                </a:schemeClr>
              </a:solidFill>
              <a:ln w="9525" cap="flat" cmpd="sng" algn="ctr">
                <a:solidFill>
                  <a:schemeClr val="bg1">
                    <a:lumMod val="50000"/>
                  </a:schemeClr>
                </a:solidFill>
                <a:prstDash val="solid"/>
              </a:ln>
              <a:effectLst/>
            </p:spPr>
            <p:txBody>
              <a:bodyPr anchor="ctr"/>
              <a:lstStyle/>
              <a:p>
                <a:pPr algn="ctr" fontAlgn="auto">
                  <a:spcBef>
                    <a:spcPts val="0"/>
                  </a:spcBef>
                  <a:spcAft>
                    <a:spcPts val="0"/>
                  </a:spcAft>
                  <a:defRPr/>
                </a:pPr>
                <a:endParaRPr lang="da-DK" kern="0">
                  <a:solidFill>
                    <a:sysClr val="window" lastClr="FFFFFF"/>
                  </a:solidFill>
                  <a:latin typeface="Calibri"/>
                </a:endParaRPr>
              </a:p>
            </p:txBody>
          </p:sp>
        </p:grpSp>
      </p:grpSp>
      <p:grpSp>
        <p:nvGrpSpPr>
          <p:cNvPr id="22" name="Gruppe 230"/>
          <p:cNvGrpSpPr/>
          <p:nvPr/>
        </p:nvGrpSpPr>
        <p:grpSpPr>
          <a:xfrm>
            <a:off x="7852992" y="5021792"/>
            <a:ext cx="750088" cy="912281"/>
            <a:chOff x="544185" y="1026430"/>
            <a:chExt cx="5195568" cy="4987350"/>
          </a:xfrm>
          <a:effectLst>
            <a:outerShdw blurRad="50800" dist="38100" dir="2700000" algn="tl" rotWithShape="0">
              <a:prstClr val="black">
                <a:alpha val="40000"/>
              </a:prstClr>
            </a:outerShdw>
          </a:effectLst>
        </p:grpSpPr>
        <p:grpSp>
          <p:nvGrpSpPr>
            <p:cNvPr id="23" name="Gruppe 56"/>
            <p:cNvGrpSpPr>
              <a:grpSpLocks/>
            </p:cNvGrpSpPr>
            <p:nvPr/>
          </p:nvGrpSpPr>
          <p:grpSpPr bwMode="auto">
            <a:xfrm>
              <a:off x="544185" y="1026430"/>
              <a:ext cx="5195568" cy="4987349"/>
              <a:chOff x="543539" y="1027095"/>
              <a:chExt cx="5196840" cy="4986342"/>
            </a:xfrm>
          </p:grpSpPr>
          <p:grpSp>
            <p:nvGrpSpPr>
              <p:cNvPr id="24" name="Gruppe 25"/>
              <p:cNvGrpSpPr>
                <a:grpSpLocks/>
              </p:cNvGrpSpPr>
              <p:nvPr/>
            </p:nvGrpSpPr>
            <p:grpSpPr bwMode="auto">
              <a:xfrm>
                <a:off x="543539" y="1027095"/>
                <a:ext cx="5196840" cy="4986342"/>
                <a:chOff x="543539" y="1027095"/>
                <a:chExt cx="5196840" cy="4986342"/>
              </a:xfrm>
            </p:grpSpPr>
            <p:sp>
              <p:nvSpPr>
                <p:cNvPr id="155" name="Rektangel 154"/>
                <p:cNvSpPr/>
                <p:nvPr/>
              </p:nvSpPr>
              <p:spPr>
                <a:xfrm rot="16200000">
                  <a:off x="2619785" y="2821356"/>
                  <a:ext cx="4137778" cy="1391816"/>
                </a:xfrm>
                <a:prstGeom prst="rect">
                  <a:avLst/>
                </a:prstGeom>
                <a:solidFill>
                  <a:schemeClr val="accent1">
                    <a:lumMod val="20000"/>
                    <a:lumOff val="80000"/>
                  </a:schemeClr>
                </a:solidFill>
                <a:ln w="9525" cap="flat" cmpd="sng" algn="ctr">
                  <a:solidFill>
                    <a:sysClr val="window" lastClr="FFFFFF">
                      <a:lumMod val="95000"/>
                    </a:sysClr>
                  </a:solidFill>
                  <a:prstDash val="solid"/>
                </a:ln>
                <a:effectLst/>
              </p:spPr>
              <p:txBody>
                <a:bodyPr anchor="ctr"/>
                <a:lstStyle/>
                <a:p>
                  <a:pPr algn="ctr" fontAlgn="auto">
                    <a:spcBef>
                      <a:spcPts val="0"/>
                    </a:spcBef>
                    <a:spcAft>
                      <a:spcPts val="0"/>
                    </a:spcAft>
                    <a:defRPr/>
                  </a:pPr>
                  <a:endParaRPr lang="da-DK" kern="0" dirty="0">
                    <a:solidFill>
                      <a:sysClr val="window" lastClr="FFFFFF"/>
                    </a:solidFill>
                    <a:latin typeface="Calibri"/>
                  </a:endParaRPr>
                </a:p>
              </p:txBody>
            </p:sp>
            <p:sp>
              <p:nvSpPr>
                <p:cNvPr id="156" name="Venstre-opadgående pil 155"/>
                <p:cNvSpPr/>
                <p:nvPr/>
              </p:nvSpPr>
              <p:spPr>
                <a:xfrm flipH="1">
                  <a:off x="543539" y="1027095"/>
                  <a:ext cx="5196840" cy="4986342"/>
                </a:xfrm>
                <a:prstGeom prst="leftUpArrow">
                  <a:avLst>
                    <a:gd name="adj1" fmla="val 3074"/>
                    <a:gd name="adj2" fmla="val 4126"/>
                    <a:gd name="adj3" fmla="val 4936"/>
                  </a:avLst>
                </a:prstGeom>
                <a:gradFill flip="none" rotWithShape="1">
                  <a:gsLst>
                    <a:gs pos="51000">
                      <a:srgbClr val="FFFFFF">
                        <a:lumMod val="50000"/>
                      </a:srgbClr>
                    </a:gs>
                    <a:gs pos="69000">
                      <a:srgbClr val="FFFFFF">
                        <a:lumMod val="65000"/>
                      </a:srgbClr>
                    </a:gs>
                    <a:gs pos="100000">
                      <a:sysClr val="window" lastClr="FFFFFF">
                        <a:lumMod val="85000"/>
                        <a:alpha val="63000"/>
                      </a:sysClr>
                    </a:gs>
                  </a:gsLst>
                  <a:lin ang="2700000" scaled="1"/>
                  <a:tileRect/>
                </a:gradFill>
                <a:ln w="25400" cap="flat" cmpd="sng" algn="ctr">
                  <a:noFill/>
                  <a:prstDash val="solid"/>
                </a:ln>
                <a:effectLst/>
              </p:spPr>
              <p:txBody>
                <a:bodyPr anchor="ctr"/>
                <a:lstStyle/>
                <a:p>
                  <a:pPr algn="ctr" fontAlgn="auto">
                    <a:spcBef>
                      <a:spcPts val="0"/>
                    </a:spcBef>
                    <a:spcAft>
                      <a:spcPts val="0"/>
                    </a:spcAft>
                    <a:defRPr/>
                  </a:pPr>
                  <a:endParaRPr lang="da-DK" kern="0" dirty="0" err="1">
                    <a:solidFill>
                      <a:sysClr val="window" lastClr="FFFFFF"/>
                    </a:solidFill>
                    <a:latin typeface="Calibri"/>
                  </a:endParaRPr>
                </a:p>
              </p:txBody>
            </p:sp>
            <p:sp>
              <p:nvSpPr>
                <p:cNvPr id="157" name="Rektangel 156"/>
                <p:cNvSpPr/>
                <p:nvPr/>
              </p:nvSpPr>
              <p:spPr>
                <a:xfrm rot="16200000">
                  <a:off x="1120401" y="2782074"/>
                  <a:ext cx="4137777" cy="1470385"/>
                </a:xfrm>
                <a:prstGeom prst="rect">
                  <a:avLst/>
                </a:prstGeom>
                <a:solidFill>
                  <a:schemeClr val="accent1">
                    <a:lumMod val="20000"/>
                    <a:lumOff val="80000"/>
                  </a:schemeClr>
                </a:solidFill>
                <a:ln w="9525" cap="flat" cmpd="sng" algn="ctr">
                  <a:solidFill>
                    <a:sysClr val="window" lastClr="FFFFFF">
                      <a:lumMod val="95000"/>
                    </a:sysClr>
                  </a:solidFill>
                  <a:prstDash val="solid"/>
                </a:ln>
                <a:effectLst/>
              </p:spPr>
              <p:txBody>
                <a:bodyPr anchor="ctr"/>
                <a:lstStyle/>
                <a:p>
                  <a:pPr algn="ctr" fontAlgn="auto">
                    <a:spcBef>
                      <a:spcPts val="0"/>
                    </a:spcBef>
                    <a:spcAft>
                      <a:spcPts val="0"/>
                    </a:spcAft>
                    <a:defRPr/>
                  </a:pPr>
                  <a:endParaRPr lang="da-DK" kern="0" dirty="0">
                    <a:solidFill>
                      <a:sysClr val="window" lastClr="FFFFFF"/>
                    </a:solidFill>
                    <a:latin typeface="Calibri"/>
                  </a:endParaRPr>
                </a:p>
              </p:txBody>
            </p:sp>
            <p:sp>
              <p:nvSpPr>
                <p:cNvPr id="158" name="Rektangel 157"/>
                <p:cNvSpPr/>
                <p:nvPr/>
              </p:nvSpPr>
              <p:spPr>
                <a:xfrm rot="16200000">
                  <a:off x="-354035" y="2846301"/>
                  <a:ext cx="4137778" cy="1341926"/>
                </a:xfrm>
                <a:prstGeom prst="rect">
                  <a:avLst/>
                </a:prstGeom>
                <a:solidFill>
                  <a:schemeClr val="accent1">
                    <a:lumMod val="20000"/>
                    <a:lumOff val="80000"/>
                  </a:schemeClr>
                </a:solidFill>
                <a:ln w="9525" cap="flat" cmpd="sng" algn="ctr">
                  <a:solidFill>
                    <a:sysClr val="window" lastClr="FFFFFF">
                      <a:lumMod val="95000"/>
                    </a:sysClr>
                  </a:solidFill>
                  <a:prstDash val="solid"/>
                </a:ln>
                <a:effectLst/>
              </p:spPr>
              <p:txBody>
                <a:bodyPr anchor="ctr"/>
                <a:lstStyle/>
                <a:p>
                  <a:pPr algn="ctr" fontAlgn="auto">
                    <a:spcBef>
                      <a:spcPts val="0"/>
                    </a:spcBef>
                    <a:spcAft>
                      <a:spcPts val="0"/>
                    </a:spcAft>
                    <a:defRPr/>
                  </a:pPr>
                  <a:endParaRPr lang="da-DK" kern="0" dirty="0">
                    <a:solidFill>
                      <a:sysClr val="window" lastClr="FFFFFF"/>
                    </a:solidFill>
                    <a:latin typeface="Calibri"/>
                  </a:endParaRPr>
                </a:p>
              </p:txBody>
            </p:sp>
          </p:grpSp>
          <p:grpSp>
            <p:nvGrpSpPr>
              <p:cNvPr id="25" name="Gruppe 55"/>
              <p:cNvGrpSpPr>
                <a:grpSpLocks/>
              </p:cNvGrpSpPr>
              <p:nvPr/>
            </p:nvGrpSpPr>
            <p:grpSpPr bwMode="auto">
              <a:xfrm>
                <a:off x="897966" y="2443540"/>
                <a:ext cx="4542950" cy="2150627"/>
                <a:chOff x="898000" y="2443540"/>
                <a:chExt cx="4263183" cy="2150627"/>
              </a:xfrm>
            </p:grpSpPr>
            <p:cxnSp>
              <p:nvCxnSpPr>
                <p:cNvPr id="152" name="Lige forbindelse 151"/>
                <p:cNvCxnSpPr/>
                <p:nvPr/>
              </p:nvCxnSpPr>
              <p:spPr bwMode="auto">
                <a:xfrm flipH="1" flipV="1">
                  <a:off x="898000" y="4592580"/>
                  <a:ext cx="4263183" cy="1587"/>
                </a:xfrm>
                <a:prstGeom prst="line">
                  <a:avLst/>
                </a:prstGeom>
                <a:noFill/>
                <a:ln w="6350" cap="flat" cmpd="sng" algn="ctr">
                  <a:solidFill>
                    <a:srgbClr val="FFFFFF">
                      <a:lumMod val="75000"/>
                    </a:srgbClr>
                  </a:solidFill>
                  <a:prstDash val="sysDash"/>
                </a:ln>
                <a:effectLst/>
              </p:spPr>
            </p:cxnSp>
            <p:cxnSp>
              <p:nvCxnSpPr>
                <p:cNvPr id="153" name="Lige forbindelse 152"/>
                <p:cNvCxnSpPr/>
                <p:nvPr/>
              </p:nvCxnSpPr>
              <p:spPr bwMode="auto">
                <a:xfrm flipH="1" flipV="1">
                  <a:off x="898000" y="3510124"/>
                  <a:ext cx="4263183" cy="1587"/>
                </a:xfrm>
                <a:prstGeom prst="line">
                  <a:avLst/>
                </a:prstGeom>
                <a:noFill/>
                <a:ln w="6350" cap="flat" cmpd="sng" algn="ctr">
                  <a:solidFill>
                    <a:srgbClr val="FFFFFF">
                      <a:lumMod val="75000"/>
                    </a:srgbClr>
                  </a:solidFill>
                  <a:prstDash val="sysDash"/>
                </a:ln>
                <a:effectLst/>
              </p:spPr>
            </p:cxnSp>
            <p:cxnSp>
              <p:nvCxnSpPr>
                <p:cNvPr id="154" name="Lige forbindelse 153"/>
                <p:cNvCxnSpPr/>
                <p:nvPr/>
              </p:nvCxnSpPr>
              <p:spPr bwMode="auto">
                <a:xfrm flipH="1" flipV="1">
                  <a:off x="898000" y="2443540"/>
                  <a:ext cx="4263183" cy="1587"/>
                </a:xfrm>
                <a:prstGeom prst="line">
                  <a:avLst/>
                </a:prstGeom>
                <a:noFill/>
                <a:ln w="6350" cap="flat" cmpd="sng" algn="ctr">
                  <a:solidFill>
                    <a:srgbClr val="FFFFFF">
                      <a:lumMod val="75000"/>
                    </a:srgbClr>
                  </a:solidFill>
                  <a:prstDash val="sysDash"/>
                </a:ln>
                <a:effectLst/>
              </p:spPr>
            </p:cxnSp>
          </p:grpSp>
        </p:grpSp>
        <p:sp>
          <p:nvSpPr>
            <p:cNvPr id="148" name="Kombinationstegning 147"/>
            <p:cNvSpPr/>
            <p:nvPr/>
          </p:nvSpPr>
          <p:spPr>
            <a:xfrm>
              <a:off x="1082673" y="1463675"/>
              <a:ext cx="3163106" cy="3900487"/>
            </a:xfrm>
            <a:custGeom>
              <a:avLst/>
              <a:gdLst>
                <a:gd name="connsiteX0" fmla="*/ 0 w 2804160"/>
                <a:gd name="connsiteY0" fmla="*/ 3901440 h 3901440"/>
                <a:gd name="connsiteX1" fmla="*/ 1844040 w 2804160"/>
                <a:gd name="connsiteY1" fmla="*/ 2453640 h 3901440"/>
                <a:gd name="connsiteX2" fmla="*/ 2804160 w 2804160"/>
                <a:gd name="connsiteY2" fmla="*/ 0 h 3901440"/>
              </a:gdLst>
              <a:ahLst/>
              <a:cxnLst>
                <a:cxn ang="0">
                  <a:pos x="connsiteX0" y="connsiteY0"/>
                </a:cxn>
                <a:cxn ang="0">
                  <a:pos x="connsiteX1" y="connsiteY1"/>
                </a:cxn>
                <a:cxn ang="0">
                  <a:pos x="connsiteX2" y="connsiteY2"/>
                </a:cxn>
              </a:cxnLst>
              <a:rect l="l" t="t" r="r" b="b"/>
              <a:pathLst>
                <a:path w="2804160" h="3901440">
                  <a:moveTo>
                    <a:pt x="0" y="3901440"/>
                  </a:moveTo>
                  <a:cubicBezTo>
                    <a:pt x="688340" y="3502660"/>
                    <a:pt x="1376680" y="3103880"/>
                    <a:pt x="1844040" y="2453640"/>
                  </a:cubicBezTo>
                  <a:cubicBezTo>
                    <a:pt x="2311400" y="1803400"/>
                    <a:pt x="2557780" y="901700"/>
                    <a:pt x="2804160" y="0"/>
                  </a:cubicBezTo>
                </a:path>
              </a:pathLst>
            </a:custGeom>
            <a:noFill/>
            <a:ln w="25400" cap="flat" cmpd="sng" algn="ctr">
              <a:solidFill>
                <a:srgbClr val="FF0000"/>
              </a:solidFill>
              <a:prstDash val="solid"/>
              <a:tailEnd type="triangle"/>
            </a:ln>
            <a:effectLst>
              <a:outerShdw blurRad="40000" dist="20000" dir="5400000" rotWithShape="0">
                <a:srgbClr val="000000">
                  <a:alpha val="38000"/>
                </a:srgbClr>
              </a:outerShdw>
            </a:effectLst>
          </p:spPr>
          <p:txBody>
            <a:bodyPr anchor="ctr"/>
            <a:lstStyle/>
            <a:p>
              <a:pPr algn="ctr" fontAlgn="auto">
                <a:spcBef>
                  <a:spcPts val="0"/>
                </a:spcBef>
                <a:spcAft>
                  <a:spcPts val="0"/>
                </a:spcAft>
                <a:defRPr/>
              </a:pPr>
              <a:endParaRPr lang="da-DK" kern="0">
                <a:solidFill>
                  <a:sysClr val="window" lastClr="FFFFFF"/>
                </a:solidFill>
                <a:latin typeface="Calibri"/>
              </a:endParaRPr>
            </a:p>
          </p:txBody>
        </p:sp>
        <p:sp>
          <p:nvSpPr>
            <p:cNvPr id="149" name="Kombinationstegning 148"/>
            <p:cNvSpPr/>
            <p:nvPr/>
          </p:nvSpPr>
          <p:spPr>
            <a:xfrm>
              <a:off x="1084263" y="1463675"/>
              <a:ext cx="4356100" cy="3930650"/>
            </a:xfrm>
            <a:custGeom>
              <a:avLst/>
              <a:gdLst>
                <a:gd name="connsiteX0" fmla="*/ 27940 w 4356100"/>
                <a:gd name="connsiteY0" fmla="*/ 3931920 h 3931920"/>
                <a:gd name="connsiteX1" fmla="*/ 378460 w 4356100"/>
                <a:gd name="connsiteY1" fmla="*/ 2712720 h 3931920"/>
                <a:gd name="connsiteX2" fmla="*/ 2298700 w 4356100"/>
                <a:gd name="connsiteY2" fmla="*/ 2133600 h 3931920"/>
                <a:gd name="connsiteX3" fmla="*/ 3548380 w 4356100"/>
                <a:gd name="connsiteY3" fmla="*/ 792480 h 3931920"/>
                <a:gd name="connsiteX4" fmla="*/ 4356100 w 4356100"/>
                <a:gd name="connsiteY4" fmla="*/ 0 h 393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6100" h="3931920">
                  <a:moveTo>
                    <a:pt x="27940" y="3931920"/>
                  </a:moveTo>
                  <a:cubicBezTo>
                    <a:pt x="13970" y="3472180"/>
                    <a:pt x="0" y="3012440"/>
                    <a:pt x="378460" y="2712720"/>
                  </a:cubicBezTo>
                  <a:cubicBezTo>
                    <a:pt x="756920" y="2413000"/>
                    <a:pt x="1770380" y="2453640"/>
                    <a:pt x="2298700" y="2133600"/>
                  </a:cubicBezTo>
                  <a:cubicBezTo>
                    <a:pt x="2827020" y="1813560"/>
                    <a:pt x="3205480" y="1148080"/>
                    <a:pt x="3548380" y="792480"/>
                  </a:cubicBezTo>
                  <a:cubicBezTo>
                    <a:pt x="3891280" y="436880"/>
                    <a:pt x="4123690" y="218440"/>
                    <a:pt x="4356100" y="0"/>
                  </a:cubicBezTo>
                </a:path>
              </a:pathLst>
            </a:custGeom>
            <a:noFill/>
            <a:ln w="25400" cap="flat" cmpd="sng" algn="ctr">
              <a:solidFill>
                <a:srgbClr val="FF0000"/>
              </a:solidFill>
              <a:prstDash val="sysDash"/>
              <a:tailEnd type="triangle"/>
            </a:ln>
            <a:effectLst>
              <a:outerShdw blurRad="40000" dist="20000" dir="5400000" rotWithShape="0">
                <a:srgbClr val="000000">
                  <a:alpha val="38000"/>
                </a:srgbClr>
              </a:outerShdw>
            </a:effectLst>
          </p:spPr>
          <p:txBody>
            <a:bodyPr anchor="ctr"/>
            <a:lstStyle/>
            <a:p>
              <a:pPr algn="ctr" fontAlgn="auto">
                <a:spcBef>
                  <a:spcPts val="0"/>
                </a:spcBef>
                <a:spcAft>
                  <a:spcPts val="0"/>
                </a:spcAft>
                <a:defRPr/>
              </a:pPr>
              <a:endParaRPr lang="da-DK" kern="0">
                <a:solidFill>
                  <a:sysClr val="window" lastClr="FFFFFF"/>
                </a:solidFill>
                <a:latin typeface="Calibri"/>
              </a:endParaRPr>
            </a:p>
          </p:txBody>
        </p:sp>
      </p:grpSp>
      <p:grpSp>
        <p:nvGrpSpPr>
          <p:cNvPr id="3097" name="Gruppe 311"/>
          <p:cNvGrpSpPr>
            <a:grpSpLocks/>
          </p:cNvGrpSpPr>
          <p:nvPr/>
        </p:nvGrpSpPr>
        <p:grpSpPr bwMode="auto">
          <a:xfrm>
            <a:off x="8380667" y="2868597"/>
            <a:ext cx="812800" cy="762000"/>
            <a:chOff x="1216932" y="1129784"/>
            <a:chExt cx="5031467" cy="4719019"/>
          </a:xfrm>
        </p:grpSpPr>
        <p:grpSp>
          <p:nvGrpSpPr>
            <p:cNvPr id="3346" name="Gruppe 179"/>
            <p:cNvGrpSpPr>
              <a:grpSpLocks/>
            </p:cNvGrpSpPr>
            <p:nvPr/>
          </p:nvGrpSpPr>
          <p:grpSpPr bwMode="auto">
            <a:xfrm>
              <a:off x="3034938" y="3361493"/>
              <a:ext cx="3213712" cy="2487311"/>
              <a:chOff x="4700923" y="3673354"/>
              <a:chExt cx="4275477" cy="3310059"/>
            </a:xfrm>
          </p:grpSpPr>
          <p:sp>
            <p:nvSpPr>
              <p:cNvPr id="87" name="Freeform 5"/>
              <p:cNvSpPr>
                <a:spLocks/>
              </p:cNvSpPr>
              <p:nvPr/>
            </p:nvSpPr>
            <p:spPr bwMode="auto">
              <a:xfrm>
                <a:off x="4700931" y="3673338"/>
                <a:ext cx="732133" cy="3310067"/>
              </a:xfrm>
              <a:custGeom>
                <a:avLst/>
                <a:gdLst/>
                <a:ahLst/>
                <a:cxnLst>
                  <a:cxn ang="0">
                    <a:pos x="305" y="5"/>
                  </a:cxn>
                  <a:cxn ang="0">
                    <a:pos x="298" y="12"/>
                  </a:cxn>
                  <a:cxn ang="0">
                    <a:pos x="293" y="28"/>
                  </a:cxn>
                  <a:cxn ang="0">
                    <a:pos x="289" y="54"/>
                  </a:cxn>
                  <a:cxn ang="0">
                    <a:pos x="288" y="164"/>
                  </a:cxn>
                  <a:cxn ang="0">
                    <a:pos x="278" y="344"/>
                  </a:cxn>
                  <a:cxn ang="0">
                    <a:pos x="261" y="523"/>
                  </a:cxn>
                  <a:cxn ang="0">
                    <a:pos x="238" y="701"/>
                  </a:cxn>
                  <a:cxn ang="0">
                    <a:pos x="223" y="824"/>
                  </a:cxn>
                  <a:cxn ang="0">
                    <a:pos x="218" y="910"/>
                  </a:cxn>
                  <a:cxn ang="0">
                    <a:pos x="211" y="1002"/>
                  </a:cxn>
                  <a:cxn ang="0">
                    <a:pos x="194" y="1083"/>
                  </a:cxn>
                  <a:cxn ang="0">
                    <a:pos x="156" y="1114"/>
                  </a:cxn>
                  <a:cxn ang="0">
                    <a:pos x="111" y="1103"/>
                  </a:cxn>
                  <a:cxn ang="0">
                    <a:pos x="69" y="1087"/>
                  </a:cxn>
                  <a:cxn ang="0">
                    <a:pos x="26" y="1071"/>
                  </a:cxn>
                  <a:cxn ang="0">
                    <a:pos x="0" y="1065"/>
                  </a:cxn>
                  <a:cxn ang="0">
                    <a:pos x="1" y="1070"/>
                  </a:cxn>
                  <a:cxn ang="0">
                    <a:pos x="11" y="1082"/>
                  </a:cxn>
                  <a:cxn ang="0">
                    <a:pos x="62" y="1126"/>
                  </a:cxn>
                  <a:cxn ang="0">
                    <a:pos x="119" y="1169"/>
                  </a:cxn>
                  <a:cxn ang="0">
                    <a:pos x="150" y="1196"/>
                  </a:cxn>
                  <a:cxn ang="0">
                    <a:pos x="165" y="1225"/>
                  </a:cxn>
                  <a:cxn ang="0">
                    <a:pos x="169" y="1279"/>
                  </a:cxn>
                  <a:cxn ang="0">
                    <a:pos x="152" y="1479"/>
                  </a:cxn>
                  <a:cxn ang="0">
                    <a:pos x="119" y="1758"/>
                  </a:cxn>
                  <a:cxn ang="0">
                    <a:pos x="85" y="1996"/>
                  </a:cxn>
                  <a:cxn ang="0">
                    <a:pos x="84" y="2076"/>
                  </a:cxn>
                  <a:cxn ang="0">
                    <a:pos x="118" y="2087"/>
                  </a:cxn>
                  <a:cxn ang="0">
                    <a:pos x="157" y="2079"/>
                  </a:cxn>
                  <a:cxn ang="0">
                    <a:pos x="192" y="2058"/>
                  </a:cxn>
                  <a:cxn ang="0">
                    <a:pos x="200" y="1951"/>
                  </a:cxn>
                  <a:cxn ang="0">
                    <a:pos x="199" y="1762"/>
                  </a:cxn>
                  <a:cxn ang="0">
                    <a:pos x="209" y="1572"/>
                  </a:cxn>
                  <a:cxn ang="0">
                    <a:pos x="235" y="1384"/>
                  </a:cxn>
                  <a:cxn ang="0">
                    <a:pos x="256" y="1245"/>
                  </a:cxn>
                  <a:cxn ang="0">
                    <a:pos x="256" y="1147"/>
                  </a:cxn>
                  <a:cxn ang="0">
                    <a:pos x="261" y="1047"/>
                  </a:cxn>
                  <a:cxn ang="0">
                    <a:pos x="279" y="949"/>
                  </a:cxn>
                  <a:cxn ang="0">
                    <a:pos x="316" y="870"/>
                  </a:cxn>
                  <a:cxn ang="0">
                    <a:pos x="353" y="825"/>
                  </a:cxn>
                  <a:cxn ang="0">
                    <a:pos x="390" y="788"/>
                  </a:cxn>
                  <a:cxn ang="0">
                    <a:pos x="436" y="747"/>
                  </a:cxn>
                  <a:cxn ang="0">
                    <a:pos x="463" y="712"/>
                  </a:cxn>
                  <a:cxn ang="0">
                    <a:pos x="461" y="705"/>
                  </a:cxn>
                  <a:cxn ang="0">
                    <a:pos x="432" y="719"/>
                  </a:cxn>
                  <a:cxn ang="0">
                    <a:pos x="386" y="751"/>
                  </a:cxn>
                  <a:cxn ang="0">
                    <a:pos x="350" y="781"/>
                  </a:cxn>
                  <a:cxn ang="0">
                    <a:pos x="316" y="804"/>
                  </a:cxn>
                  <a:cxn ang="0">
                    <a:pos x="296" y="785"/>
                  </a:cxn>
                  <a:cxn ang="0">
                    <a:pos x="298" y="727"/>
                  </a:cxn>
                  <a:cxn ang="0">
                    <a:pos x="304" y="667"/>
                  </a:cxn>
                  <a:cxn ang="0">
                    <a:pos x="311" y="607"/>
                  </a:cxn>
                  <a:cxn ang="0">
                    <a:pos x="322" y="508"/>
                  </a:cxn>
                  <a:cxn ang="0">
                    <a:pos x="337" y="366"/>
                  </a:cxn>
                  <a:cxn ang="0">
                    <a:pos x="350" y="224"/>
                  </a:cxn>
                  <a:cxn ang="0">
                    <a:pos x="365" y="81"/>
                  </a:cxn>
                  <a:cxn ang="0">
                    <a:pos x="373" y="8"/>
                  </a:cxn>
                  <a:cxn ang="0">
                    <a:pos x="365" y="3"/>
                  </a:cxn>
                  <a:cxn ang="0">
                    <a:pos x="351" y="0"/>
                  </a:cxn>
                  <a:cxn ang="0">
                    <a:pos x="325" y="1"/>
                  </a:cxn>
                </a:cxnLst>
                <a:rect l="0" t="0" r="r" b="b"/>
                <a:pathLst>
                  <a:path w="466" h="2087">
                    <a:moveTo>
                      <a:pt x="310" y="5"/>
                    </a:moveTo>
                    <a:lnTo>
                      <a:pt x="305" y="5"/>
                    </a:lnTo>
                    <a:lnTo>
                      <a:pt x="301" y="8"/>
                    </a:lnTo>
                    <a:lnTo>
                      <a:pt x="298" y="12"/>
                    </a:lnTo>
                    <a:lnTo>
                      <a:pt x="296" y="19"/>
                    </a:lnTo>
                    <a:lnTo>
                      <a:pt x="293" y="28"/>
                    </a:lnTo>
                    <a:lnTo>
                      <a:pt x="291" y="40"/>
                    </a:lnTo>
                    <a:lnTo>
                      <a:pt x="289" y="54"/>
                    </a:lnTo>
                    <a:lnTo>
                      <a:pt x="289" y="74"/>
                    </a:lnTo>
                    <a:lnTo>
                      <a:pt x="288" y="164"/>
                    </a:lnTo>
                    <a:lnTo>
                      <a:pt x="285" y="254"/>
                    </a:lnTo>
                    <a:lnTo>
                      <a:pt x="278" y="344"/>
                    </a:lnTo>
                    <a:lnTo>
                      <a:pt x="271" y="434"/>
                    </a:lnTo>
                    <a:lnTo>
                      <a:pt x="261" y="523"/>
                    </a:lnTo>
                    <a:lnTo>
                      <a:pt x="251" y="612"/>
                    </a:lnTo>
                    <a:lnTo>
                      <a:pt x="238" y="701"/>
                    </a:lnTo>
                    <a:lnTo>
                      <a:pt x="225" y="789"/>
                    </a:lnTo>
                    <a:lnTo>
                      <a:pt x="223" y="824"/>
                    </a:lnTo>
                    <a:lnTo>
                      <a:pt x="221" y="865"/>
                    </a:lnTo>
                    <a:lnTo>
                      <a:pt x="218" y="910"/>
                    </a:lnTo>
                    <a:lnTo>
                      <a:pt x="216" y="956"/>
                    </a:lnTo>
                    <a:lnTo>
                      <a:pt x="211" y="1002"/>
                    </a:lnTo>
                    <a:lnTo>
                      <a:pt x="204" y="1044"/>
                    </a:lnTo>
                    <a:lnTo>
                      <a:pt x="194" y="1083"/>
                    </a:lnTo>
                    <a:lnTo>
                      <a:pt x="182" y="1116"/>
                    </a:lnTo>
                    <a:lnTo>
                      <a:pt x="156" y="1114"/>
                    </a:lnTo>
                    <a:lnTo>
                      <a:pt x="133" y="1109"/>
                    </a:lnTo>
                    <a:lnTo>
                      <a:pt x="111" y="1103"/>
                    </a:lnTo>
                    <a:lnTo>
                      <a:pt x="91" y="1096"/>
                    </a:lnTo>
                    <a:lnTo>
                      <a:pt x="69" y="1087"/>
                    </a:lnTo>
                    <a:lnTo>
                      <a:pt x="48" y="1078"/>
                    </a:lnTo>
                    <a:lnTo>
                      <a:pt x="26" y="1071"/>
                    </a:lnTo>
                    <a:lnTo>
                      <a:pt x="3" y="1065"/>
                    </a:lnTo>
                    <a:lnTo>
                      <a:pt x="0" y="1065"/>
                    </a:lnTo>
                    <a:lnTo>
                      <a:pt x="0" y="1068"/>
                    </a:lnTo>
                    <a:lnTo>
                      <a:pt x="1" y="1070"/>
                    </a:lnTo>
                    <a:lnTo>
                      <a:pt x="5" y="1075"/>
                    </a:lnTo>
                    <a:lnTo>
                      <a:pt x="11" y="1082"/>
                    </a:lnTo>
                    <a:lnTo>
                      <a:pt x="23" y="1093"/>
                    </a:lnTo>
                    <a:lnTo>
                      <a:pt x="62" y="1126"/>
                    </a:lnTo>
                    <a:lnTo>
                      <a:pt x="95" y="1151"/>
                    </a:lnTo>
                    <a:lnTo>
                      <a:pt x="119" y="1169"/>
                    </a:lnTo>
                    <a:lnTo>
                      <a:pt x="138" y="1184"/>
                    </a:lnTo>
                    <a:lnTo>
                      <a:pt x="150" y="1196"/>
                    </a:lnTo>
                    <a:lnTo>
                      <a:pt x="160" y="1209"/>
                    </a:lnTo>
                    <a:lnTo>
                      <a:pt x="165" y="1225"/>
                    </a:lnTo>
                    <a:lnTo>
                      <a:pt x="169" y="1246"/>
                    </a:lnTo>
                    <a:lnTo>
                      <a:pt x="169" y="1279"/>
                    </a:lnTo>
                    <a:lnTo>
                      <a:pt x="163" y="1362"/>
                    </a:lnTo>
                    <a:lnTo>
                      <a:pt x="152" y="1479"/>
                    </a:lnTo>
                    <a:lnTo>
                      <a:pt x="137" y="1617"/>
                    </a:lnTo>
                    <a:lnTo>
                      <a:pt x="119" y="1758"/>
                    </a:lnTo>
                    <a:lnTo>
                      <a:pt x="101" y="1889"/>
                    </a:lnTo>
                    <a:lnTo>
                      <a:pt x="85" y="1996"/>
                    </a:lnTo>
                    <a:lnTo>
                      <a:pt x="71" y="2064"/>
                    </a:lnTo>
                    <a:lnTo>
                      <a:pt x="84" y="2076"/>
                    </a:lnTo>
                    <a:lnTo>
                      <a:pt x="100" y="2084"/>
                    </a:lnTo>
                    <a:lnTo>
                      <a:pt x="118" y="2087"/>
                    </a:lnTo>
                    <a:lnTo>
                      <a:pt x="138" y="2086"/>
                    </a:lnTo>
                    <a:lnTo>
                      <a:pt x="157" y="2079"/>
                    </a:lnTo>
                    <a:lnTo>
                      <a:pt x="175" y="2071"/>
                    </a:lnTo>
                    <a:lnTo>
                      <a:pt x="192" y="2058"/>
                    </a:lnTo>
                    <a:lnTo>
                      <a:pt x="205" y="2043"/>
                    </a:lnTo>
                    <a:lnTo>
                      <a:pt x="200" y="1951"/>
                    </a:lnTo>
                    <a:lnTo>
                      <a:pt x="198" y="1858"/>
                    </a:lnTo>
                    <a:lnTo>
                      <a:pt x="199" y="1762"/>
                    </a:lnTo>
                    <a:lnTo>
                      <a:pt x="203" y="1667"/>
                    </a:lnTo>
                    <a:lnTo>
                      <a:pt x="209" y="1572"/>
                    </a:lnTo>
                    <a:lnTo>
                      <a:pt x="221" y="1477"/>
                    </a:lnTo>
                    <a:lnTo>
                      <a:pt x="235" y="1384"/>
                    </a:lnTo>
                    <a:lnTo>
                      <a:pt x="256" y="1294"/>
                    </a:lnTo>
                    <a:lnTo>
                      <a:pt x="256" y="1245"/>
                    </a:lnTo>
                    <a:lnTo>
                      <a:pt x="256" y="1197"/>
                    </a:lnTo>
                    <a:lnTo>
                      <a:pt x="256" y="1147"/>
                    </a:lnTo>
                    <a:lnTo>
                      <a:pt x="258" y="1098"/>
                    </a:lnTo>
                    <a:lnTo>
                      <a:pt x="261" y="1047"/>
                    </a:lnTo>
                    <a:lnTo>
                      <a:pt x="268" y="998"/>
                    </a:lnTo>
                    <a:lnTo>
                      <a:pt x="279" y="949"/>
                    </a:lnTo>
                    <a:lnTo>
                      <a:pt x="294" y="901"/>
                    </a:lnTo>
                    <a:lnTo>
                      <a:pt x="316" y="870"/>
                    </a:lnTo>
                    <a:lnTo>
                      <a:pt x="336" y="846"/>
                    </a:lnTo>
                    <a:lnTo>
                      <a:pt x="353" y="825"/>
                    </a:lnTo>
                    <a:lnTo>
                      <a:pt x="372" y="807"/>
                    </a:lnTo>
                    <a:lnTo>
                      <a:pt x="390" y="788"/>
                    </a:lnTo>
                    <a:lnTo>
                      <a:pt x="412" y="769"/>
                    </a:lnTo>
                    <a:lnTo>
                      <a:pt x="436" y="747"/>
                    </a:lnTo>
                    <a:lnTo>
                      <a:pt x="466" y="720"/>
                    </a:lnTo>
                    <a:lnTo>
                      <a:pt x="463" y="712"/>
                    </a:lnTo>
                    <a:lnTo>
                      <a:pt x="463" y="708"/>
                    </a:lnTo>
                    <a:lnTo>
                      <a:pt x="461" y="705"/>
                    </a:lnTo>
                    <a:lnTo>
                      <a:pt x="460" y="704"/>
                    </a:lnTo>
                    <a:lnTo>
                      <a:pt x="432" y="719"/>
                    </a:lnTo>
                    <a:lnTo>
                      <a:pt x="409" y="735"/>
                    </a:lnTo>
                    <a:lnTo>
                      <a:pt x="386" y="751"/>
                    </a:lnTo>
                    <a:lnTo>
                      <a:pt x="368" y="767"/>
                    </a:lnTo>
                    <a:lnTo>
                      <a:pt x="350" y="781"/>
                    </a:lnTo>
                    <a:lnTo>
                      <a:pt x="332" y="794"/>
                    </a:lnTo>
                    <a:lnTo>
                      <a:pt x="316" y="804"/>
                    </a:lnTo>
                    <a:lnTo>
                      <a:pt x="299" y="812"/>
                    </a:lnTo>
                    <a:lnTo>
                      <a:pt x="296" y="785"/>
                    </a:lnTo>
                    <a:lnTo>
                      <a:pt x="297" y="757"/>
                    </a:lnTo>
                    <a:lnTo>
                      <a:pt x="298" y="727"/>
                    </a:lnTo>
                    <a:lnTo>
                      <a:pt x="301" y="698"/>
                    </a:lnTo>
                    <a:lnTo>
                      <a:pt x="304" y="667"/>
                    </a:lnTo>
                    <a:lnTo>
                      <a:pt x="308" y="637"/>
                    </a:lnTo>
                    <a:lnTo>
                      <a:pt x="311" y="607"/>
                    </a:lnTo>
                    <a:lnTo>
                      <a:pt x="315" y="579"/>
                    </a:lnTo>
                    <a:lnTo>
                      <a:pt x="322" y="508"/>
                    </a:lnTo>
                    <a:lnTo>
                      <a:pt x="330" y="437"/>
                    </a:lnTo>
                    <a:lnTo>
                      <a:pt x="337" y="366"/>
                    </a:lnTo>
                    <a:lnTo>
                      <a:pt x="344" y="296"/>
                    </a:lnTo>
                    <a:lnTo>
                      <a:pt x="350" y="224"/>
                    </a:lnTo>
                    <a:lnTo>
                      <a:pt x="357" y="153"/>
                    </a:lnTo>
                    <a:lnTo>
                      <a:pt x="365" y="81"/>
                    </a:lnTo>
                    <a:lnTo>
                      <a:pt x="374" y="10"/>
                    </a:lnTo>
                    <a:lnTo>
                      <a:pt x="373" y="8"/>
                    </a:lnTo>
                    <a:lnTo>
                      <a:pt x="370" y="6"/>
                    </a:lnTo>
                    <a:lnTo>
                      <a:pt x="365" y="3"/>
                    </a:lnTo>
                    <a:lnTo>
                      <a:pt x="359" y="2"/>
                    </a:lnTo>
                    <a:lnTo>
                      <a:pt x="351" y="0"/>
                    </a:lnTo>
                    <a:lnTo>
                      <a:pt x="340" y="0"/>
                    </a:lnTo>
                    <a:lnTo>
                      <a:pt x="325" y="1"/>
                    </a:lnTo>
                    <a:lnTo>
                      <a:pt x="310" y="5"/>
                    </a:lnTo>
                    <a:close/>
                  </a:path>
                </a:pathLst>
              </a:custGeom>
              <a:gradFill>
                <a:gsLst>
                  <a:gs pos="87000">
                    <a:srgbClr val="FFFCF9">
                      <a:lumMod val="10000"/>
                    </a:srgbClr>
                  </a:gs>
                  <a:gs pos="100000">
                    <a:srgbClr val="F9AF18">
                      <a:lumMod val="60000"/>
                      <a:lumOff val="40000"/>
                    </a:srgbClr>
                  </a:gs>
                  <a:gs pos="100000">
                    <a:srgbClr val="E6E6E6">
                      <a:lumMod val="10000"/>
                    </a:srgbClr>
                  </a:gs>
                </a:gsLst>
                <a:lin ang="13500000" scaled="1"/>
              </a:grad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ndParaRPr>
              </a:p>
            </p:txBody>
          </p:sp>
          <p:grpSp>
            <p:nvGrpSpPr>
              <p:cNvPr id="3358" name="Gruppe 153"/>
              <p:cNvGrpSpPr>
                <a:grpSpLocks/>
              </p:cNvGrpSpPr>
              <p:nvPr/>
            </p:nvGrpSpPr>
            <p:grpSpPr bwMode="auto">
              <a:xfrm rot="779215">
                <a:off x="5272464" y="4272241"/>
                <a:ext cx="3703936" cy="1466354"/>
                <a:chOff x="-666788" y="1440461"/>
                <a:chExt cx="10099831" cy="3998430"/>
              </a:xfrm>
            </p:grpSpPr>
            <p:grpSp>
              <p:nvGrpSpPr>
                <p:cNvPr id="3359" name="Gruppe 16"/>
                <p:cNvGrpSpPr>
                  <a:grpSpLocks/>
                </p:cNvGrpSpPr>
                <p:nvPr/>
              </p:nvGrpSpPr>
              <p:grpSpPr bwMode="auto">
                <a:xfrm>
                  <a:off x="-666788" y="1440461"/>
                  <a:ext cx="10099831" cy="3998430"/>
                  <a:chOff x="-2033984" y="-2884383"/>
                  <a:chExt cx="11257774" cy="5997643"/>
                </a:xfrm>
              </p:grpSpPr>
              <p:sp>
                <p:nvSpPr>
                  <p:cNvPr id="91" name="Freeform 6"/>
                  <p:cNvSpPr>
                    <a:spLocks/>
                  </p:cNvSpPr>
                  <p:nvPr/>
                </p:nvSpPr>
                <p:spPr bwMode="auto">
                  <a:xfrm>
                    <a:off x="-1981965" y="-2880233"/>
                    <a:ext cx="11205735" cy="5993429"/>
                  </a:xfrm>
                  <a:custGeom>
                    <a:avLst/>
                    <a:gdLst>
                      <a:gd name="T0" fmla="*/ 5438 w 7036"/>
                      <a:gd name="T1" fmla="*/ 1364 h 3760"/>
                      <a:gd name="T2" fmla="*/ 5644 w 7036"/>
                      <a:gd name="T3" fmla="*/ 1612 h 3760"/>
                      <a:gd name="T4" fmla="*/ 5850 w 7036"/>
                      <a:gd name="T5" fmla="*/ 1824 h 3760"/>
                      <a:gd name="T6" fmla="*/ 6160 w 7036"/>
                      <a:gd name="T7" fmla="*/ 2088 h 3760"/>
                      <a:gd name="T8" fmla="*/ 6584 w 7036"/>
                      <a:gd name="T9" fmla="*/ 2390 h 3760"/>
                      <a:gd name="T10" fmla="*/ 7036 w 7036"/>
                      <a:gd name="T11" fmla="*/ 2696 h 3760"/>
                      <a:gd name="T12" fmla="*/ 5784 w 7036"/>
                      <a:gd name="T13" fmla="*/ 3094 h 3760"/>
                      <a:gd name="T14" fmla="*/ 4056 w 7036"/>
                      <a:gd name="T15" fmla="*/ 3600 h 3760"/>
                      <a:gd name="T16" fmla="*/ 3546 w 7036"/>
                      <a:gd name="T17" fmla="*/ 3734 h 3760"/>
                      <a:gd name="T18" fmla="*/ 3242 w 7036"/>
                      <a:gd name="T19" fmla="*/ 3756 h 3760"/>
                      <a:gd name="T20" fmla="*/ 2782 w 7036"/>
                      <a:gd name="T21" fmla="*/ 3750 h 3760"/>
                      <a:gd name="T22" fmla="*/ 2492 w 7036"/>
                      <a:gd name="T23" fmla="*/ 3716 h 3760"/>
                      <a:gd name="T24" fmla="*/ 2210 w 7036"/>
                      <a:gd name="T25" fmla="*/ 3654 h 3760"/>
                      <a:gd name="T26" fmla="*/ 1960 w 7036"/>
                      <a:gd name="T27" fmla="*/ 3550 h 3760"/>
                      <a:gd name="T28" fmla="*/ 1832 w 7036"/>
                      <a:gd name="T29" fmla="*/ 3462 h 3760"/>
                      <a:gd name="T30" fmla="*/ 1750 w 7036"/>
                      <a:gd name="T31" fmla="*/ 3378 h 3760"/>
                      <a:gd name="T32" fmla="*/ 1638 w 7036"/>
                      <a:gd name="T33" fmla="*/ 3208 h 3760"/>
                      <a:gd name="T34" fmla="*/ 1508 w 7036"/>
                      <a:gd name="T35" fmla="*/ 2948 h 3760"/>
                      <a:gd name="T36" fmla="*/ 1434 w 7036"/>
                      <a:gd name="T37" fmla="*/ 2732 h 3760"/>
                      <a:gd name="T38" fmla="*/ 1382 w 7036"/>
                      <a:gd name="T39" fmla="*/ 2480 h 3760"/>
                      <a:gd name="T40" fmla="*/ 1344 w 7036"/>
                      <a:gd name="T41" fmla="*/ 2330 h 3760"/>
                      <a:gd name="T42" fmla="*/ 1284 w 7036"/>
                      <a:gd name="T43" fmla="*/ 2244 h 3760"/>
                      <a:gd name="T44" fmla="*/ 1176 w 7036"/>
                      <a:gd name="T45" fmla="*/ 2182 h 3760"/>
                      <a:gd name="T46" fmla="*/ 1048 w 7036"/>
                      <a:gd name="T47" fmla="*/ 2152 h 3760"/>
                      <a:gd name="T48" fmla="*/ 928 w 7036"/>
                      <a:gd name="T49" fmla="*/ 2168 h 3760"/>
                      <a:gd name="T50" fmla="*/ 784 w 7036"/>
                      <a:gd name="T51" fmla="*/ 2238 h 3760"/>
                      <a:gd name="T52" fmla="*/ 548 w 7036"/>
                      <a:gd name="T53" fmla="*/ 2406 h 3760"/>
                      <a:gd name="T54" fmla="*/ 206 w 7036"/>
                      <a:gd name="T55" fmla="*/ 2712 h 3760"/>
                      <a:gd name="T56" fmla="*/ 88 w 7036"/>
                      <a:gd name="T57" fmla="*/ 2816 h 3760"/>
                      <a:gd name="T58" fmla="*/ 34 w 7036"/>
                      <a:gd name="T59" fmla="*/ 2758 h 3760"/>
                      <a:gd name="T60" fmla="*/ 2 w 7036"/>
                      <a:gd name="T61" fmla="*/ 2676 h 3760"/>
                      <a:gd name="T62" fmla="*/ 10 w 7036"/>
                      <a:gd name="T63" fmla="*/ 2592 h 3760"/>
                      <a:gd name="T64" fmla="*/ 54 w 7036"/>
                      <a:gd name="T65" fmla="*/ 2506 h 3760"/>
                      <a:gd name="T66" fmla="*/ 150 w 7036"/>
                      <a:gd name="T67" fmla="*/ 2396 h 3760"/>
                      <a:gd name="T68" fmla="*/ 372 w 7036"/>
                      <a:gd name="T69" fmla="*/ 2222 h 3760"/>
                      <a:gd name="T70" fmla="*/ 648 w 7036"/>
                      <a:gd name="T71" fmla="*/ 2052 h 3760"/>
                      <a:gd name="T72" fmla="*/ 1240 w 7036"/>
                      <a:gd name="T73" fmla="*/ 1724 h 3760"/>
                      <a:gd name="T74" fmla="*/ 1396 w 7036"/>
                      <a:gd name="T75" fmla="*/ 1618 h 3760"/>
                      <a:gd name="T76" fmla="*/ 1506 w 7036"/>
                      <a:gd name="T77" fmla="*/ 1478 h 3760"/>
                      <a:gd name="T78" fmla="*/ 1662 w 7036"/>
                      <a:gd name="T79" fmla="*/ 1226 h 3760"/>
                      <a:gd name="T80" fmla="*/ 1912 w 7036"/>
                      <a:gd name="T81" fmla="*/ 776 h 3760"/>
                      <a:gd name="T82" fmla="*/ 2070 w 7036"/>
                      <a:gd name="T83" fmla="*/ 534 h 3760"/>
                      <a:gd name="T84" fmla="*/ 2264 w 7036"/>
                      <a:gd name="T85" fmla="*/ 322 h 3760"/>
                      <a:gd name="T86" fmla="*/ 2444 w 7036"/>
                      <a:gd name="T87" fmla="*/ 192 h 3760"/>
                      <a:gd name="T88" fmla="*/ 2584 w 7036"/>
                      <a:gd name="T89" fmla="*/ 120 h 3760"/>
                      <a:gd name="T90" fmla="*/ 2742 w 7036"/>
                      <a:gd name="T91" fmla="*/ 64 h 3760"/>
                      <a:gd name="T92" fmla="*/ 2922 w 7036"/>
                      <a:gd name="T93" fmla="*/ 24 h 3760"/>
                      <a:gd name="T94" fmla="*/ 3126 w 7036"/>
                      <a:gd name="T95" fmla="*/ 2 h 3760"/>
                      <a:gd name="T96" fmla="*/ 3288 w 7036"/>
                      <a:gd name="T97" fmla="*/ 2 h 3760"/>
                      <a:gd name="T98" fmla="*/ 3500 w 7036"/>
                      <a:gd name="T99" fmla="*/ 26 h 3760"/>
                      <a:gd name="T100" fmla="*/ 3706 w 7036"/>
                      <a:gd name="T101" fmla="*/ 74 h 3760"/>
                      <a:gd name="T102" fmla="*/ 3956 w 7036"/>
                      <a:gd name="T103" fmla="*/ 166 h 3760"/>
                      <a:gd name="T104" fmla="*/ 4330 w 7036"/>
                      <a:gd name="T105" fmla="*/ 360 h 3760"/>
                      <a:gd name="T106" fmla="*/ 4660 w 7036"/>
                      <a:gd name="T107" fmla="*/ 588 h 3760"/>
                      <a:gd name="T108" fmla="*/ 4938 w 7036"/>
                      <a:gd name="T109" fmla="*/ 820 h 3760"/>
                      <a:gd name="T110" fmla="*/ 5228 w 7036"/>
                      <a:gd name="T111" fmla="*/ 1104 h 376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036"/>
                      <a:gd name="T169" fmla="*/ 0 h 3760"/>
                      <a:gd name="T170" fmla="*/ 7036 w 7036"/>
                      <a:gd name="T171" fmla="*/ 3760 h 376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036" h="3760">
                        <a:moveTo>
                          <a:pt x="5332" y="1222"/>
                        </a:moveTo>
                        <a:lnTo>
                          <a:pt x="5332" y="1222"/>
                        </a:lnTo>
                        <a:lnTo>
                          <a:pt x="5386" y="1294"/>
                        </a:lnTo>
                        <a:lnTo>
                          <a:pt x="5438" y="1364"/>
                        </a:lnTo>
                        <a:lnTo>
                          <a:pt x="5490" y="1430"/>
                        </a:lnTo>
                        <a:lnTo>
                          <a:pt x="5542" y="1494"/>
                        </a:lnTo>
                        <a:lnTo>
                          <a:pt x="5594" y="1554"/>
                        </a:lnTo>
                        <a:lnTo>
                          <a:pt x="5644" y="1612"/>
                        </a:lnTo>
                        <a:lnTo>
                          <a:pt x="5696" y="1668"/>
                        </a:lnTo>
                        <a:lnTo>
                          <a:pt x="5748" y="1722"/>
                        </a:lnTo>
                        <a:lnTo>
                          <a:pt x="5800" y="1774"/>
                        </a:lnTo>
                        <a:lnTo>
                          <a:pt x="5850" y="1824"/>
                        </a:lnTo>
                        <a:lnTo>
                          <a:pt x="5902" y="1872"/>
                        </a:lnTo>
                        <a:lnTo>
                          <a:pt x="5954" y="1918"/>
                        </a:lnTo>
                        <a:lnTo>
                          <a:pt x="6056" y="2006"/>
                        </a:lnTo>
                        <a:lnTo>
                          <a:pt x="6160" y="2088"/>
                        </a:lnTo>
                        <a:lnTo>
                          <a:pt x="6264" y="2168"/>
                        </a:lnTo>
                        <a:lnTo>
                          <a:pt x="6370" y="2242"/>
                        </a:lnTo>
                        <a:lnTo>
                          <a:pt x="6476" y="2316"/>
                        </a:lnTo>
                        <a:lnTo>
                          <a:pt x="6584" y="2390"/>
                        </a:lnTo>
                        <a:lnTo>
                          <a:pt x="6806" y="2538"/>
                        </a:lnTo>
                        <a:lnTo>
                          <a:pt x="6920" y="2616"/>
                        </a:lnTo>
                        <a:lnTo>
                          <a:pt x="7036" y="2696"/>
                        </a:lnTo>
                        <a:lnTo>
                          <a:pt x="6882" y="2748"/>
                        </a:lnTo>
                        <a:lnTo>
                          <a:pt x="6700" y="2808"/>
                        </a:lnTo>
                        <a:lnTo>
                          <a:pt x="6272" y="2944"/>
                        </a:lnTo>
                        <a:lnTo>
                          <a:pt x="5784" y="3094"/>
                        </a:lnTo>
                        <a:lnTo>
                          <a:pt x="5266" y="3250"/>
                        </a:lnTo>
                        <a:lnTo>
                          <a:pt x="4752" y="3400"/>
                        </a:lnTo>
                        <a:lnTo>
                          <a:pt x="4272" y="3538"/>
                        </a:lnTo>
                        <a:lnTo>
                          <a:pt x="4056" y="3600"/>
                        </a:lnTo>
                        <a:lnTo>
                          <a:pt x="3860" y="3652"/>
                        </a:lnTo>
                        <a:lnTo>
                          <a:pt x="3690" y="3698"/>
                        </a:lnTo>
                        <a:lnTo>
                          <a:pt x="3546" y="3734"/>
                        </a:lnTo>
                        <a:lnTo>
                          <a:pt x="3502" y="3740"/>
                        </a:lnTo>
                        <a:lnTo>
                          <a:pt x="3434" y="3746"/>
                        </a:lnTo>
                        <a:lnTo>
                          <a:pt x="3346" y="3752"/>
                        </a:lnTo>
                        <a:lnTo>
                          <a:pt x="3242" y="3756"/>
                        </a:lnTo>
                        <a:lnTo>
                          <a:pt x="3122" y="3760"/>
                        </a:lnTo>
                        <a:lnTo>
                          <a:pt x="2992" y="3758"/>
                        </a:lnTo>
                        <a:lnTo>
                          <a:pt x="2854" y="3754"/>
                        </a:lnTo>
                        <a:lnTo>
                          <a:pt x="2782" y="3750"/>
                        </a:lnTo>
                        <a:lnTo>
                          <a:pt x="2710" y="3744"/>
                        </a:lnTo>
                        <a:lnTo>
                          <a:pt x="2638" y="3736"/>
                        </a:lnTo>
                        <a:lnTo>
                          <a:pt x="2564" y="3728"/>
                        </a:lnTo>
                        <a:lnTo>
                          <a:pt x="2492" y="3716"/>
                        </a:lnTo>
                        <a:lnTo>
                          <a:pt x="2420" y="3704"/>
                        </a:lnTo>
                        <a:lnTo>
                          <a:pt x="2348" y="3690"/>
                        </a:lnTo>
                        <a:lnTo>
                          <a:pt x="2278" y="3672"/>
                        </a:lnTo>
                        <a:lnTo>
                          <a:pt x="2210" y="3654"/>
                        </a:lnTo>
                        <a:lnTo>
                          <a:pt x="2144" y="3632"/>
                        </a:lnTo>
                        <a:lnTo>
                          <a:pt x="2080" y="3608"/>
                        </a:lnTo>
                        <a:lnTo>
                          <a:pt x="2018" y="3580"/>
                        </a:lnTo>
                        <a:lnTo>
                          <a:pt x="1960" y="3550"/>
                        </a:lnTo>
                        <a:lnTo>
                          <a:pt x="1906" y="3518"/>
                        </a:lnTo>
                        <a:lnTo>
                          <a:pt x="1880" y="3500"/>
                        </a:lnTo>
                        <a:lnTo>
                          <a:pt x="1856" y="3482"/>
                        </a:lnTo>
                        <a:lnTo>
                          <a:pt x="1832" y="3462"/>
                        </a:lnTo>
                        <a:lnTo>
                          <a:pt x="1810" y="3444"/>
                        </a:lnTo>
                        <a:lnTo>
                          <a:pt x="1788" y="3422"/>
                        </a:lnTo>
                        <a:lnTo>
                          <a:pt x="1768" y="3400"/>
                        </a:lnTo>
                        <a:lnTo>
                          <a:pt x="1750" y="3378"/>
                        </a:lnTo>
                        <a:lnTo>
                          <a:pt x="1732" y="3356"/>
                        </a:lnTo>
                        <a:lnTo>
                          <a:pt x="1682" y="3280"/>
                        </a:lnTo>
                        <a:lnTo>
                          <a:pt x="1638" y="3208"/>
                        </a:lnTo>
                        <a:lnTo>
                          <a:pt x="1600" y="3138"/>
                        </a:lnTo>
                        <a:lnTo>
                          <a:pt x="1564" y="3072"/>
                        </a:lnTo>
                        <a:lnTo>
                          <a:pt x="1534" y="3010"/>
                        </a:lnTo>
                        <a:lnTo>
                          <a:pt x="1508" y="2948"/>
                        </a:lnTo>
                        <a:lnTo>
                          <a:pt x="1484" y="2890"/>
                        </a:lnTo>
                        <a:lnTo>
                          <a:pt x="1466" y="2836"/>
                        </a:lnTo>
                        <a:lnTo>
                          <a:pt x="1448" y="2782"/>
                        </a:lnTo>
                        <a:lnTo>
                          <a:pt x="1434" y="2732"/>
                        </a:lnTo>
                        <a:lnTo>
                          <a:pt x="1422" y="2684"/>
                        </a:lnTo>
                        <a:lnTo>
                          <a:pt x="1412" y="2640"/>
                        </a:lnTo>
                        <a:lnTo>
                          <a:pt x="1396" y="2556"/>
                        </a:lnTo>
                        <a:lnTo>
                          <a:pt x="1382" y="2480"/>
                        </a:lnTo>
                        <a:lnTo>
                          <a:pt x="1368" y="2414"/>
                        </a:lnTo>
                        <a:lnTo>
                          <a:pt x="1362" y="2384"/>
                        </a:lnTo>
                        <a:lnTo>
                          <a:pt x="1354" y="2356"/>
                        </a:lnTo>
                        <a:lnTo>
                          <a:pt x="1344" y="2330"/>
                        </a:lnTo>
                        <a:lnTo>
                          <a:pt x="1332" y="2306"/>
                        </a:lnTo>
                        <a:lnTo>
                          <a:pt x="1318" y="2284"/>
                        </a:lnTo>
                        <a:lnTo>
                          <a:pt x="1302" y="2264"/>
                        </a:lnTo>
                        <a:lnTo>
                          <a:pt x="1284" y="2244"/>
                        </a:lnTo>
                        <a:lnTo>
                          <a:pt x="1262" y="2226"/>
                        </a:lnTo>
                        <a:lnTo>
                          <a:pt x="1238" y="2210"/>
                        </a:lnTo>
                        <a:lnTo>
                          <a:pt x="1208" y="2196"/>
                        </a:lnTo>
                        <a:lnTo>
                          <a:pt x="1176" y="2182"/>
                        </a:lnTo>
                        <a:lnTo>
                          <a:pt x="1138" y="2172"/>
                        </a:lnTo>
                        <a:lnTo>
                          <a:pt x="1096" y="2160"/>
                        </a:lnTo>
                        <a:lnTo>
                          <a:pt x="1048" y="2152"/>
                        </a:lnTo>
                        <a:lnTo>
                          <a:pt x="1020" y="2150"/>
                        </a:lnTo>
                        <a:lnTo>
                          <a:pt x="992" y="2152"/>
                        </a:lnTo>
                        <a:lnTo>
                          <a:pt x="962" y="2158"/>
                        </a:lnTo>
                        <a:lnTo>
                          <a:pt x="928" y="2168"/>
                        </a:lnTo>
                        <a:lnTo>
                          <a:pt x="894" y="2180"/>
                        </a:lnTo>
                        <a:lnTo>
                          <a:pt x="858" y="2198"/>
                        </a:lnTo>
                        <a:lnTo>
                          <a:pt x="822" y="2216"/>
                        </a:lnTo>
                        <a:lnTo>
                          <a:pt x="784" y="2238"/>
                        </a:lnTo>
                        <a:lnTo>
                          <a:pt x="746" y="2262"/>
                        </a:lnTo>
                        <a:lnTo>
                          <a:pt x="706" y="2288"/>
                        </a:lnTo>
                        <a:lnTo>
                          <a:pt x="628" y="2346"/>
                        </a:lnTo>
                        <a:lnTo>
                          <a:pt x="548" y="2406"/>
                        </a:lnTo>
                        <a:lnTo>
                          <a:pt x="470" y="2472"/>
                        </a:lnTo>
                        <a:lnTo>
                          <a:pt x="396" y="2536"/>
                        </a:lnTo>
                        <a:lnTo>
                          <a:pt x="326" y="2600"/>
                        </a:lnTo>
                        <a:lnTo>
                          <a:pt x="206" y="2712"/>
                        </a:lnTo>
                        <a:lnTo>
                          <a:pt x="122" y="2790"/>
                        </a:lnTo>
                        <a:lnTo>
                          <a:pt x="98" y="2810"/>
                        </a:lnTo>
                        <a:lnTo>
                          <a:pt x="90" y="2816"/>
                        </a:lnTo>
                        <a:lnTo>
                          <a:pt x="88" y="2816"/>
                        </a:lnTo>
                        <a:lnTo>
                          <a:pt x="66" y="2798"/>
                        </a:lnTo>
                        <a:lnTo>
                          <a:pt x="50" y="2778"/>
                        </a:lnTo>
                        <a:lnTo>
                          <a:pt x="34" y="2758"/>
                        </a:lnTo>
                        <a:lnTo>
                          <a:pt x="22" y="2738"/>
                        </a:lnTo>
                        <a:lnTo>
                          <a:pt x="14" y="2718"/>
                        </a:lnTo>
                        <a:lnTo>
                          <a:pt x="6" y="2698"/>
                        </a:lnTo>
                        <a:lnTo>
                          <a:pt x="2" y="2676"/>
                        </a:lnTo>
                        <a:lnTo>
                          <a:pt x="0" y="2656"/>
                        </a:lnTo>
                        <a:lnTo>
                          <a:pt x="2" y="2634"/>
                        </a:lnTo>
                        <a:lnTo>
                          <a:pt x="6" y="2614"/>
                        </a:lnTo>
                        <a:lnTo>
                          <a:pt x="10" y="2592"/>
                        </a:lnTo>
                        <a:lnTo>
                          <a:pt x="18" y="2570"/>
                        </a:lnTo>
                        <a:lnTo>
                          <a:pt x="28" y="2550"/>
                        </a:lnTo>
                        <a:lnTo>
                          <a:pt x="40" y="2528"/>
                        </a:lnTo>
                        <a:lnTo>
                          <a:pt x="54" y="2506"/>
                        </a:lnTo>
                        <a:lnTo>
                          <a:pt x="70" y="2484"/>
                        </a:lnTo>
                        <a:lnTo>
                          <a:pt x="86" y="2462"/>
                        </a:lnTo>
                        <a:lnTo>
                          <a:pt x="106" y="2440"/>
                        </a:lnTo>
                        <a:lnTo>
                          <a:pt x="150" y="2396"/>
                        </a:lnTo>
                        <a:lnTo>
                          <a:pt x="198" y="2352"/>
                        </a:lnTo>
                        <a:lnTo>
                          <a:pt x="252" y="2308"/>
                        </a:lnTo>
                        <a:lnTo>
                          <a:pt x="310" y="2264"/>
                        </a:lnTo>
                        <a:lnTo>
                          <a:pt x="372" y="2222"/>
                        </a:lnTo>
                        <a:lnTo>
                          <a:pt x="438" y="2178"/>
                        </a:lnTo>
                        <a:lnTo>
                          <a:pt x="506" y="2136"/>
                        </a:lnTo>
                        <a:lnTo>
                          <a:pt x="576" y="2092"/>
                        </a:lnTo>
                        <a:lnTo>
                          <a:pt x="648" y="2052"/>
                        </a:lnTo>
                        <a:lnTo>
                          <a:pt x="792" y="1970"/>
                        </a:lnTo>
                        <a:lnTo>
                          <a:pt x="1066" y="1822"/>
                        </a:lnTo>
                        <a:lnTo>
                          <a:pt x="1186" y="1754"/>
                        </a:lnTo>
                        <a:lnTo>
                          <a:pt x="1240" y="1724"/>
                        </a:lnTo>
                        <a:lnTo>
                          <a:pt x="1288" y="1694"/>
                        </a:lnTo>
                        <a:lnTo>
                          <a:pt x="1332" y="1666"/>
                        </a:lnTo>
                        <a:lnTo>
                          <a:pt x="1368" y="1640"/>
                        </a:lnTo>
                        <a:lnTo>
                          <a:pt x="1396" y="1618"/>
                        </a:lnTo>
                        <a:lnTo>
                          <a:pt x="1418" y="1596"/>
                        </a:lnTo>
                        <a:lnTo>
                          <a:pt x="1462" y="1538"/>
                        </a:lnTo>
                        <a:lnTo>
                          <a:pt x="1506" y="1478"/>
                        </a:lnTo>
                        <a:lnTo>
                          <a:pt x="1548" y="1416"/>
                        </a:lnTo>
                        <a:lnTo>
                          <a:pt x="1588" y="1354"/>
                        </a:lnTo>
                        <a:lnTo>
                          <a:pt x="1626" y="1290"/>
                        </a:lnTo>
                        <a:lnTo>
                          <a:pt x="1662" y="1226"/>
                        </a:lnTo>
                        <a:lnTo>
                          <a:pt x="1734" y="1096"/>
                        </a:lnTo>
                        <a:lnTo>
                          <a:pt x="1804" y="966"/>
                        </a:lnTo>
                        <a:lnTo>
                          <a:pt x="1874" y="838"/>
                        </a:lnTo>
                        <a:lnTo>
                          <a:pt x="1912" y="776"/>
                        </a:lnTo>
                        <a:lnTo>
                          <a:pt x="1948" y="714"/>
                        </a:lnTo>
                        <a:lnTo>
                          <a:pt x="1988" y="652"/>
                        </a:lnTo>
                        <a:lnTo>
                          <a:pt x="2028" y="592"/>
                        </a:lnTo>
                        <a:lnTo>
                          <a:pt x="2070" y="534"/>
                        </a:lnTo>
                        <a:lnTo>
                          <a:pt x="2116" y="478"/>
                        </a:lnTo>
                        <a:lnTo>
                          <a:pt x="2162" y="424"/>
                        </a:lnTo>
                        <a:lnTo>
                          <a:pt x="2212" y="372"/>
                        </a:lnTo>
                        <a:lnTo>
                          <a:pt x="2264" y="322"/>
                        </a:lnTo>
                        <a:lnTo>
                          <a:pt x="2320" y="276"/>
                        </a:lnTo>
                        <a:lnTo>
                          <a:pt x="2380" y="232"/>
                        </a:lnTo>
                        <a:lnTo>
                          <a:pt x="2412" y="212"/>
                        </a:lnTo>
                        <a:lnTo>
                          <a:pt x="2444" y="192"/>
                        </a:lnTo>
                        <a:lnTo>
                          <a:pt x="2478" y="172"/>
                        </a:lnTo>
                        <a:lnTo>
                          <a:pt x="2512" y="154"/>
                        </a:lnTo>
                        <a:lnTo>
                          <a:pt x="2548" y="136"/>
                        </a:lnTo>
                        <a:lnTo>
                          <a:pt x="2584" y="120"/>
                        </a:lnTo>
                        <a:lnTo>
                          <a:pt x="2622" y="104"/>
                        </a:lnTo>
                        <a:lnTo>
                          <a:pt x="2662" y="90"/>
                        </a:lnTo>
                        <a:lnTo>
                          <a:pt x="2702" y="76"/>
                        </a:lnTo>
                        <a:lnTo>
                          <a:pt x="2742" y="64"/>
                        </a:lnTo>
                        <a:lnTo>
                          <a:pt x="2786" y="52"/>
                        </a:lnTo>
                        <a:lnTo>
                          <a:pt x="2830" y="42"/>
                        </a:lnTo>
                        <a:lnTo>
                          <a:pt x="2876" y="32"/>
                        </a:lnTo>
                        <a:lnTo>
                          <a:pt x="2922" y="24"/>
                        </a:lnTo>
                        <a:lnTo>
                          <a:pt x="2972" y="16"/>
                        </a:lnTo>
                        <a:lnTo>
                          <a:pt x="3022" y="10"/>
                        </a:lnTo>
                        <a:lnTo>
                          <a:pt x="3074" y="6"/>
                        </a:lnTo>
                        <a:lnTo>
                          <a:pt x="3126" y="2"/>
                        </a:lnTo>
                        <a:lnTo>
                          <a:pt x="3180" y="0"/>
                        </a:lnTo>
                        <a:lnTo>
                          <a:pt x="3234" y="0"/>
                        </a:lnTo>
                        <a:lnTo>
                          <a:pt x="3288" y="2"/>
                        </a:lnTo>
                        <a:lnTo>
                          <a:pt x="3340" y="4"/>
                        </a:lnTo>
                        <a:lnTo>
                          <a:pt x="3394" y="10"/>
                        </a:lnTo>
                        <a:lnTo>
                          <a:pt x="3446" y="18"/>
                        </a:lnTo>
                        <a:lnTo>
                          <a:pt x="3500" y="26"/>
                        </a:lnTo>
                        <a:lnTo>
                          <a:pt x="3552" y="36"/>
                        </a:lnTo>
                        <a:lnTo>
                          <a:pt x="3604" y="48"/>
                        </a:lnTo>
                        <a:lnTo>
                          <a:pt x="3654" y="60"/>
                        </a:lnTo>
                        <a:lnTo>
                          <a:pt x="3706" y="74"/>
                        </a:lnTo>
                        <a:lnTo>
                          <a:pt x="3758" y="90"/>
                        </a:lnTo>
                        <a:lnTo>
                          <a:pt x="3808" y="108"/>
                        </a:lnTo>
                        <a:lnTo>
                          <a:pt x="3858" y="126"/>
                        </a:lnTo>
                        <a:lnTo>
                          <a:pt x="3956" y="166"/>
                        </a:lnTo>
                        <a:lnTo>
                          <a:pt x="4054" y="210"/>
                        </a:lnTo>
                        <a:lnTo>
                          <a:pt x="4148" y="256"/>
                        </a:lnTo>
                        <a:lnTo>
                          <a:pt x="4240" y="306"/>
                        </a:lnTo>
                        <a:lnTo>
                          <a:pt x="4330" y="360"/>
                        </a:lnTo>
                        <a:lnTo>
                          <a:pt x="4418" y="414"/>
                        </a:lnTo>
                        <a:lnTo>
                          <a:pt x="4502" y="472"/>
                        </a:lnTo>
                        <a:lnTo>
                          <a:pt x="4582" y="530"/>
                        </a:lnTo>
                        <a:lnTo>
                          <a:pt x="4660" y="588"/>
                        </a:lnTo>
                        <a:lnTo>
                          <a:pt x="4736" y="646"/>
                        </a:lnTo>
                        <a:lnTo>
                          <a:pt x="4806" y="706"/>
                        </a:lnTo>
                        <a:lnTo>
                          <a:pt x="4874" y="762"/>
                        </a:lnTo>
                        <a:lnTo>
                          <a:pt x="4938" y="820"/>
                        </a:lnTo>
                        <a:lnTo>
                          <a:pt x="4998" y="874"/>
                        </a:lnTo>
                        <a:lnTo>
                          <a:pt x="5052" y="926"/>
                        </a:lnTo>
                        <a:lnTo>
                          <a:pt x="5150" y="1022"/>
                        </a:lnTo>
                        <a:lnTo>
                          <a:pt x="5228" y="1104"/>
                        </a:lnTo>
                        <a:lnTo>
                          <a:pt x="5284" y="1166"/>
                        </a:lnTo>
                        <a:lnTo>
                          <a:pt x="5332" y="1222"/>
                        </a:lnTo>
                        <a:close/>
                      </a:path>
                    </a:pathLst>
                  </a:custGeom>
                  <a:gradFill rotWithShape="1">
                    <a:gsLst>
                      <a:gs pos="0">
                        <a:srgbClr val="006D2A"/>
                      </a:gs>
                      <a:gs pos="50000">
                        <a:srgbClr val="009E41"/>
                      </a:gs>
                      <a:gs pos="100000">
                        <a:srgbClr val="00BD4F"/>
                      </a:gs>
                    </a:gsLst>
                    <a:lin ang="13500000" scaled="1"/>
                  </a:grad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ndParaRPr>
                  </a:p>
                </p:txBody>
              </p:sp>
              <p:sp>
                <p:nvSpPr>
                  <p:cNvPr id="92" name="Freeform 7"/>
                  <p:cNvSpPr>
                    <a:spLocks/>
                  </p:cNvSpPr>
                  <p:nvPr/>
                </p:nvSpPr>
                <p:spPr bwMode="auto">
                  <a:xfrm>
                    <a:off x="-2034007" y="-2884437"/>
                    <a:ext cx="11205735" cy="4441576"/>
                  </a:xfrm>
                  <a:custGeom>
                    <a:avLst/>
                    <a:gdLst>
                      <a:gd name="T0" fmla="*/ 2382 w 7034"/>
                      <a:gd name="T1" fmla="*/ 1714 h 2792"/>
                      <a:gd name="T2" fmla="*/ 2542 w 7034"/>
                      <a:gd name="T3" fmla="*/ 1702 h 2792"/>
                      <a:gd name="T4" fmla="*/ 2734 w 7034"/>
                      <a:gd name="T5" fmla="*/ 1704 h 2792"/>
                      <a:gd name="T6" fmla="*/ 2954 w 7034"/>
                      <a:gd name="T7" fmla="*/ 1722 h 2792"/>
                      <a:gd name="T8" fmla="*/ 3462 w 7034"/>
                      <a:gd name="T9" fmla="*/ 1794 h 2792"/>
                      <a:gd name="T10" fmla="*/ 4032 w 7034"/>
                      <a:gd name="T11" fmla="*/ 1902 h 2792"/>
                      <a:gd name="T12" fmla="*/ 4632 w 7034"/>
                      <a:gd name="T13" fmla="*/ 2038 h 2792"/>
                      <a:gd name="T14" fmla="*/ 5422 w 7034"/>
                      <a:gd name="T15" fmla="*/ 2238 h 2792"/>
                      <a:gd name="T16" fmla="*/ 6430 w 7034"/>
                      <a:gd name="T17" fmla="*/ 2518 h 2792"/>
                      <a:gd name="T18" fmla="*/ 7034 w 7034"/>
                      <a:gd name="T19" fmla="*/ 2696 h 2792"/>
                      <a:gd name="T20" fmla="*/ 6804 w 7034"/>
                      <a:gd name="T21" fmla="*/ 2538 h 2792"/>
                      <a:gd name="T22" fmla="*/ 6368 w 7034"/>
                      <a:gd name="T23" fmla="*/ 2242 h 2792"/>
                      <a:gd name="T24" fmla="*/ 6054 w 7034"/>
                      <a:gd name="T25" fmla="*/ 2006 h 2792"/>
                      <a:gd name="T26" fmla="*/ 5848 w 7034"/>
                      <a:gd name="T27" fmla="*/ 1824 h 2792"/>
                      <a:gd name="T28" fmla="*/ 5694 w 7034"/>
                      <a:gd name="T29" fmla="*/ 1668 h 2792"/>
                      <a:gd name="T30" fmla="*/ 5540 w 7034"/>
                      <a:gd name="T31" fmla="*/ 1494 h 2792"/>
                      <a:gd name="T32" fmla="*/ 5384 w 7034"/>
                      <a:gd name="T33" fmla="*/ 1294 h 2792"/>
                      <a:gd name="T34" fmla="*/ 5282 w 7034"/>
                      <a:gd name="T35" fmla="*/ 1166 h 2792"/>
                      <a:gd name="T36" fmla="*/ 5050 w 7034"/>
                      <a:gd name="T37" fmla="*/ 926 h 2792"/>
                      <a:gd name="T38" fmla="*/ 4872 w 7034"/>
                      <a:gd name="T39" fmla="*/ 762 h 2792"/>
                      <a:gd name="T40" fmla="*/ 4658 w 7034"/>
                      <a:gd name="T41" fmla="*/ 588 h 2792"/>
                      <a:gd name="T42" fmla="*/ 4416 w 7034"/>
                      <a:gd name="T43" fmla="*/ 414 h 2792"/>
                      <a:gd name="T44" fmla="*/ 4146 w 7034"/>
                      <a:gd name="T45" fmla="*/ 256 h 2792"/>
                      <a:gd name="T46" fmla="*/ 3856 w 7034"/>
                      <a:gd name="T47" fmla="*/ 126 h 2792"/>
                      <a:gd name="T48" fmla="*/ 3704 w 7034"/>
                      <a:gd name="T49" fmla="*/ 74 h 2792"/>
                      <a:gd name="T50" fmla="*/ 3550 w 7034"/>
                      <a:gd name="T51" fmla="*/ 36 h 2792"/>
                      <a:gd name="T52" fmla="*/ 3392 w 7034"/>
                      <a:gd name="T53" fmla="*/ 10 h 2792"/>
                      <a:gd name="T54" fmla="*/ 3232 w 7034"/>
                      <a:gd name="T55" fmla="*/ 0 h 2792"/>
                      <a:gd name="T56" fmla="*/ 3124 w 7034"/>
                      <a:gd name="T57" fmla="*/ 2 h 2792"/>
                      <a:gd name="T58" fmla="*/ 2970 w 7034"/>
                      <a:gd name="T59" fmla="*/ 16 h 2792"/>
                      <a:gd name="T60" fmla="*/ 2828 w 7034"/>
                      <a:gd name="T61" fmla="*/ 42 h 2792"/>
                      <a:gd name="T62" fmla="*/ 2700 w 7034"/>
                      <a:gd name="T63" fmla="*/ 76 h 2792"/>
                      <a:gd name="T64" fmla="*/ 2582 w 7034"/>
                      <a:gd name="T65" fmla="*/ 120 h 2792"/>
                      <a:gd name="T66" fmla="*/ 2476 w 7034"/>
                      <a:gd name="T67" fmla="*/ 172 h 2792"/>
                      <a:gd name="T68" fmla="*/ 2378 w 7034"/>
                      <a:gd name="T69" fmla="*/ 232 h 2792"/>
                      <a:gd name="T70" fmla="*/ 2210 w 7034"/>
                      <a:gd name="T71" fmla="*/ 372 h 2792"/>
                      <a:gd name="T72" fmla="*/ 2068 w 7034"/>
                      <a:gd name="T73" fmla="*/ 534 h 2792"/>
                      <a:gd name="T74" fmla="*/ 1946 w 7034"/>
                      <a:gd name="T75" fmla="*/ 714 h 2792"/>
                      <a:gd name="T76" fmla="*/ 1802 w 7034"/>
                      <a:gd name="T77" fmla="*/ 966 h 2792"/>
                      <a:gd name="T78" fmla="*/ 1624 w 7034"/>
                      <a:gd name="T79" fmla="*/ 1290 h 2792"/>
                      <a:gd name="T80" fmla="*/ 1504 w 7034"/>
                      <a:gd name="T81" fmla="*/ 1478 h 2792"/>
                      <a:gd name="T82" fmla="*/ 1416 w 7034"/>
                      <a:gd name="T83" fmla="*/ 1596 h 2792"/>
                      <a:gd name="T84" fmla="*/ 1332 w 7034"/>
                      <a:gd name="T85" fmla="*/ 1666 h 2792"/>
                      <a:gd name="T86" fmla="*/ 1192 w 7034"/>
                      <a:gd name="T87" fmla="*/ 1752 h 2792"/>
                      <a:gd name="T88" fmla="*/ 666 w 7034"/>
                      <a:gd name="T89" fmla="*/ 2040 h 2792"/>
                      <a:gd name="T90" fmla="*/ 394 w 7034"/>
                      <a:gd name="T91" fmla="*/ 2206 h 2792"/>
                      <a:gd name="T92" fmla="*/ 218 w 7034"/>
                      <a:gd name="T93" fmla="*/ 2334 h 2792"/>
                      <a:gd name="T94" fmla="*/ 84 w 7034"/>
                      <a:gd name="T95" fmla="*/ 2464 h 2792"/>
                      <a:gd name="T96" fmla="*/ 38 w 7034"/>
                      <a:gd name="T97" fmla="*/ 2528 h 2792"/>
                      <a:gd name="T98" fmla="*/ 10 w 7034"/>
                      <a:gd name="T99" fmla="*/ 2592 h 2792"/>
                      <a:gd name="T100" fmla="*/ 0 w 7034"/>
                      <a:gd name="T101" fmla="*/ 2654 h 2792"/>
                      <a:gd name="T102" fmla="*/ 10 w 7034"/>
                      <a:gd name="T103" fmla="*/ 2714 h 2792"/>
                      <a:gd name="T104" fmla="*/ 44 w 7034"/>
                      <a:gd name="T105" fmla="*/ 2774 h 2792"/>
                      <a:gd name="T106" fmla="*/ 80 w 7034"/>
                      <a:gd name="T107" fmla="*/ 2746 h 2792"/>
                      <a:gd name="T108" fmla="*/ 242 w 7034"/>
                      <a:gd name="T109" fmla="*/ 2532 h 2792"/>
                      <a:gd name="T110" fmla="*/ 416 w 7034"/>
                      <a:gd name="T111" fmla="*/ 2358 h 2792"/>
                      <a:gd name="T112" fmla="*/ 600 w 7034"/>
                      <a:gd name="T113" fmla="*/ 2218 h 2792"/>
                      <a:gd name="T114" fmla="*/ 796 w 7034"/>
                      <a:gd name="T115" fmla="*/ 2106 h 2792"/>
                      <a:gd name="T116" fmla="*/ 1000 w 7034"/>
                      <a:gd name="T117" fmla="*/ 2018 h 2792"/>
                      <a:gd name="T118" fmla="*/ 1214 w 7034"/>
                      <a:gd name="T119" fmla="*/ 1950 h 2792"/>
                      <a:gd name="T120" fmla="*/ 1438 w 7034"/>
                      <a:gd name="T121" fmla="*/ 1894 h 2792"/>
                      <a:gd name="T122" fmla="*/ 1832 w 7034"/>
                      <a:gd name="T123" fmla="*/ 1816 h 2792"/>
                      <a:gd name="T124" fmla="*/ 2336 w 7034"/>
                      <a:gd name="T125" fmla="*/ 1722 h 27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7034"/>
                      <a:gd name="T190" fmla="*/ 0 h 2792"/>
                      <a:gd name="T191" fmla="*/ 7034 w 7034"/>
                      <a:gd name="T192" fmla="*/ 2792 h 279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7034" h="2792">
                        <a:moveTo>
                          <a:pt x="2336" y="1722"/>
                        </a:moveTo>
                        <a:lnTo>
                          <a:pt x="2336" y="1722"/>
                        </a:lnTo>
                        <a:lnTo>
                          <a:pt x="2382" y="1714"/>
                        </a:lnTo>
                        <a:lnTo>
                          <a:pt x="2432" y="1708"/>
                        </a:lnTo>
                        <a:lnTo>
                          <a:pt x="2484" y="1704"/>
                        </a:lnTo>
                        <a:lnTo>
                          <a:pt x="2542" y="1702"/>
                        </a:lnTo>
                        <a:lnTo>
                          <a:pt x="2602" y="1700"/>
                        </a:lnTo>
                        <a:lnTo>
                          <a:pt x="2666" y="1702"/>
                        </a:lnTo>
                        <a:lnTo>
                          <a:pt x="2734" y="1704"/>
                        </a:lnTo>
                        <a:lnTo>
                          <a:pt x="2804" y="1708"/>
                        </a:lnTo>
                        <a:lnTo>
                          <a:pt x="2878" y="1714"/>
                        </a:lnTo>
                        <a:lnTo>
                          <a:pt x="2954" y="1722"/>
                        </a:lnTo>
                        <a:lnTo>
                          <a:pt x="3114" y="1740"/>
                        </a:lnTo>
                        <a:lnTo>
                          <a:pt x="3284" y="1764"/>
                        </a:lnTo>
                        <a:lnTo>
                          <a:pt x="3462" y="1794"/>
                        </a:lnTo>
                        <a:lnTo>
                          <a:pt x="3646" y="1826"/>
                        </a:lnTo>
                        <a:lnTo>
                          <a:pt x="3836" y="1862"/>
                        </a:lnTo>
                        <a:lnTo>
                          <a:pt x="4032" y="1902"/>
                        </a:lnTo>
                        <a:lnTo>
                          <a:pt x="4230" y="1946"/>
                        </a:lnTo>
                        <a:lnTo>
                          <a:pt x="4430" y="1992"/>
                        </a:lnTo>
                        <a:lnTo>
                          <a:pt x="4632" y="2038"/>
                        </a:lnTo>
                        <a:lnTo>
                          <a:pt x="4834" y="2088"/>
                        </a:lnTo>
                        <a:lnTo>
                          <a:pt x="5032" y="2138"/>
                        </a:lnTo>
                        <a:lnTo>
                          <a:pt x="5422" y="2238"/>
                        </a:lnTo>
                        <a:lnTo>
                          <a:pt x="5792" y="2338"/>
                        </a:lnTo>
                        <a:lnTo>
                          <a:pt x="6132" y="2432"/>
                        </a:lnTo>
                        <a:lnTo>
                          <a:pt x="6430" y="2518"/>
                        </a:lnTo>
                        <a:lnTo>
                          <a:pt x="6680" y="2590"/>
                        </a:lnTo>
                        <a:lnTo>
                          <a:pt x="6870" y="2648"/>
                        </a:lnTo>
                        <a:lnTo>
                          <a:pt x="7034" y="2696"/>
                        </a:lnTo>
                        <a:lnTo>
                          <a:pt x="6918" y="2616"/>
                        </a:lnTo>
                        <a:lnTo>
                          <a:pt x="6804" y="2538"/>
                        </a:lnTo>
                        <a:lnTo>
                          <a:pt x="6582" y="2390"/>
                        </a:lnTo>
                        <a:lnTo>
                          <a:pt x="6474" y="2316"/>
                        </a:lnTo>
                        <a:lnTo>
                          <a:pt x="6368" y="2242"/>
                        </a:lnTo>
                        <a:lnTo>
                          <a:pt x="6262" y="2168"/>
                        </a:lnTo>
                        <a:lnTo>
                          <a:pt x="6158" y="2088"/>
                        </a:lnTo>
                        <a:lnTo>
                          <a:pt x="6054" y="2006"/>
                        </a:lnTo>
                        <a:lnTo>
                          <a:pt x="5952" y="1918"/>
                        </a:lnTo>
                        <a:lnTo>
                          <a:pt x="5900" y="1872"/>
                        </a:lnTo>
                        <a:lnTo>
                          <a:pt x="5848" y="1824"/>
                        </a:lnTo>
                        <a:lnTo>
                          <a:pt x="5798" y="1774"/>
                        </a:lnTo>
                        <a:lnTo>
                          <a:pt x="5746" y="1722"/>
                        </a:lnTo>
                        <a:lnTo>
                          <a:pt x="5694" y="1668"/>
                        </a:lnTo>
                        <a:lnTo>
                          <a:pt x="5642" y="1612"/>
                        </a:lnTo>
                        <a:lnTo>
                          <a:pt x="5592" y="1554"/>
                        </a:lnTo>
                        <a:lnTo>
                          <a:pt x="5540" y="1494"/>
                        </a:lnTo>
                        <a:lnTo>
                          <a:pt x="5488" y="1430"/>
                        </a:lnTo>
                        <a:lnTo>
                          <a:pt x="5436" y="1364"/>
                        </a:lnTo>
                        <a:lnTo>
                          <a:pt x="5384" y="1294"/>
                        </a:lnTo>
                        <a:lnTo>
                          <a:pt x="5330" y="1222"/>
                        </a:lnTo>
                        <a:lnTo>
                          <a:pt x="5282" y="1166"/>
                        </a:lnTo>
                        <a:lnTo>
                          <a:pt x="5226" y="1104"/>
                        </a:lnTo>
                        <a:lnTo>
                          <a:pt x="5148" y="1022"/>
                        </a:lnTo>
                        <a:lnTo>
                          <a:pt x="5050" y="926"/>
                        </a:lnTo>
                        <a:lnTo>
                          <a:pt x="4996" y="874"/>
                        </a:lnTo>
                        <a:lnTo>
                          <a:pt x="4936" y="820"/>
                        </a:lnTo>
                        <a:lnTo>
                          <a:pt x="4872" y="762"/>
                        </a:lnTo>
                        <a:lnTo>
                          <a:pt x="4804" y="706"/>
                        </a:lnTo>
                        <a:lnTo>
                          <a:pt x="4734" y="646"/>
                        </a:lnTo>
                        <a:lnTo>
                          <a:pt x="4658" y="588"/>
                        </a:lnTo>
                        <a:lnTo>
                          <a:pt x="4580" y="530"/>
                        </a:lnTo>
                        <a:lnTo>
                          <a:pt x="4500" y="472"/>
                        </a:lnTo>
                        <a:lnTo>
                          <a:pt x="4416" y="414"/>
                        </a:lnTo>
                        <a:lnTo>
                          <a:pt x="4328" y="360"/>
                        </a:lnTo>
                        <a:lnTo>
                          <a:pt x="4238" y="306"/>
                        </a:lnTo>
                        <a:lnTo>
                          <a:pt x="4146" y="256"/>
                        </a:lnTo>
                        <a:lnTo>
                          <a:pt x="4052" y="210"/>
                        </a:lnTo>
                        <a:lnTo>
                          <a:pt x="3954" y="166"/>
                        </a:lnTo>
                        <a:lnTo>
                          <a:pt x="3856" y="126"/>
                        </a:lnTo>
                        <a:lnTo>
                          <a:pt x="3806" y="108"/>
                        </a:lnTo>
                        <a:lnTo>
                          <a:pt x="3756" y="90"/>
                        </a:lnTo>
                        <a:lnTo>
                          <a:pt x="3704" y="74"/>
                        </a:lnTo>
                        <a:lnTo>
                          <a:pt x="3652" y="60"/>
                        </a:lnTo>
                        <a:lnTo>
                          <a:pt x="3602" y="48"/>
                        </a:lnTo>
                        <a:lnTo>
                          <a:pt x="3550" y="36"/>
                        </a:lnTo>
                        <a:lnTo>
                          <a:pt x="3498" y="26"/>
                        </a:lnTo>
                        <a:lnTo>
                          <a:pt x="3444" y="18"/>
                        </a:lnTo>
                        <a:lnTo>
                          <a:pt x="3392" y="10"/>
                        </a:lnTo>
                        <a:lnTo>
                          <a:pt x="3338" y="4"/>
                        </a:lnTo>
                        <a:lnTo>
                          <a:pt x="3286" y="2"/>
                        </a:lnTo>
                        <a:lnTo>
                          <a:pt x="3232" y="0"/>
                        </a:lnTo>
                        <a:lnTo>
                          <a:pt x="3178" y="0"/>
                        </a:lnTo>
                        <a:lnTo>
                          <a:pt x="3124" y="2"/>
                        </a:lnTo>
                        <a:lnTo>
                          <a:pt x="3072" y="6"/>
                        </a:lnTo>
                        <a:lnTo>
                          <a:pt x="3020" y="10"/>
                        </a:lnTo>
                        <a:lnTo>
                          <a:pt x="2970" y="16"/>
                        </a:lnTo>
                        <a:lnTo>
                          <a:pt x="2920" y="24"/>
                        </a:lnTo>
                        <a:lnTo>
                          <a:pt x="2874" y="32"/>
                        </a:lnTo>
                        <a:lnTo>
                          <a:pt x="2828" y="42"/>
                        </a:lnTo>
                        <a:lnTo>
                          <a:pt x="2784" y="52"/>
                        </a:lnTo>
                        <a:lnTo>
                          <a:pt x="2740" y="64"/>
                        </a:lnTo>
                        <a:lnTo>
                          <a:pt x="2700" y="76"/>
                        </a:lnTo>
                        <a:lnTo>
                          <a:pt x="2660" y="90"/>
                        </a:lnTo>
                        <a:lnTo>
                          <a:pt x="2620" y="104"/>
                        </a:lnTo>
                        <a:lnTo>
                          <a:pt x="2582" y="120"/>
                        </a:lnTo>
                        <a:lnTo>
                          <a:pt x="2546" y="136"/>
                        </a:lnTo>
                        <a:lnTo>
                          <a:pt x="2510" y="154"/>
                        </a:lnTo>
                        <a:lnTo>
                          <a:pt x="2476" y="172"/>
                        </a:lnTo>
                        <a:lnTo>
                          <a:pt x="2442" y="192"/>
                        </a:lnTo>
                        <a:lnTo>
                          <a:pt x="2410" y="212"/>
                        </a:lnTo>
                        <a:lnTo>
                          <a:pt x="2378" y="232"/>
                        </a:lnTo>
                        <a:lnTo>
                          <a:pt x="2318" y="276"/>
                        </a:lnTo>
                        <a:lnTo>
                          <a:pt x="2262" y="322"/>
                        </a:lnTo>
                        <a:lnTo>
                          <a:pt x="2210" y="372"/>
                        </a:lnTo>
                        <a:lnTo>
                          <a:pt x="2160" y="424"/>
                        </a:lnTo>
                        <a:lnTo>
                          <a:pt x="2114" y="478"/>
                        </a:lnTo>
                        <a:lnTo>
                          <a:pt x="2068" y="534"/>
                        </a:lnTo>
                        <a:lnTo>
                          <a:pt x="2026" y="592"/>
                        </a:lnTo>
                        <a:lnTo>
                          <a:pt x="1986" y="652"/>
                        </a:lnTo>
                        <a:lnTo>
                          <a:pt x="1946" y="714"/>
                        </a:lnTo>
                        <a:lnTo>
                          <a:pt x="1910" y="776"/>
                        </a:lnTo>
                        <a:lnTo>
                          <a:pt x="1872" y="838"/>
                        </a:lnTo>
                        <a:lnTo>
                          <a:pt x="1802" y="966"/>
                        </a:lnTo>
                        <a:lnTo>
                          <a:pt x="1732" y="1096"/>
                        </a:lnTo>
                        <a:lnTo>
                          <a:pt x="1660" y="1226"/>
                        </a:lnTo>
                        <a:lnTo>
                          <a:pt x="1624" y="1290"/>
                        </a:lnTo>
                        <a:lnTo>
                          <a:pt x="1586" y="1354"/>
                        </a:lnTo>
                        <a:lnTo>
                          <a:pt x="1546" y="1416"/>
                        </a:lnTo>
                        <a:lnTo>
                          <a:pt x="1504" y="1478"/>
                        </a:lnTo>
                        <a:lnTo>
                          <a:pt x="1460" y="1538"/>
                        </a:lnTo>
                        <a:lnTo>
                          <a:pt x="1416" y="1596"/>
                        </a:lnTo>
                        <a:lnTo>
                          <a:pt x="1394" y="1616"/>
                        </a:lnTo>
                        <a:lnTo>
                          <a:pt x="1366" y="1640"/>
                        </a:lnTo>
                        <a:lnTo>
                          <a:pt x="1332" y="1666"/>
                        </a:lnTo>
                        <a:lnTo>
                          <a:pt x="1290" y="1692"/>
                        </a:lnTo>
                        <a:lnTo>
                          <a:pt x="1244" y="1720"/>
                        </a:lnTo>
                        <a:lnTo>
                          <a:pt x="1192" y="1752"/>
                        </a:lnTo>
                        <a:lnTo>
                          <a:pt x="1074" y="1816"/>
                        </a:lnTo>
                        <a:lnTo>
                          <a:pt x="806" y="1962"/>
                        </a:lnTo>
                        <a:lnTo>
                          <a:pt x="666" y="2040"/>
                        </a:lnTo>
                        <a:lnTo>
                          <a:pt x="526" y="2122"/>
                        </a:lnTo>
                        <a:lnTo>
                          <a:pt x="458" y="2164"/>
                        </a:lnTo>
                        <a:lnTo>
                          <a:pt x="394" y="2206"/>
                        </a:lnTo>
                        <a:lnTo>
                          <a:pt x="330" y="2248"/>
                        </a:lnTo>
                        <a:lnTo>
                          <a:pt x="272" y="2292"/>
                        </a:lnTo>
                        <a:lnTo>
                          <a:pt x="218" y="2334"/>
                        </a:lnTo>
                        <a:lnTo>
                          <a:pt x="168" y="2378"/>
                        </a:lnTo>
                        <a:lnTo>
                          <a:pt x="122" y="2420"/>
                        </a:lnTo>
                        <a:lnTo>
                          <a:pt x="84" y="2464"/>
                        </a:lnTo>
                        <a:lnTo>
                          <a:pt x="66" y="2486"/>
                        </a:lnTo>
                        <a:lnTo>
                          <a:pt x="52" y="2506"/>
                        </a:lnTo>
                        <a:lnTo>
                          <a:pt x="38" y="2528"/>
                        </a:lnTo>
                        <a:lnTo>
                          <a:pt x="26" y="2550"/>
                        </a:lnTo>
                        <a:lnTo>
                          <a:pt x="16" y="2570"/>
                        </a:lnTo>
                        <a:lnTo>
                          <a:pt x="10" y="2592"/>
                        </a:lnTo>
                        <a:lnTo>
                          <a:pt x="4" y="2612"/>
                        </a:lnTo>
                        <a:lnTo>
                          <a:pt x="0" y="2632"/>
                        </a:lnTo>
                        <a:lnTo>
                          <a:pt x="0" y="2654"/>
                        </a:lnTo>
                        <a:lnTo>
                          <a:pt x="0" y="2674"/>
                        </a:lnTo>
                        <a:lnTo>
                          <a:pt x="4" y="2694"/>
                        </a:lnTo>
                        <a:lnTo>
                          <a:pt x="10" y="2714"/>
                        </a:lnTo>
                        <a:lnTo>
                          <a:pt x="18" y="2734"/>
                        </a:lnTo>
                        <a:lnTo>
                          <a:pt x="30" y="2754"/>
                        </a:lnTo>
                        <a:lnTo>
                          <a:pt x="44" y="2774"/>
                        </a:lnTo>
                        <a:lnTo>
                          <a:pt x="60" y="2792"/>
                        </a:lnTo>
                        <a:lnTo>
                          <a:pt x="80" y="2746"/>
                        </a:lnTo>
                        <a:lnTo>
                          <a:pt x="134" y="2670"/>
                        </a:lnTo>
                        <a:lnTo>
                          <a:pt x="188" y="2600"/>
                        </a:lnTo>
                        <a:lnTo>
                          <a:pt x="242" y="2532"/>
                        </a:lnTo>
                        <a:lnTo>
                          <a:pt x="300" y="2470"/>
                        </a:lnTo>
                        <a:lnTo>
                          <a:pt x="358" y="2412"/>
                        </a:lnTo>
                        <a:lnTo>
                          <a:pt x="416" y="2358"/>
                        </a:lnTo>
                        <a:lnTo>
                          <a:pt x="476" y="2308"/>
                        </a:lnTo>
                        <a:lnTo>
                          <a:pt x="538" y="2262"/>
                        </a:lnTo>
                        <a:lnTo>
                          <a:pt x="600" y="2218"/>
                        </a:lnTo>
                        <a:lnTo>
                          <a:pt x="664" y="2178"/>
                        </a:lnTo>
                        <a:lnTo>
                          <a:pt x="730" y="2142"/>
                        </a:lnTo>
                        <a:lnTo>
                          <a:pt x="796" y="2106"/>
                        </a:lnTo>
                        <a:lnTo>
                          <a:pt x="862" y="2076"/>
                        </a:lnTo>
                        <a:lnTo>
                          <a:pt x="930" y="2046"/>
                        </a:lnTo>
                        <a:lnTo>
                          <a:pt x="1000" y="2018"/>
                        </a:lnTo>
                        <a:lnTo>
                          <a:pt x="1070" y="1994"/>
                        </a:lnTo>
                        <a:lnTo>
                          <a:pt x="1142" y="1970"/>
                        </a:lnTo>
                        <a:lnTo>
                          <a:pt x="1214" y="1950"/>
                        </a:lnTo>
                        <a:lnTo>
                          <a:pt x="1288" y="1930"/>
                        </a:lnTo>
                        <a:lnTo>
                          <a:pt x="1362" y="1910"/>
                        </a:lnTo>
                        <a:lnTo>
                          <a:pt x="1438" y="1894"/>
                        </a:lnTo>
                        <a:lnTo>
                          <a:pt x="1514" y="1876"/>
                        </a:lnTo>
                        <a:lnTo>
                          <a:pt x="1670" y="1846"/>
                        </a:lnTo>
                        <a:lnTo>
                          <a:pt x="1832" y="1816"/>
                        </a:lnTo>
                        <a:lnTo>
                          <a:pt x="1996" y="1786"/>
                        </a:lnTo>
                        <a:lnTo>
                          <a:pt x="2164" y="1756"/>
                        </a:lnTo>
                        <a:lnTo>
                          <a:pt x="2336" y="1722"/>
                        </a:lnTo>
                        <a:close/>
                      </a:path>
                    </a:pathLst>
                  </a:custGeom>
                  <a:gradFill rotWithShape="1">
                    <a:gsLst>
                      <a:gs pos="0">
                        <a:srgbClr val="92D050"/>
                      </a:gs>
                      <a:gs pos="50000">
                        <a:srgbClr val="92D050"/>
                      </a:gs>
                      <a:gs pos="100000">
                        <a:srgbClr val="00BD4F"/>
                      </a:gs>
                    </a:gsLst>
                    <a:lin ang="13500000" scaled="1"/>
                  </a:grad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ndParaRPr>
                  </a:p>
                </p:txBody>
              </p:sp>
            </p:grpSp>
            <p:sp>
              <p:nvSpPr>
                <p:cNvPr id="90" name="Freeform 20"/>
                <p:cNvSpPr>
                  <a:spLocks/>
                </p:cNvSpPr>
                <p:nvPr/>
              </p:nvSpPr>
              <p:spPr bwMode="auto">
                <a:xfrm>
                  <a:off x="-628596" y="3172845"/>
                  <a:ext cx="9981845" cy="1105942"/>
                </a:xfrm>
                <a:custGeom>
                  <a:avLst/>
                  <a:gdLst>
                    <a:gd name="T0" fmla="*/ 2292 w 6888"/>
                    <a:gd name="T1" fmla="*/ 112 h 1108"/>
                    <a:gd name="T2" fmla="*/ 2376 w 6888"/>
                    <a:gd name="T3" fmla="*/ 106 h 1108"/>
                    <a:gd name="T4" fmla="*/ 2472 w 6888"/>
                    <a:gd name="T5" fmla="*/ 104 h 1108"/>
                    <a:gd name="T6" fmla="*/ 2694 w 6888"/>
                    <a:gd name="T7" fmla="*/ 114 h 1108"/>
                    <a:gd name="T8" fmla="*/ 2956 w 6888"/>
                    <a:gd name="T9" fmla="*/ 142 h 1108"/>
                    <a:gd name="T10" fmla="*/ 3246 w 6888"/>
                    <a:gd name="T11" fmla="*/ 184 h 1108"/>
                    <a:gd name="T12" fmla="*/ 3564 w 6888"/>
                    <a:gd name="T13" fmla="*/ 238 h 1108"/>
                    <a:gd name="T14" fmla="*/ 3898 w 6888"/>
                    <a:gd name="T15" fmla="*/ 302 h 1108"/>
                    <a:gd name="T16" fmla="*/ 4244 w 6888"/>
                    <a:gd name="T17" fmla="*/ 376 h 1108"/>
                    <a:gd name="T18" fmla="*/ 4944 w 6888"/>
                    <a:gd name="T19" fmla="*/ 536 h 1108"/>
                    <a:gd name="T20" fmla="*/ 5616 w 6888"/>
                    <a:gd name="T21" fmla="*/ 704 h 1108"/>
                    <a:gd name="T22" fmla="*/ 6206 w 6888"/>
                    <a:gd name="T23" fmla="*/ 862 h 1108"/>
                    <a:gd name="T24" fmla="*/ 6664 w 6888"/>
                    <a:gd name="T25" fmla="*/ 990 h 1108"/>
                    <a:gd name="T26" fmla="*/ 6826 w 6888"/>
                    <a:gd name="T27" fmla="*/ 1038 h 1108"/>
                    <a:gd name="T28" fmla="*/ 6888 w 6888"/>
                    <a:gd name="T29" fmla="*/ 1016 h 1108"/>
                    <a:gd name="T30" fmla="*/ 6744 w 6888"/>
                    <a:gd name="T31" fmla="*/ 918 h 1108"/>
                    <a:gd name="T32" fmla="*/ 6346 w 6888"/>
                    <a:gd name="T33" fmla="*/ 802 h 1108"/>
                    <a:gd name="T34" fmla="*/ 5808 w 6888"/>
                    <a:gd name="T35" fmla="*/ 656 h 1108"/>
                    <a:gd name="T36" fmla="*/ 5176 w 6888"/>
                    <a:gd name="T37" fmla="*/ 492 h 1108"/>
                    <a:gd name="T38" fmla="*/ 4498 w 6888"/>
                    <a:gd name="T39" fmla="*/ 328 h 1108"/>
                    <a:gd name="T40" fmla="*/ 3988 w 6888"/>
                    <a:gd name="T41" fmla="*/ 216 h 1108"/>
                    <a:gd name="T42" fmla="*/ 3658 w 6888"/>
                    <a:gd name="T43" fmla="*/ 150 h 1108"/>
                    <a:gd name="T44" fmla="*/ 3344 w 6888"/>
                    <a:gd name="T45" fmla="*/ 94 h 1108"/>
                    <a:gd name="T46" fmla="*/ 3050 w 6888"/>
                    <a:gd name="T47" fmla="*/ 50 h 1108"/>
                    <a:gd name="T48" fmla="*/ 2784 w 6888"/>
                    <a:gd name="T49" fmla="*/ 18 h 1108"/>
                    <a:gd name="T50" fmla="*/ 2550 w 6888"/>
                    <a:gd name="T51" fmla="*/ 2 h 1108"/>
                    <a:gd name="T52" fmla="*/ 2402 w 6888"/>
                    <a:gd name="T53" fmla="*/ 2 h 1108"/>
                    <a:gd name="T54" fmla="*/ 2314 w 6888"/>
                    <a:gd name="T55" fmla="*/ 8 h 1108"/>
                    <a:gd name="T56" fmla="*/ 2276 w 6888"/>
                    <a:gd name="T57" fmla="*/ 12 h 1108"/>
                    <a:gd name="T58" fmla="*/ 1774 w 6888"/>
                    <a:gd name="T59" fmla="*/ 86 h 1108"/>
                    <a:gd name="T60" fmla="*/ 1458 w 6888"/>
                    <a:gd name="T61" fmla="*/ 142 h 1108"/>
                    <a:gd name="T62" fmla="*/ 1306 w 6888"/>
                    <a:gd name="T63" fmla="*/ 176 h 1108"/>
                    <a:gd name="T64" fmla="*/ 1158 w 6888"/>
                    <a:gd name="T65" fmla="*/ 216 h 1108"/>
                    <a:gd name="T66" fmla="*/ 1014 w 6888"/>
                    <a:gd name="T67" fmla="*/ 262 h 1108"/>
                    <a:gd name="T68" fmla="*/ 874 w 6888"/>
                    <a:gd name="T69" fmla="*/ 318 h 1108"/>
                    <a:gd name="T70" fmla="*/ 738 w 6888"/>
                    <a:gd name="T71" fmla="*/ 382 h 1108"/>
                    <a:gd name="T72" fmla="*/ 606 w 6888"/>
                    <a:gd name="T73" fmla="*/ 458 h 1108"/>
                    <a:gd name="T74" fmla="*/ 480 w 6888"/>
                    <a:gd name="T75" fmla="*/ 544 h 1108"/>
                    <a:gd name="T76" fmla="*/ 358 w 6888"/>
                    <a:gd name="T77" fmla="*/ 644 h 1108"/>
                    <a:gd name="T78" fmla="*/ 240 w 6888"/>
                    <a:gd name="T79" fmla="*/ 758 h 1108"/>
                    <a:gd name="T80" fmla="*/ 128 w 6888"/>
                    <a:gd name="T81" fmla="*/ 890 h 1108"/>
                    <a:gd name="T82" fmla="*/ 20 w 6888"/>
                    <a:gd name="T83" fmla="*/ 1036 h 1108"/>
                    <a:gd name="T84" fmla="*/ 0 w 6888"/>
                    <a:gd name="T85" fmla="*/ 1084 h 1108"/>
                    <a:gd name="T86" fmla="*/ 26 w 6888"/>
                    <a:gd name="T87" fmla="*/ 1108 h 1108"/>
                    <a:gd name="T88" fmla="*/ 32 w 6888"/>
                    <a:gd name="T89" fmla="*/ 1104 h 1108"/>
                    <a:gd name="T90" fmla="*/ 108 w 6888"/>
                    <a:gd name="T91" fmla="*/ 1034 h 1108"/>
                    <a:gd name="T92" fmla="*/ 160 w 6888"/>
                    <a:gd name="T93" fmla="*/ 968 h 1108"/>
                    <a:gd name="T94" fmla="*/ 268 w 6888"/>
                    <a:gd name="T95" fmla="*/ 846 h 1108"/>
                    <a:gd name="T96" fmla="*/ 380 w 6888"/>
                    <a:gd name="T97" fmla="*/ 738 h 1108"/>
                    <a:gd name="T98" fmla="*/ 496 w 6888"/>
                    <a:gd name="T99" fmla="*/ 640 h 1108"/>
                    <a:gd name="T100" fmla="*/ 616 w 6888"/>
                    <a:gd name="T101" fmla="*/ 556 h 1108"/>
                    <a:gd name="T102" fmla="*/ 740 w 6888"/>
                    <a:gd name="T103" fmla="*/ 482 h 1108"/>
                    <a:gd name="T104" fmla="*/ 870 w 6888"/>
                    <a:gd name="T105" fmla="*/ 420 h 1108"/>
                    <a:gd name="T106" fmla="*/ 1002 w 6888"/>
                    <a:gd name="T107" fmla="*/ 364 h 1108"/>
                    <a:gd name="T108" fmla="*/ 1138 w 6888"/>
                    <a:gd name="T109" fmla="*/ 316 h 1108"/>
                    <a:gd name="T110" fmla="*/ 1278 w 6888"/>
                    <a:gd name="T111" fmla="*/ 276 h 1108"/>
                    <a:gd name="T112" fmla="*/ 1424 w 6888"/>
                    <a:gd name="T113" fmla="*/ 242 h 1108"/>
                    <a:gd name="T114" fmla="*/ 1648 w 6888"/>
                    <a:gd name="T115" fmla="*/ 198 h 1108"/>
                    <a:gd name="T116" fmla="*/ 1962 w 6888"/>
                    <a:gd name="T117" fmla="*/ 152 h 1108"/>
                    <a:gd name="T118" fmla="*/ 2292 w 6888"/>
                    <a:gd name="T119" fmla="*/ 112 h 110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6888"/>
                    <a:gd name="T181" fmla="*/ 0 h 1108"/>
                    <a:gd name="T182" fmla="*/ 6888 w 6888"/>
                    <a:gd name="T183" fmla="*/ 1108 h 110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6888" h="1108">
                      <a:moveTo>
                        <a:pt x="2292" y="112"/>
                      </a:moveTo>
                      <a:lnTo>
                        <a:pt x="2292" y="112"/>
                      </a:lnTo>
                      <a:lnTo>
                        <a:pt x="2332" y="108"/>
                      </a:lnTo>
                      <a:lnTo>
                        <a:pt x="2376" y="106"/>
                      </a:lnTo>
                      <a:lnTo>
                        <a:pt x="2422" y="104"/>
                      </a:lnTo>
                      <a:lnTo>
                        <a:pt x="2472" y="104"/>
                      </a:lnTo>
                      <a:lnTo>
                        <a:pt x="2578" y="106"/>
                      </a:lnTo>
                      <a:lnTo>
                        <a:pt x="2694" y="114"/>
                      </a:lnTo>
                      <a:lnTo>
                        <a:pt x="2820" y="126"/>
                      </a:lnTo>
                      <a:lnTo>
                        <a:pt x="2956" y="142"/>
                      </a:lnTo>
                      <a:lnTo>
                        <a:pt x="3098" y="160"/>
                      </a:lnTo>
                      <a:lnTo>
                        <a:pt x="3246" y="184"/>
                      </a:lnTo>
                      <a:lnTo>
                        <a:pt x="3402" y="210"/>
                      </a:lnTo>
                      <a:lnTo>
                        <a:pt x="3564" y="238"/>
                      </a:lnTo>
                      <a:lnTo>
                        <a:pt x="3728" y="270"/>
                      </a:lnTo>
                      <a:lnTo>
                        <a:pt x="3898" y="302"/>
                      </a:lnTo>
                      <a:lnTo>
                        <a:pt x="4070" y="338"/>
                      </a:lnTo>
                      <a:lnTo>
                        <a:pt x="4244" y="376"/>
                      </a:lnTo>
                      <a:lnTo>
                        <a:pt x="4594" y="454"/>
                      </a:lnTo>
                      <a:lnTo>
                        <a:pt x="4944" y="536"/>
                      </a:lnTo>
                      <a:lnTo>
                        <a:pt x="5288" y="622"/>
                      </a:lnTo>
                      <a:lnTo>
                        <a:pt x="5616" y="704"/>
                      </a:lnTo>
                      <a:lnTo>
                        <a:pt x="5924" y="786"/>
                      </a:lnTo>
                      <a:lnTo>
                        <a:pt x="6206" y="862"/>
                      </a:lnTo>
                      <a:lnTo>
                        <a:pt x="6454" y="930"/>
                      </a:lnTo>
                      <a:lnTo>
                        <a:pt x="6664" y="990"/>
                      </a:lnTo>
                      <a:lnTo>
                        <a:pt x="6826" y="1038"/>
                      </a:lnTo>
                      <a:lnTo>
                        <a:pt x="6888" y="1016"/>
                      </a:lnTo>
                      <a:lnTo>
                        <a:pt x="6744" y="918"/>
                      </a:lnTo>
                      <a:lnTo>
                        <a:pt x="6566" y="866"/>
                      </a:lnTo>
                      <a:lnTo>
                        <a:pt x="6346" y="802"/>
                      </a:lnTo>
                      <a:lnTo>
                        <a:pt x="6092" y="732"/>
                      </a:lnTo>
                      <a:lnTo>
                        <a:pt x="5808" y="656"/>
                      </a:lnTo>
                      <a:lnTo>
                        <a:pt x="5500" y="574"/>
                      </a:lnTo>
                      <a:lnTo>
                        <a:pt x="5176" y="492"/>
                      </a:lnTo>
                      <a:lnTo>
                        <a:pt x="4840" y="410"/>
                      </a:lnTo>
                      <a:lnTo>
                        <a:pt x="4498" y="328"/>
                      </a:lnTo>
                      <a:lnTo>
                        <a:pt x="4156" y="252"/>
                      </a:lnTo>
                      <a:lnTo>
                        <a:pt x="3988" y="216"/>
                      </a:lnTo>
                      <a:lnTo>
                        <a:pt x="3822" y="182"/>
                      </a:lnTo>
                      <a:lnTo>
                        <a:pt x="3658" y="150"/>
                      </a:lnTo>
                      <a:lnTo>
                        <a:pt x="3498" y="122"/>
                      </a:lnTo>
                      <a:lnTo>
                        <a:pt x="3344" y="94"/>
                      </a:lnTo>
                      <a:lnTo>
                        <a:pt x="3194" y="70"/>
                      </a:lnTo>
                      <a:lnTo>
                        <a:pt x="3050" y="50"/>
                      </a:lnTo>
                      <a:lnTo>
                        <a:pt x="2914" y="32"/>
                      </a:lnTo>
                      <a:lnTo>
                        <a:pt x="2784" y="18"/>
                      </a:lnTo>
                      <a:lnTo>
                        <a:pt x="2662" y="8"/>
                      </a:lnTo>
                      <a:lnTo>
                        <a:pt x="2550" y="2"/>
                      </a:lnTo>
                      <a:lnTo>
                        <a:pt x="2448" y="0"/>
                      </a:lnTo>
                      <a:lnTo>
                        <a:pt x="2402" y="2"/>
                      </a:lnTo>
                      <a:lnTo>
                        <a:pt x="2356" y="4"/>
                      </a:lnTo>
                      <a:lnTo>
                        <a:pt x="2314" y="8"/>
                      </a:lnTo>
                      <a:lnTo>
                        <a:pt x="2276" y="12"/>
                      </a:lnTo>
                      <a:lnTo>
                        <a:pt x="1938" y="60"/>
                      </a:lnTo>
                      <a:lnTo>
                        <a:pt x="1774" y="86"/>
                      </a:lnTo>
                      <a:lnTo>
                        <a:pt x="1614" y="112"/>
                      </a:lnTo>
                      <a:lnTo>
                        <a:pt x="1458" y="142"/>
                      </a:lnTo>
                      <a:lnTo>
                        <a:pt x="1382" y="158"/>
                      </a:lnTo>
                      <a:lnTo>
                        <a:pt x="1306" y="176"/>
                      </a:lnTo>
                      <a:lnTo>
                        <a:pt x="1232" y="194"/>
                      </a:lnTo>
                      <a:lnTo>
                        <a:pt x="1158" y="216"/>
                      </a:lnTo>
                      <a:lnTo>
                        <a:pt x="1086" y="238"/>
                      </a:lnTo>
                      <a:lnTo>
                        <a:pt x="1014" y="262"/>
                      </a:lnTo>
                      <a:lnTo>
                        <a:pt x="942" y="288"/>
                      </a:lnTo>
                      <a:lnTo>
                        <a:pt x="874" y="318"/>
                      </a:lnTo>
                      <a:lnTo>
                        <a:pt x="804" y="348"/>
                      </a:lnTo>
                      <a:lnTo>
                        <a:pt x="738" y="382"/>
                      </a:lnTo>
                      <a:lnTo>
                        <a:pt x="672" y="418"/>
                      </a:lnTo>
                      <a:lnTo>
                        <a:pt x="606" y="458"/>
                      </a:lnTo>
                      <a:lnTo>
                        <a:pt x="542" y="500"/>
                      </a:lnTo>
                      <a:lnTo>
                        <a:pt x="480" y="544"/>
                      </a:lnTo>
                      <a:lnTo>
                        <a:pt x="418" y="592"/>
                      </a:lnTo>
                      <a:lnTo>
                        <a:pt x="358" y="644"/>
                      </a:lnTo>
                      <a:lnTo>
                        <a:pt x="298" y="700"/>
                      </a:lnTo>
                      <a:lnTo>
                        <a:pt x="240" y="758"/>
                      </a:lnTo>
                      <a:lnTo>
                        <a:pt x="184" y="822"/>
                      </a:lnTo>
                      <a:lnTo>
                        <a:pt x="128" y="890"/>
                      </a:lnTo>
                      <a:lnTo>
                        <a:pt x="74" y="960"/>
                      </a:lnTo>
                      <a:lnTo>
                        <a:pt x="20" y="1036"/>
                      </a:lnTo>
                      <a:lnTo>
                        <a:pt x="0" y="1084"/>
                      </a:lnTo>
                      <a:lnTo>
                        <a:pt x="26" y="1108"/>
                      </a:lnTo>
                      <a:lnTo>
                        <a:pt x="28" y="1106"/>
                      </a:lnTo>
                      <a:lnTo>
                        <a:pt x="32" y="1104"/>
                      </a:lnTo>
                      <a:lnTo>
                        <a:pt x="50" y="1090"/>
                      </a:lnTo>
                      <a:lnTo>
                        <a:pt x="108" y="1034"/>
                      </a:lnTo>
                      <a:lnTo>
                        <a:pt x="160" y="968"/>
                      </a:lnTo>
                      <a:lnTo>
                        <a:pt x="214" y="906"/>
                      </a:lnTo>
                      <a:lnTo>
                        <a:pt x="268" y="846"/>
                      </a:lnTo>
                      <a:lnTo>
                        <a:pt x="324" y="790"/>
                      </a:lnTo>
                      <a:lnTo>
                        <a:pt x="380" y="738"/>
                      </a:lnTo>
                      <a:lnTo>
                        <a:pt x="438" y="688"/>
                      </a:lnTo>
                      <a:lnTo>
                        <a:pt x="496" y="640"/>
                      </a:lnTo>
                      <a:lnTo>
                        <a:pt x="556" y="598"/>
                      </a:lnTo>
                      <a:lnTo>
                        <a:pt x="616" y="556"/>
                      </a:lnTo>
                      <a:lnTo>
                        <a:pt x="678" y="518"/>
                      </a:lnTo>
                      <a:lnTo>
                        <a:pt x="740" y="482"/>
                      </a:lnTo>
                      <a:lnTo>
                        <a:pt x="804" y="450"/>
                      </a:lnTo>
                      <a:lnTo>
                        <a:pt x="870" y="420"/>
                      </a:lnTo>
                      <a:lnTo>
                        <a:pt x="934" y="390"/>
                      </a:lnTo>
                      <a:lnTo>
                        <a:pt x="1002" y="364"/>
                      </a:lnTo>
                      <a:lnTo>
                        <a:pt x="1070" y="340"/>
                      </a:lnTo>
                      <a:lnTo>
                        <a:pt x="1138" y="316"/>
                      </a:lnTo>
                      <a:lnTo>
                        <a:pt x="1208" y="296"/>
                      </a:lnTo>
                      <a:lnTo>
                        <a:pt x="1278" y="276"/>
                      </a:lnTo>
                      <a:lnTo>
                        <a:pt x="1350" y="258"/>
                      </a:lnTo>
                      <a:lnTo>
                        <a:pt x="1424" y="242"/>
                      </a:lnTo>
                      <a:lnTo>
                        <a:pt x="1498" y="226"/>
                      </a:lnTo>
                      <a:lnTo>
                        <a:pt x="1648" y="198"/>
                      </a:lnTo>
                      <a:lnTo>
                        <a:pt x="1804" y="174"/>
                      </a:lnTo>
                      <a:lnTo>
                        <a:pt x="1962" y="152"/>
                      </a:lnTo>
                      <a:lnTo>
                        <a:pt x="2126" y="132"/>
                      </a:lnTo>
                      <a:lnTo>
                        <a:pt x="2292" y="112"/>
                      </a:lnTo>
                      <a:close/>
                    </a:path>
                  </a:pathLst>
                </a:custGeom>
                <a:gradFill rotWithShape="1">
                  <a:gsLst>
                    <a:gs pos="0">
                      <a:srgbClr val="006D2A"/>
                    </a:gs>
                    <a:gs pos="92999">
                      <a:srgbClr val="008E39"/>
                    </a:gs>
                    <a:gs pos="100000">
                      <a:srgbClr val="007432"/>
                    </a:gs>
                  </a:gsLst>
                  <a:lin ang="13500000" scaled="1"/>
                </a:grad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ndParaRPr>
                </a:p>
              </p:txBody>
            </p:sp>
          </p:grpSp>
        </p:grpSp>
        <p:grpSp>
          <p:nvGrpSpPr>
            <p:cNvPr id="3347" name="Gruppe 10"/>
            <p:cNvGrpSpPr>
              <a:grpSpLocks/>
            </p:cNvGrpSpPr>
            <p:nvPr/>
          </p:nvGrpSpPr>
          <p:grpSpPr bwMode="auto">
            <a:xfrm rot="-3512246">
              <a:off x="2626766" y="1569941"/>
              <a:ext cx="2304908" cy="1355550"/>
              <a:chOff x="-497029" y="1374038"/>
              <a:chExt cx="10044197" cy="3999616"/>
            </a:xfrm>
          </p:grpSpPr>
          <p:grpSp>
            <p:nvGrpSpPr>
              <p:cNvPr id="3353" name="Gruppe 16"/>
              <p:cNvGrpSpPr>
                <a:grpSpLocks/>
              </p:cNvGrpSpPr>
              <p:nvPr/>
            </p:nvGrpSpPr>
            <p:grpSpPr bwMode="auto">
              <a:xfrm>
                <a:off x="-497029" y="1374038"/>
                <a:ext cx="9958234" cy="3999616"/>
                <a:chOff x="-1844763" y="-2984019"/>
                <a:chExt cx="11099942" cy="5999424"/>
              </a:xfrm>
            </p:grpSpPr>
            <p:sp>
              <p:nvSpPr>
                <p:cNvPr id="85" name="Freeform 6"/>
                <p:cNvSpPr>
                  <a:spLocks/>
                </p:cNvSpPr>
                <p:nvPr/>
              </p:nvSpPr>
              <p:spPr bwMode="auto">
                <a:xfrm>
                  <a:off x="-1860893" y="-3062734"/>
                  <a:ext cx="11174453" cy="5958547"/>
                </a:xfrm>
                <a:custGeom>
                  <a:avLst/>
                  <a:gdLst>
                    <a:gd name="T0" fmla="*/ 5438 w 7036"/>
                    <a:gd name="T1" fmla="*/ 1364 h 3760"/>
                    <a:gd name="T2" fmla="*/ 5644 w 7036"/>
                    <a:gd name="T3" fmla="*/ 1612 h 3760"/>
                    <a:gd name="T4" fmla="*/ 5850 w 7036"/>
                    <a:gd name="T5" fmla="*/ 1824 h 3760"/>
                    <a:gd name="T6" fmla="*/ 6160 w 7036"/>
                    <a:gd name="T7" fmla="*/ 2088 h 3760"/>
                    <a:gd name="T8" fmla="*/ 6584 w 7036"/>
                    <a:gd name="T9" fmla="*/ 2390 h 3760"/>
                    <a:gd name="T10" fmla="*/ 7036 w 7036"/>
                    <a:gd name="T11" fmla="*/ 2696 h 3760"/>
                    <a:gd name="T12" fmla="*/ 5784 w 7036"/>
                    <a:gd name="T13" fmla="*/ 3094 h 3760"/>
                    <a:gd name="T14" fmla="*/ 4056 w 7036"/>
                    <a:gd name="T15" fmla="*/ 3600 h 3760"/>
                    <a:gd name="T16" fmla="*/ 3546 w 7036"/>
                    <a:gd name="T17" fmla="*/ 3734 h 3760"/>
                    <a:gd name="T18" fmla="*/ 3242 w 7036"/>
                    <a:gd name="T19" fmla="*/ 3756 h 3760"/>
                    <a:gd name="T20" fmla="*/ 2782 w 7036"/>
                    <a:gd name="T21" fmla="*/ 3750 h 3760"/>
                    <a:gd name="T22" fmla="*/ 2492 w 7036"/>
                    <a:gd name="T23" fmla="*/ 3716 h 3760"/>
                    <a:gd name="T24" fmla="*/ 2210 w 7036"/>
                    <a:gd name="T25" fmla="*/ 3654 h 3760"/>
                    <a:gd name="T26" fmla="*/ 1960 w 7036"/>
                    <a:gd name="T27" fmla="*/ 3550 h 3760"/>
                    <a:gd name="T28" fmla="*/ 1832 w 7036"/>
                    <a:gd name="T29" fmla="*/ 3462 h 3760"/>
                    <a:gd name="T30" fmla="*/ 1750 w 7036"/>
                    <a:gd name="T31" fmla="*/ 3378 h 3760"/>
                    <a:gd name="T32" fmla="*/ 1638 w 7036"/>
                    <a:gd name="T33" fmla="*/ 3208 h 3760"/>
                    <a:gd name="T34" fmla="*/ 1508 w 7036"/>
                    <a:gd name="T35" fmla="*/ 2948 h 3760"/>
                    <a:gd name="T36" fmla="*/ 1434 w 7036"/>
                    <a:gd name="T37" fmla="*/ 2732 h 3760"/>
                    <a:gd name="T38" fmla="*/ 1382 w 7036"/>
                    <a:gd name="T39" fmla="*/ 2480 h 3760"/>
                    <a:gd name="T40" fmla="*/ 1344 w 7036"/>
                    <a:gd name="T41" fmla="*/ 2330 h 3760"/>
                    <a:gd name="T42" fmla="*/ 1284 w 7036"/>
                    <a:gd name="T43" fmla="*/ 2244 h 3760"/>
                    <a:gd name="T44" fmla="*/ 1176 w 7036"/>
                    <a:gd name="T45" fmla="*/ 2182 h 3760"/>
                    <a:gd name="T46" fmla="*/ 1048 w 7036"/>
                    <a:gd name="T47" fmla="*/ 2152 h 3760"/>
                    <a:gd name="T48" fmla="*/ 928 w 7036"/>
                    <a:gd name="T49" fmla="*/ 2168 h 3760"/>
                    <a:gd name="T50" fmla="*/ 784 w 7036"/>
                    <a:gd name="T51" fmla="*/ 2238 h 3760"/>
                    <a:gd name="T52" fmla="*/ 548 w 7036"/>
                    <a:gd name="T53" fmla="*/ 2406 h 3760"/>
                    <a:gd name="T54" fmla="*/ 206 w 7036"/>
                    <a:gd name="T55" fmla="*/ 2712 h 3760"/>
                    <a:gd name="T56" fmla="*/ 88 w 7036"/>
                    <a:gd name="T57" fmla="*/ 2816 h 3760"/>
                    <a:gd name="T58" fmla="*/ 34 w 7036"/>
                    <a:gd name="T59" fmla="*/ 2758 h 3760"/>
                    <a:gd name="T60" fmla="*/ 2 w 7036"/>
                    <a:gd name="T61" fmla="*/ 2676 h 3760"/>
                    <a:gd name="T62" fmla="*/ 10 w 7036"/>
                    <a:gd name="T63" fmla="*/ 2592 h 3760"/>
                    <a:gd name="T64" fmla="*/ 54 w 7036"/>
                    <a:gd name="T65" fmla="*/ 2506 h 3760"/>
                    <a:gd name="T66" fmla="*/ 150 w 7036"/>
                    <a:gd name="T67" fmla="*/ 2396 h 3760"/>
                    <a:gd name="T68" fmla="*/ 372 w 7036"/>
                    <a:gd name="T69" fmla="*/ 2222 h 3760"/>
                    <a:gd name="T70" fmla="*/ 648 w 7036"/>
                    <a:gd name="T71" fmla="*/ 2052 h 3760"/>
                    <a:gd name="T72" fmla="*/ 1240 w 7036"/>
                    <a:gd name="T73" fmla="*/ 1724 h 3760"/>
                    <a:gd name="T74" fmla="*/ 1396 w 7036"/>
                    <a:gd name="T75" fmla="*/ 1618 h 3760"/>
                    <a:gd name="T76" fmla="*/ 1506 w 7036"/>
                    <a:gd name="T77" fmla="*/ 1478 h 3760"/>
                    <a:gd name="T78" fmla="*/ 1662 w 7036"/>
                    <a:gd name="T79" fmla="*/ 1226 h 3760"/>
                    <a:gd name="T80" fmla="*/ 1912 w 7036"/>
                    <a:gd name="T81" fmla="*/ 776 h 3760"/>
                    <a:gd name="T82" fmla="*/ 2070 w 7036"/>
                    <a:gd name="T83" fmla="*/ 534 h 3760"/>
                    <a:gd name="T84" fmla="*/ 2264 w 7036"/>
                    <a:gd name="T85" fmla="*/ 322 h 3760"/>
                    <a:gd name="T86" fmla="*/ 2444 w 7036"/>
                    <a:gd name="T87" fmla="*/ 192 h 3760"/>
                    <a:gd name="T88" fmla="*/ 2584 w 7036"/>
                    <a:gd name="T89" fmla="*/ 120 h 3760"/>
                    <a:gd name="T90" fmla="*/ 2742 w 7036"/>
                    <a:gd name="T91" fmla="*/ 64 h 3760"/>
                    <a:gd name="T92" fmla="*/ 2922 w 7036"/>
                    <a:gd name="T93" fmla="*/ 24 h 3760"/>
                    <a:gd name="T94" fmla="*/ 3126 w 7036"/>
                    <a:gd name="T95" fmla="*/ 2 h 3760"/>
                    <a:gd name="T96" fmla="*/ 3288 w 7036"/>
                    <a:gd name="T97" fmla="*/ 2 h 3760"/>
                    <a:gd name="T98" fmla="*/ 3500 w 7036"/>
                    <a:gd name="T99" fmla="*/ 26 h 3760"/>
                    <a:gd name="T100" fmla="*/ 3706 w 7036"/>
                    <a:gd name="T101" fmla="*/ 74 h 3760"/>
                    <a:gd name="T102" fmla="*/ 3956 w 7036"/>
                    <a:gd name="T103" fmla="*/ 166 h 3760"/>
                    <a:gd name="T104" fmla="*/ 4330 w 7036"/>
                    <a:gd name="T105" fmla="*/ 360 h 3760"/>
                    <a:gd name="T106" fmla="*/ 4660 w 7036"/>
                    <a:gd name="T107" fmla="*/ 588 h 3760"/>
                    <a:gd name="T108" fmla="*/ 4938 w 7036"/>
                    <a:gd name="T109" fmla="*/ 820 h 3760"/>
                    <a:gd name="T110" fmla="*/ 5228 w 7036"/>
                    <a:gd name="T111" fmla="*/ 1104 h 376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036"/>
                    <a:gd name="T169" fmla="*/ 0 h 3760"/>
                    <a:gd name="T170" fmla="*/ 7036 w 7036"/>
                    <a:gd name="T171" fmla="*/ 3760 h 376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036" h="3760">
                      <a:moveTo>
                        <a:pt x="5332" y="1222"/>
                      </a:moveTo>
                      <a:lnTo>
                        <a:pt x="5332" y="1222"/>
                      </a:lnTo>
                      <a:lnTo>
                        <a:pt x="5386" y="1294"/>
                      </a:lnTo>
                      <a:lnTo>
                        <a:pt x="5438" y="1364"/>
                      </a:lnTo>
                      <a:lnTo>
                        <a:pt x="5490" y="1430"/>
                      </a:lnTo>
                      <a:lnTo>
                        <a:pt x="5542" y="1494"/>
                      </a:lnTo>
                      <a:lnTo>
                        <a:pt x="5594" y="1554"/>
                      </a:lnTo>
                      <a:lnTo>
                        <a:pt x="5644" y="1612"/>
                      </a:lnTo>
                      <a:lnTo>
                        <a:pt x="5696" y="1668"/>
                      </a:lnTo>
                      <a:lnTo>
                        <a:pt x="5748" y="1722"/>
                      </a:lnTo>
                      <a:lnTo>
                        <a:pt x="5800" y="1774"/>
                      </a:lnTo>
                      <a:lnTo>
                        <a:pt x="5850" y="1824"/>
                      </a:lnTo>
                      <a:lnTo>
                        <a:pt x="5902" y="1872"/>
                      </a:lnTo>
                      <a:lnTo>
                        <a:pt x="5954" y="1918"/>
                      </a:lnTo>
                      <a:lnTo>
                        <a:pt x="6056" y="2006"/>
                      </a:lnTo>
                      <a:lnTo>
                        <a:pt x="6160" y="2088"/>
                      </a:lnTo>
                      <a:lnTo>
                        <a:pt x="6264" y="2168"/>
                      </a:lnTo>
                      <a:lnTo>
                        <a:pt x="6370" y="2242"/>
                      </a:lnTo>
                      <a:lnTo>
                        <a:pt x="6476" y="2316"/>
                      </a:lnTo>
                      <a:lnTo>
                        <a:pt x="6584" y="2390"/>
                      </a:lnTo>
                      <a:lnTo>
                        <a:pt x="6806" y="2538"/>
                      </a:lnTo>
                      <a:lnTo>
                        <a:pt x="6920" y="2616"/>
                      </a:lnTo>
                      <a:lnTo>
                        <a:pt x="7036" y="2696"/>
                      </a:lnTo>
                      <a:lnTo>
                        <a:pt x="6882" y="2748"/>
                      </a:lnTo>
                      <a:lnTo>
                        <a:pt x="6700" y="2808"/>
                      </a:lnTo>
                      <a:lnTo>
                        <a:pt x="6272" y="2944"/>
                      </a:lnTo>
                      <a:lnTo>
                        <a:pt x="5784" y="3094"/>
                      </a:lnTo>
                      <a:lnTo>
                        <a:pt x="5266" y="3250"/>
                      </a:lnTo>
                      <a:lnTo>
                        <a:pt x="4752" y="3400"/>
                      </a:lnTo>
                      <a:lnTo>
                        <a:pt x="4272" y="3538"/>
                      </a:lnTo>
                      <a:lnTo>
                        <a:pt x="4056" y="3600"/>
                      </a:lnTo>
                      <a:lnTo>
                        <a:pt x="3860" y="3652"/>
                      </a:lnTo>
                      <a:lnTo>
                        <a:pt x="3690" y="3698"/>
                      </a:lnTo>
                      <a:lnTo>
                        <a:pt x="3546" y="3734"/>
                      </a:lnTo>
                      <a:lnTo>
                        <a:pt x="3502" y="3740"/>
                      </a:lnTo>
                      <a:lnTo>
                        <a:pt x="3434" y="3746"/>
                      </a:lnTo>
                      <a:lnTo>
                        <a:pt x="3346" y="3752"/>
                      </a:lnTo>
                      <a:lnTo>
                        <a:pt x="3242" y="3756"/>
                      </a:lnTo>
                      <a:lnTo>
                        <a:pt x="3122" y="3760"/>
                      </a:lnTo>
                      <a:lnTo>
                        <a:pt x="2992" y="3758"/>
                      </a:lnTo>
                      <a:lnTo>
                        <a:pt x="2854" y="3754"/>
                      </a:lnTo>
                      <a:lnTo>
                        <a:pt x="2782" y="3750"/>
                      </a:lnTo>
                      <a:lnTo>
                        <a:pt x="2710" y="3744"/>
                      </a:lnTo>
                      <a:lnTo>
                        <a:pt x="2638" y="3736"/>
                      </a:lnTo>
                      <a:lnTo>
                        <a:pt x="2564" y="3728"/>
                      </a:lnTo>
                      <a:lnTo>
                        <a:pt x="2492" y="3716"/>
                      </a:lnTo>
                      <a:lnTo>
                        <a:pt x="2420" y="3704"/>
                      </a:lnTo>
                      <a:lnTo>
                        <a:pt x="2348" y="3690"/>
                      </a:lnTo>
                      <a:lnTo>
                        <a:pt x="2278" y="3672"/>
                      </a:lnTo>
                      <a:lnTo>
                        <a:pt x="2210" y="3654"/>
                      </a:lnTo>
                      <a:lnTo>
                        <a:pt x="2144" y="3632"/>
                      </a:lnTo>
                      <a:lnTo>
                        <a:pt x="2080" y="3608"/>
                      </a:lnTo>
                      <a:lnTo>
                        <a:pt x="2018" y="3580"/>
                      </a:lnTo>
                      <a:lnTo>
                        <a:pt x="1960" y="3550"/>
                      </a:lnTo>
                      <a:lnTo>
                        <a:pt x="1906" y="3518"/>
                      </a:lnTo>
                      <a:lnTo>
                        <a:pt x="1880" y="3500"/>
                      </a:lnTo>
                      <a:lnTo>
                        <a:pt x="1856" y="3482"/>
                      </a:lnTo>
                      <a:lnTo>
                        <a:pt x="1832" y="3462"/>
                      </a:lnTo>
                      <a:lnTo>
                        <a:pt x="1810" y="3444"/>
                      </a:lnTo>
                      <a:lnTo>
                        <a:pt x="1788" y="3422"/>
                      </a:lnTo>
                      <a:lnTo>
                        <a:pt x="1768" y="3400"/>
                      </a:lnTo>
                      <a:lnTo>
                        <a:pt x="1750" y="3378"/>
                      </a:lnTo>
                      <a:lnTo>
                        <a:pt x="1732" y="3356"/>
                      </a:lnTo>
                      <a:lnTo>
                        <a:pt x="1682" y="3280"/>
                      </a:lnTo>
                      <a:lnTo>
                        <a:pt x="1638" y="3208"/>
                      </a:lnTo>
                      <a:lnTo>
                        <a:pt x="1600" y="3138"/>
                      </a:lnTo>
                      <a:lnTo>
                        <a:pt x="1564" y="3072"/>
                      </a:lnTo>
                      <a:lnTo>
                        <a:pt x="1534" y="3010"/>
                      </a:lnTo>
                      <a:lnTo>
                        <a:pt x="1508" y="2948"/>
                      </a:lnTo>
                      <a:lnTo>
                        <a:pt x="1484" y="2890"/>
                      </a:lnTo>
                      <a:lnTo>
                        <a:pt x="1466" y="2836"/>
                      </a:lnTo>
                      <a:lnTo>
                        <a:pt x="1448" y="2782"/>
                      </a:lnTo>
                      <a:lnTo>
                        <a:pt x="1434" y="2732"/>
                      </a:lnTo>
                      <a:lnTo>
                        <a:pt x="1422" y="2684"/>
                      </a:lnTo>
                      <a:lnTo>
                        <a:pt x="1412" y="2640"/>
                      </a:lnTo>
                      <a:lnTo>
                        <a:pt x="1396" y="2556"/>
                      </a:lnTo>
                      <a:lnTo>
                        <a:pt x="1382" y="2480"/>
                      </a:lnTo>
                      <a:lnTo>
                        <a:pt x="1368" y="2414"/>
                      </a:lnTo>
                      <a:lnTo>
                        <a:pt x="1362" y="2384"/>
                      </a:lnTo>
                      <a:lnTo>
                        <a:pt x="1354" y="2356"/>
                      </a:lnTo>
                      <a:lnTo>
                        <a:pt x="1344" y="2330"/>
                      </a:lnTo>
                      <a:lnTo>
                        <a:pt x="1332" y="2306"/>
                      </a:lnTo>
                      <a:lnTo>
                        <a:pt x="1318" y="2284"/>
                      </a:lnTo>
                      <a:lnTo>
                        <a:pt x="1302" y="2264"/>
                      </a:lnTo>
                      <a:lnTo>
                        <a:pt x="1284" y="2244"/>
                      </a:lnTo>
                      <a:lnTo>
                        <a:pt x="1262" y="2226"/>
                      </a:lnTo>
                      <a:lnTo>
                        <a:pt x="1238" y="2210"/>
                      </a:lnTo>
                      <a:lnTo>
                        <a:pt x="1208" y="2196"/>
                      </a:lnTo>
                      <a:lnTo>
                        <a:pt x="1176" y="2182"/>
                      </a:lnTo>
                      <a:lnTo>
                        <a:pt x="1138" y="2172"/>
                      </a:lnTo>
                      <a:lnTo>
                        <a:pt x="1096" y="2160"/>
                      </a:lnTo>
                      <a:lnTo>
                        <a:pt x="1048" y="2152"/>
                      </a:lnTo>
                      <a:lnTo>
                        <a:pt x="1020" y="2150"/>
                      </a:lnTo>
                      <a:lnTo>
                        <a:pt x="992" y="2152"/>
                      </a:lnTo>
                      <a:lnTo>
                        <a:pt x="962" y="2158"/>
                      </a:lnTo>
                      <a:lnTo>
                        <a:pt x="928" y="2168"/>
                      </a:lnTo>
                      <a:lnTo>
                        <a:pt x="894" y="2180"/>
                      </a:lnTo>
                      <a:lnTo>
                        <a:pt x="858" y="2198"/>
                      </a:lnTo>
                      <a:lnTo>
                        <a:pt x="822" y="2216"/>
                      </a:lnTo>
                      <a:lnTo>
                        <a:pt x="784" y="2238"/>
                      </a:lnTo>
                      <a:lnTo>
                        <a:pt x="746" y="2262"/>
                      </a:lnTo>
                      <a:lnTo>
                        <a:pt x="706" y="2288"/>
                      </a:lnTo>
                      <a:lnTo>
                        <a:pt x="628" y="2346"/>
                      </a:lnTo>
                      <a:lnTo>
                        <a:pt x="548" y="2406"/>
                      </a:lnTo>
                      <a:lnTo>
                        <a:pt x="470" y="2472"/>
                      </a:lnTo>
                      <a:lnTo>
                        <a:pt x="396" y="2536"/>
                      </a:lnTo>
                      <a:lnTo>
                        <a:pt x="326" y="2600"/>
                      </a:lnTo>
                      <a:lnTo>
                        <a:pt x="206" y="2712"/>
                      </a:lnTo>
                      <a:lnTo>
                        <a:pt x="122" y="2790"/>
                      </a:lnTo>
                      <a:lnTo>
                        <a:pt x="98" y="2810"/>
                      </a:lnTo>
                      <a:lnTo>
                        <a:pt x="90" y="2816"/>
                      </a:lnTo>
                      <a:lnTo>
                        <a:pt x="88" y="2816"/>
                      </a:lnTo>
                      <a:lnTo>
                        <a:pt x="66" y="2798"/>
                      </a:lnTo>
                      <a:lnTo>
                        <a:pt x="50" y="2778"/>
                      </a:lnTo>
                      <a:lnTo>
                        <a:pt x="34" y="2758"/>
                      </a:lnTo>
                      <a:lnTo>
                        <a:pt x="22" y="2738"/>
                      </a:lnTo>
                      <a:lnTo>
                        <a:pt x="14" y="2718"/>
                      </a:lnTo>
                      <a:lnTo>
                        <a:pt x="6" y="2698"/>
                      </a:lnTo>
                      <a:lnTo>
                        <a:pt x="2" y="2676"/>
                      </a:lnTo>
                      <a:lnTo>
                        <a:pt x="0" y="2656"/>
                      </a:lnTo>
                      <a:lnTo>
                        <a:pt x="2" y="2634"/>
                      </a:lnTo>
                      <a:lnTo>
                        <a:pt x="6" y="2614"/>
                      </a:lnTo>
                      <a:lnTo>
                        <a:pt x="10" y="2592"/>
                      </a:lnTo>
                      <a:lnTo>
                        <a:pt x="18" y="2570"/>
                      </a:lnTo>
                      <a:lnTo>
                        <a:pt x="28" y="2550"/>
                      </a:lnTo>
                      <a:lnTo>
                        <a:pt x="40" y="2528"/>
                      </a:lnTo>
                      <a:lnTo>
                        <a:pt x="54" y="2506"/>
                      </a:lnTo>
                      <a:lnTo>
                        <a:pt x="70" y="2484"/>
                      </a:lnTo>
                      <a:lnTo>
                        <a:pt x="86" y="2462"/>
                      </a:lnTo>
                      <a:lnTo>
                        <a:pt x="106" y="2440"/>
                      </a:lnTo>
                      <a:lnTo>
                        <a:pt x="150" y="2396"/>
                      </a:lnTo>
                      <a:lnTo>
                        <a:pt x="198" y="2352"/>
                      </a:lnTo>
                      <a:lnTo>
                        <a:pt x="252" y="2308"/>
                      </a:lnTo>
                      <a:lnTo>
                        <a:pt x="310" y="2264"/>
                      </a:lnTo>
                      <a:lnTo>
                        <a:pt x="372" y="2222"/>
                      </a:lnTo>
                      <a:lnTo>
                        <a:pt x="438" y="2178"/>
                      </a:lnTo>
                      <a:lnTo>
                        <a:pt x="506" y="2136"/>
                      </a:lnTo>
                      <a:lnTo>
                        <a:pt x="576" y="2092"/>
                      </a:lnTo>
                      <a:lnTo>
                        <a:pt x="648" y="2052"/>
                      </a:lnTo>
                      <a:lnTo>
                        <a:pt x="792" y="1970"/>
                      </a:lnTo>
                      <a:lnTo>
                        <a:pt x="1066" y="1822"/>
                      </a:lnTo>
                      <a:lnTo>
                        <a:pt x="1186" y="1754"/>
                      </a:lnTo>
                      <a:lnTo>
                        <a:pt x="1240" y="1724"/>
                      </a:lnTo>
                      <a:lnTo>
                        <a:pt x="1288" y="1694"/>
                      </a:lnTo>
                      <a:lnTo>
                        <a:pt x="1332" y="1666"/>
                      </a:lnTo>
                      <a:lnTo>
                        <a:pt x="1368" y="1640"/>
                      </a:lnTo>
                      <a:lnTo>
                        <a:pt x="1396" y="1618"/>
                      </a:lnTo>
                      <a:lnTo>
                        <a:pt x="1418" y="1596"/>
                      </a:lnTo>
                      <a:lnTo>
                        <a:pt x="1462" y="1538"/>
                      </a:lnTo>
                      <a:lnTo>
                        <a:pt x="1506" y="1478"/>
                      </a:lnTo>
                      <a:lnTo>
                        <a:pt x="1548" y="1416"/>
                      </a:lnTo>
                      <a:lnTo>
                        <a:pt x="1588" y="1354"/>
                      </a:lnTo>
                      <a:lnTo>
                        <a:pt x="1626" y="1290"/>
                      </a:lnTo>
                      <a:lnTo>
                        <a:pt x="1662" y="1226"/>
                      </a:lnTo>
                      <a:lnTo>
                        <a:pt x="1734" y="1096"/>
                      </a:lnTo>
                      <a:lnTo>
                        <a:pt x="1804" y="966"/>
                      </a:lnTo>
                      <a:lnTo>
                        <a:pt x="1874" y="838"/>
                      </a:lnTo>
                      <a:lnTo>
                        <a:pt x="1912" y="776"/>
                      </a:lnTo>
                      <a:lnTo>
                        <a:pt x="1948" y="714"/>
                      </a:lnTo>
                      <a:lnTo>
                        <a:pt x="1988" y="652"/>
                      </a:lnTo>
                      <a:lnTo>
                        <a:pt x="2028" y="592"/>
                      </a:lnTo>
                      <a:lnTo>
                        <a:pt x="2070" y="534"/>
                      </a:lnTo>
                      <a:lnTo>
                        <a:pt x="2116" y="478"/>
                      </a:lnTo>
                      <a:lnTo>
                        <a:pt x="2162" y="424"/>
                      </a:lnTo>
                      <a:lnTo>
                        <a:pt x="2212" y="372"/>
                      </a:lnTo>
                      <a:lnTo>
                        <a:pt x="2264" y="322"/>
                      </a:lnTo>
                      <a:lnTo>
                        <a:pt x="2320" y="276"/>
                      </a:lnTo>
                      <a:lnTo>
                        <a:pt x="2380" y="232"/>
                      </a:lnTo>
                      <a:lnTo>
                        <a:pt x="2412" y="212"/>
                      </a:lnTo>
                      <a:lnTo>
                        <a:pt x="2444" y="192"/>
                      </a:lnTo>
                      <a:lnTo>
                        <a:pt x="2478" y="172"/>
                      </a:lnTo>
                      <a:lnTo>
                        <a:pt x="2512" y="154"/>
                      </a:lnTo>
                      <a:lnTo>
                        <a:pt x="2548" y="136"/>
                      </a:lnTo>
                      <a:lnTo>
                        <a:pt x="2584" y="120"/>
                      </a:lnTo>
                      <a:lnTo>
                        <a:pt x="2622" y="104"/>
                      </a:lnTo>
                      <a:lnTo>
                        <a:pt x="2662" y="90"/>
                      </a:lnTo>
                      <a:lnTo>
                        <a:pt x="2702" y="76"/>
                      </a:lnTo>
                      <a:lnTo>
                        <a:pt x="2742" y="64"/>
                      </a:lnTo>
                      <a:lnTo>
                        <a:pt x="2786" y="52"/>
                      </a:lnTo>
                      <a:lnTo>
                        <a:pt x="2830" y="42"/>
                      </a:lnTo>
                      <a:lnTo>
                        <a:pt x="2876" y="32"/>
                      </a:lnTo>
                      <a:lnTo>
                        <a:pt x="2922" y="24"/>
                      </a:lnTo>
                      <a:lnTo>
                        <a:pt x="2972" y="16"/>
                      </a:lnTo>
                      <a:lnTo>
                        <a:pt x="3022" y="10"/>
                      </a:lnTo>
                      <a:lnTo>
                        <a:pt x="3074" y="6"/>
                      </a:lnTo>
                      <a:lnTo>
                        <a:pt x="3126" y="2"/>
                      </a:lnTo>
                      <a:lnTo>
                        <a:pt x="3180" y="0"/>
                      </a:lnTo>
                      <a:lnTo>
                        <a:pt x="3234" y="0"/>
                      </a:lnTo>
                      <a:lnTo>
                        <a:pt x="3288" y="2"/>
                      </a:lnTo>
                      <a:lnTo>
                        <a:pt x="3340" y="4"/>
                      </a:lnTo>
                      <a:lnTo>
                        <a:pt x="3394" y="10"/>
                      </a:lnTo>
                      <a:lnTo>
                        <a:pt x="3446" y="18"/>
                      </a:lnTo>
                      <a:lnTo>
                        <a:pt x="3500" y="26"/>
                      </a:lnTo>
                      <a:lnTo>
                        <a:pt x="3552" y="36"/>
                      </a:lnTo>
                      <a:lnTo>
                        <a:pt x="3604" y="48"/>
                      </a:lnTo>
                      <a:lnTo>
                        <a:pt x="3654" y="60"/>
                      </a:lnTo>
                      <a:lnTo>
                        <a:pt x="3706" y="74"/>
                      </a:lnTo>
                      <a:lnTo>
                        <a:pt x="3758" y="90"/>
                      </a:lnTo>
                      <a:lnTo>
                        <a:pt x="3808" y="108"/>
                      </a:lnTo>
                      <a:lnTo>
                        <a:pt x="3858" y="126"/>
                      </a:lnTo>
                      <a:lnTo>
                        <a:pt x="3956" y="166"/>
                      </a:lnTo>
                      <a:lnTo>
                        <a:pt x="4054" y="210"/>
                      </a:lnTo>
                      <a:lnTo>
                        <a:pt x="4148" y="256"/>
                      </a:lnTo>
                      <a:lnTo>
                        <a:pt x="4240" y="306"/>
                      </a:lnTo>
                      <a:lnTo>
                        <a:pt x="4330" y="360"/>
                      </a:lnTo>
                      <a:lnTo>
                        <a:pt x="4418" y="414"/>
                      </a:lnTo>
                      <a:lnTo>
                        <a:pt x="4502" y="472"/>
                      </a:lnTo>
                      <a:lnTo>
                        <a:pt x="4582" y="530"/>
                      </a:lnTo>
                      <a:lnTo>
                        <a:pt x="4660" y="588"/>
                      </a:lnTo>
                      <a:lnTo>
                        <a:pt x="4736" y="646"/>
                      </a:lnTo>
                      <a:lnTo>
                        <a:pt x="4806" y="706"/>
                      </a:lnTo>
                      <a:lnTo>
                        <a:pt x="4874" y="762"/>
                      </a:lnTo>
                      <a:lnTo>
                        <a:pt x="4938" y="820"/>
                      </a:lnTo>
                      <a:lnTo>
                        <a:pt x="4998" y="874"/>
                      </a:lnTo>
                      <a:lnTo>
                        <a:pt x="5052" y="926"/>
                      </a:lnTo>
                      <a:lnTo>
                        <a:pt x="5150" y="1022"/>
                      </a:lnTo>
                      <a:lnTo>
                        <a:pt x="5228" y="1104"/>
                      </a:lnTo>
                      <a:lnTo>
                        <a:pt x="5284" y="1166"/>
                      </a:lnTo>
                      <a:lnTo>
                        <a:pt x="5332" y="1222"/>
                      </a:lnTo>
                      <a:close/>
                    </a:path>
                  </a:pathLst>
                </a:custGeom>
                <a:gradFill rotWithShape="1">
                  <a:gsLst>
                    <a:gs pos="0">
                      <a:srgbClr val="006D2A"/>
                    </a:gs>
                    <a:gs pos="50000">
                      <a:srgbClr val="009E41"/>
                    </a:gs>
                    <a:gs pos="100000">
                      <a:srgbClr val="00BD4F"/>
                    </a:gs>
                  </a:gsLst>
                  <a:lin ang="13500000" scaled="1"/>
                </a:grad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ndParaRPr>
                </a:p>
              </p:txBody>
            </p:sp>
            <p:sp>
              <p:nvSpPr>
                <p:cNvPr id="86" name="Freeform 7"/>
                <p:cNvSpPr>
                  <a:spLocks/>
                </p:cNvSpPr>
                <p:nvPr/>
              </p:nvSpPr>
              <p:spPr bwMode="auto">
                <a:xfrm>
                  <a:off x="-1754881" y="-3137690"/>
                  <a:ext cx="11126714" cy="4436281"/>
                </a:xfrm>
                <a:custGeom>
                  <a:avLst/>
                  <a:gdLst>
                    <a:gd name="T0" fmla="*/ 2382 w 7034"/>
                    <a:gd name="T1" fmla="*/ 1714 h 2792"/>
                    <a:gd name="T2" fmla="*/ 2542 w 7034"/>
                    <a:gd name="T3" fmla="*/ 1702 h 2792"/>
                    <a:gd name="T4" fmla="*/ 2734 w 7034"/>
                    <a:gd name="T5" fmla="*/ 1704 h 2792"/>
                    <a:gd name="T6" fmla="*/ 2954 w 7034"/>
                    <a:gd name="T7" fmla="*/ 1722 h 2792"/>
                    <a:gd name="T8" fmla="*/ 3462 w 7034"/>
                    <a:gd name="T9" fmla="*/ 1794 h 2792"/>
                    <a:gd name="T10" fmla="*/ 4032 w 7034"/>
                    <a:gd name="T11" fmla="*/ 1902 h 2792"/>
                    <a:gd name="T12" fmla="*/ 4632 w 7034"/>
                    <a:gd name="T13" fmla="*/ 2038 h 2792"/>
                    <a:gd name="T14" fmla="*/ 5422 w 7034"/>
                    <a:gd name="T15" fmla="*/ 2238 h 2792"/>
                    <a:gd name="T16" fmla="*/ 6430 w 7034"/>
                    <a:gd name="T17" fmla="*/ 2518 h 2792"/>
                    <a:gd name="T18" fmla="*/ 7034 w 7034"/>
                    <a:gd name="T19" fmla="*/ 2696 h 2792"/>
                    <a:gd name="T20" fmla="*/ 6804 w 7034"/>
                    <a:gd name="T21" fmla="*/ 2538 h 2792"/>
                    <a:gd name="T22" fmla="*/ 6368 w 7034"/>
                    <a:gd name="T23" fmla="*/ 2242 h 2792"/>
                    <a:gd name="T24" fmla="*/ 6054 w 7034"/>
                    <a:gd name="T25" fmla="*/ 2006 h 2792"/>
                    <a:gd name="T26" fmla="*/ 5848 w 7034"/>
                    <a:gd name="T27" fmla="*/ 1824 h 2792"/>
                    <a:gd name="T28" fmla="*/ 5694 w 7034"/>
                    <a:gd name="T29" fmla="*/ 1668 h 2792"/>
                    <a:gd name="T30" fmla="*/ 5540 w 7034"/>
                    <a:gd name="T31" fmla="*/ 1494 h 2792"/>
                    <a:gd name="T32" fmla="*/ 5384 w 7034"/>
                    <a:gd name="T33" fmla="*/ 1294 h 2792"/>
                    <a:gd name="T34" fmla="*/ 5282 w 7034"/>
                    <a:gd name="T35" fmla="*/ 1166 h 2792"/>
                    <a:gd name="T36" fmla="*/ 5050 w 7034"/>
                    <a:gd name="T37" fmla="*/ 926 h 2792"/>
                    <a:gd name="T38" fmla="*/ 4872 w 7034"/>
                    <a:gd name="T39" fmla="*/ 762 h 2792"/>
                    <a:gd name="T40" fmla="*/ 4658 w 7034"/>
                    <a:gd name="T41" fmla="*/ 588 h 2792"/>
                    <a:gd name="T42" fmla="*/ 4416 w 7034"/>
                    <a:gd name="T43" fmla="*/ 414 h 2792"/>
                    <a:gd name="T44" fmla="*/ 4146 w 7034"/>
                    <a:gd name="T45" fmla="*/ 256 h 2792"/>
                    <a:gd name="T46" fmla="*/ 3856 w 7034"/>
                    <a:gd name="T47" fmla="*/ 126 h 2792"/>
                    <a:gd name="T48" fmla="*/ 3704 w 7034"/>
                    <a:gd name="T49" fmla="*/ 74 h 2792"/>
                    <a:gd name="T50" fmla="*/ 3550 w 7034"/>
                    <a:gd name="T51" fmla="*/ 36 h 2792"/>
                    <a:gd name="T52" fmla="*/ 3392 w 7034"/>
                    <a:gd name="T53" fmla="*/ 10 h 2792"/>
                    <a:gd name="T54" fmla="*/ 3232 w 7034"/>
                    <a:gd name="T55" fmla="*/ 0 h 2792"/>
                    <a:gd name="T56" fmla="*/ 3124 w 7034"/>
                    <a:gd name="T57" fmla="*/ 2 h 2792"/>
                    <a:gd name="T58" fmla="*/ 2970 w 7034"/>
                    <a:gd name="T59" fmla="*/ 16 h 2792"/>
                    <a:gd name="T60" fmla="*/ 2828 w 7034"/>
                    <a:gd name="T61" fmla="*/ 42 h 2792"/>
                    <a:gd name="T62" fmla="*/ 2700 w 7034"/>
                    <a:gd name="T63" fmla="*/ 76 h 2792"/>
                    <a:gd name="T64" fmla="*/ 2582 w 7034"/>
                    <a:gd name="T65" fmla="*/ 120 h 2792"/>
                    <a:gd name="T66" fmla="*/ 2476 w 7034"/>
                    <a:gd name="T67" fmla="*/ 172 h 2792"/>
                    <a:gd name="T68" fmla="*/ 2378 w 7034"/>
                    <a:gd name="T69" fmla="*/ 232 h 2792"/>
                    <a:gd name="T70" fmla="*/ 2210 w 7034"/>
                    <a:gd name="T71" fmla="*/ 372 h 2792"/>
                    <a:gd name="T72" fmla="*/ 2068 w 7034"/>
                    <a:gd name="T73" fmla="*/ 534 h 2792"/>
                    <a:gd name="T74" fmla="*/ 1946 w 7034"/>
                    <a:gd name="T75" fmla="*/ 714 h 2792"/>
                    <a:gd name="T76" fmla="*/ 1802 w 7034"/>
                    <a:gd name="T77" fmla="*/ 966 h 2792"/>
                    <a:gd name="T78" fmla="*/ 1624 w 7034"/>
                    <a:gd name="T79" fmla="*/ 1290 h 2792"/>
                    <a:gd name="T80" fmla="*/ 1504 w 7034"/>
                    <a:gd name="T81" fmla="*/ 1478 h 2792"/>
                    <a:gd name="T82" fmla="*/ 1416 w 7034"/>
                    <a:gd name="T83" fmla="*/ 1596 h 2792"/>
                    <a:gd name="T84" fmla="*/ 1332 w 7034"/>
                    <a:gd name="T85" fmla="*/ 1666 h 2792"/>
                    <a:gd name="T86" fmla="*/ 1192 w 7034"/>
                    <a:gd name="T87" fmla="*/ 1752 h 2792"/>
                    <a:gd name="T88" fmla="*/ 666 w 7034"/>
                    <a:gd name="T89" fmla="*/ 2040 h 2792"/>
                    <a:gd name="T90" fmla="*/ 394 w 7034"/>
                    <a:gd name="T91" fmla="*/ 2206 h 2792"/>
                    <a:gd name="T92" fmla="*/ 218 w 7034"/>
                    <a:gd name="T93" fmla="*/ 2334 h 2792"/>
                    <a:gd name="T94" fmla="*/ 84 w 7034"/>
                    <a:gd name="T95" fmla="*/ 2464 h 2792"/>
                    <a:gd name="T96" fmla="*/ 38 w 7034"/>
                    <a:gd name="T97" fmla="*/ 2528 h 2792"/>
                    <a:gd name="T98" fmla="*/ 10 w 7034"/>
                    <a:gd name="T99" fmla="*/ 2592 h 2792"/>
                    <a:gd name="T100" fmla="*/ 0 w 7034"/>
                    <a:gd name="T101" fmla="*/ 2654 h 2792"/>
                    <a:gd name="T102" fmla="*/ 10 w 7034"/>
                    <a:gd name="T103" fmla="*/ 2714 h 2792"/>
                    <a:gd name="T104" fmla="*/ 44 w 7034"/>
                    <a:gd name="T105" fmla="*/ 2774 h 2792"/>
                    <a:gd name="T106" fmla="*/ 80 w 7034"/>
                    <a:gd name="T107" fmla="*/ 2746 h 2792"/>
                    <a:gd name="T108" fmla="*/ 242 w 7034"/>
                    <a:gd name="T109" fmla="*/ 2532 h 2792"/>
                    <a:gd name="T110" fmla="*/ 416 w 7034"/>
                    <a:gd name="T111" fmla="*/ 2358 h 2792"/>
                    <a:gd name="T112" fmla="*/ 600 w 7034"/>
                    <a:gd name="T113" fmla="*/ 2218 h 2792"/>
                    <a:gd name="T114" fmla="*/ 796 w 7034"/>
                    <a:gd name="T115" fmla="*/ 2106 h 2792"/>
                    <a:gd name="T116" fmla="*/ 1000 w 7034"/>
                    <a:gd name="T117" fmla="*/ 2018 h 2792"/>
                    <a:gd name="T118" fmla="*/ 1214 w 7034"/>
                    <a:gd name="T119" fmla="*/ 1950 h 2792"/>
                    <a:gd name="T120" fmla="*/ 1438 w 7034"/>
                    <a:gd name="T121" fmla="*/ 1894 h 2792"/>
                    <a:gd name="T122" fmla="*/ 1832 w 7034"/>
                    <a:gd name="T123" fmla="*/ 1816 h 2792"/>
                    <a:gd name="T124" fmla="*/ 2336 w 7034"/>
                    <a:gd name="T125" fmla="*/ 1722 h 27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7034"/>
                    <a:gd name="T190" fmla="*/ 0 h 2792"/>
                    <a:gd name="T191" fmla="*/ 7034 w 7034"/>
                    <a:gd name="T192" fmla="*/ 2792 h 279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7034" h="2792">
                      <a:moveTo>
                        <a:pt x="2336" y="1722"/>
                      </a:moveTo>
                      <a:lnTo>
                        <a:pt x="2336" y="1722"/>
                      </a:lnTo>
                      <a:lnTo>
                        <a:pt x="2382" y="1714"/>
                      </a:lnTo>
                      <a:lnTo>
                        <a:pt x="2432" y="1708"/>
                      </a:lnTo>
                      <a:lnTo>
                        <a:pt x="2484" y="1704"/>
                      </a:lnTo>
                      <a:lnTo>
                        <a:pt x="2542" y="1702"/>
                      </a:lnTo>
                      <a:lnTo>
                        <a:pt x="2602" y="1700"/>
                      </a:lnTo>
                      <a:lnTo>
                        <a:pt x="2666" y="1702"/>
                      </a:lnTo>
                      <a:lnTo>
                        <a:pt x="2734" y="1704"/>
                      </a:lnTo>
                      <a:lnTo>
                        <a:pt x="2804" y="1708"/>
                      </a:lnTo>
                      <a:lnTo>
                        <a:pt x="2878" y="1714"/>
                      </a:lnTo>
                      <a:lnTo>
                        <a:pt x="2954" y="1722"/>
                      </a:lnTo>
                      <a:lnTo>
                        <a:pt x="3114" y="1740"/>
                      </a:lnTo>
                      <a:lnTo>
                        <a:pt x="3284" y="1764"/>
                      </a:lnTo>
                      <a:lnTo>
                        <a:pt x="3462" y="1794"/>
                      </a:lnTo>
                      <a:lnTo>
                        <a:pt x="3646" y="1826"/>
                      </a:lnTo>
                      <a:lnTo>
                        <a:pt x="3836" y="1862"/>
                      </a:lnTo>
                      <a:lnTo>
                        <a:pt x="4032" y="1902"/>
                      </a:lnTo>
                      <a:lnTo>
                        <a:pt x="4230" y="1946"/>
                      </a:lnTo>
                      <a:lnTo>
                        <a:pt x="4430" y="1992"/>
                      </a:lnTo>
                      <a:lnTo>
                        <a:pt x="4632" y="2038"/>
                      </a:lnTo>
                      <a:lnTo>
                        <a:pt x="4834" y="2088"/>
                      </a:lnTo>
                      <a:lnTo>
                        <a:pt x="5032" y="2138"/>
                      </a:lnTo>
                      <a:lnTo>
                        <a:pt x="5422" y="2238"/>
                      </a:lnTo>
                      <a:lnTo>
                        <a:pt x="5792" y="2338"/>
                      </a:lnTo>
                      <a:lnTo>
                        <a:pt x="6132" y="2432"/>
                      </a:lnTo>
                      <a:lnTo>
                        <a:pt x="6430" y="2518"/>
                      </a:lnTo>
                      <a:lnTo>
                        <a:pt x="6680" y="2590"/>
                      </a:lnTo>
                      <a:lnTo>
                        <a:pt x="6870" y="2648"/>
                      </a:lnTo>
                      <a:lnTo>
                        <a:pt x="7034" y="2696"/>
                      </a:lnTo>
                      <a:lnTo>
                        <a:pt x="6918" y="2616"/>
                      </a:lnTo>
                      <a:lnTo>
                        <a:pt x="6804" y="2538"/>
                      </a:lnTo>
                      <a:lnTo>
                        <a:pt x="6582" y="2390"/>
                      </a:lnTo>
                      <a:lnTo>
                        <a:pt x="6474" y="2316"/>
                      </a:lnTo>
                      <a:lnTo>
                        <a:pt x="6368" y="2242"/>
                      </a:lnTo>
                      <a:lnTo>
                        <a:pt x="6262" y="2168"/>
                      </a:lnTo>
                      <a:lnTo>
                        <a:pt x="6158" y="2088"/>
                      </a:lnTo>
                      <a:lnTo>
                        <a:pt x="6054" y="2006"/>
                      </a:lnTo>
                      <a:lnTo>
                        <a:pt x="5952" y="1918"/>
                      </a:lnTo>
                      <a:lnTo>
                        <a:pt x="5900" y="1872"/>
                      </a:lnTo>
                      <a:lnTo>
                        <a:pt x="5848" y="1824"/>
                      </a:lnTo>
                      <a:lnTo>
                        <a:pt x="5798" y="1774"/>
                      </a:lnTo>
                      <a:lnTo>
                        <a:pt x="5746" y="1722"/>
                      </a:lnTo>
                      <a:lnTo>
                        <a:pt x="5694" y="1668"/>
                      </a:lnTo>
                      <a:lnTo>
                        <a:pt x="5642" y="1612"/>
                      </a:lnTo>
                      <a:lnTo>
                        <a:pt x="5592" y="1554"/>
                      </a:lnTo>
                      <a:lnTo>
                        <a:pt x="5540" y="1494"/>
                      </a:lnTo>
                      <a:lnTo>
                        <a:pt x="5488" y="1430"/>
                      </a:lnTo>
                      <a:lnTo>
                        <a:pt x="5436" y="1364"/>
                      </a:lnTo>
                      <a:lnTo>
                        <a:pt x="5384" y="1294"/>
                      </a:lnTo>
                      <a:lnTo>
                        <a:pt x="5330" y="1222"/>
                      </a:lnTo>
                      <a:lnTo>
                        <a:pt x="5282" y="1166"/>
                      </a:lnTo>
                      <a:lnTo>
                        <a:pt x="5226" y="1104"/>
                      </a:lnTo>
                      <a:lnTo>
                        <a:pt x="5148" y="1022"/>
                      </a:lnTo>
                      <a:lnTo>
                        <a:pt x="5050" y="926"/>
                      </a:lnTo>
                      <a:lnTo>
                        <a:pt x="4996" y="874"/>
                      </a:lnTo>
                      <a:lnTo>
                        <a:pt x="4936" y="820"/>
                      </a:lnTo>
                      <a:lnTo>
                        <a:pt x="4872" y="762"/>
                      </a:lnTo>
                      <a:lnTo>
                        <a:pt x="4804" y="706"/>
                      </a:lnTo>
                      <a:lnTo>
                        <a:pt x="4734" y="646"/>
                      </a:lnTo>
                      <a:lnTo>
                        <a:pt x="4658" y="588"/>
                      </a:lnTo>
                      <a:lnTo>
                        <a:pt x="4580" y="530"/>
                      </a:lnTo>
                      <a:lnTo>
                        <a:pt x="4500" y="472"/>
                      </a:lnTo>
                      <a:lnTo>
                        <a:pt x="4416" y="414"/>
                      </a:lnTo>
                      <a:lnTo>
                        <a:pt x="4328" y="360"/>
                      </a:lnTo>
                      <a:lnTo>
                        <a:pt x="4238" y="306"/>
                      </a:lnTo>
                      <a:lnTo>
                        <a:pt x="4146" y="256"/>
                      </a:lnTo>
                      <a:lnTo>
                        <a:pt x="4052" y="210"/>
                      </a:lnTo>
                      <a:lnTo>
                        <a:pt x="3954" y="166"/>
                      </a:lnTo>
                      <a:lnTo>
                        <a:pt x="3856" y="126"/>
                      </a:lnTo>
                      <a:lnTo>
                        <a:pt x="3806" y="108"/>
                      </a:lnTo>
                      <a:lnTo>
                        <a:pt x="3756" y="90"/>
                      </a:lnTo>
                      <a:lnTo>
                        <a:pt x="3704" y="74"/>
                      </a:lnTo>
                      <a:lnTo>
                        <a:pt x="3652" y="60"/>
                      </a:lnTo>
                      <a:lnTo>
                        <a:pt x="3602" y="48"/>
                      </a:lnTo>
                      <a:lnTo>
                        <a:pt x="3550" y="36"/>
                      </a:lnTo>
                      <a:lnTo>
                        <a:pt x="3498" y="26"/>
                      </a:lnTo>
                      <a:lnTo>
                        <a:pt x="3444" y="18"/>
                      </a:lnTo>
                      <a:lnTo>
                        <a:pt x="3392" y="10"/>
                      </a:lnTo>
                      <a:lnTo>
                        <a:pt x="3338" y="4"/>
                      </a:lnTo>
                      <a:lnTo>
                        <a:pt x="3286" y="2"/>
                      </a:lnTo>
                      <a:lnTo>
                        <a:pt x="3232" y="0"/>
                      </a:lnTo>
                      <a:lnTo>
                        <a:pt x="3178" y="0"/>
                      </a:lnTo>
                      <a:lnTo>
                        <a:pt x="3124" y="2"/>
                      </a:lnTo>
                      <a:lnTo>
                        <a:pt x="3072" y="6"/>
                      </a:lnTo>
                      <a:lnTo>
                        <a:pt x="3020" y="10"/>
                      </a:lnTo>
                      <a:lnTo>
                        <a:pt x="2970" y="16"/>
                      </a:lnTo>
                      <a:lnTo>
                        <a:pt x="2920" y="24"/>
                      </a:lnTo>
                      <a:lnTo>
                        <a:pt x="2874" y="32"/>
                      </a:lnTo>
                      <a:lnTo>
                        <a:pt x="2828" y="42"/>
                      </a:lnTo>
                      <a:lnTo>
                        <a:pt x="2784" y="52"/>
                      </a:lnTo>
                      <a:lnTo>
                        <a:pt x="2740" y="64"/>
                      </a:lnTo>
                      <a:lnTo>
                        <a:pt x="2700" y="76"/>
                      </a:lnTo>
                      <a:lnTo>
                        <a:pt x="2660" y="90"/>
                      </a:lnTo>
                      <a:lnTo>
                        <a:pt x="2620" y="104"/>
                      </a:lnTo>
                      <a:lnTo>
                        <a:pt x="2582" y="120"/>
                      </a:lnTo>
                      <a:lnTo>
                        <a:pt x="2546" y="136"/>
                      </a:lnTo>
                      <a:lnTo>
                        <a:pt x="2510" y="154"/>
                      </a:lnTo>
                      <a:lnTo>
                        <a:pt x="2476" y="172"/>
                      </a:lnTo>
                      <a:lnTo>
                        <a:pt x="2442" y="192"/>
                      </a:lnTo>
                      <a:lnTo>
                        <a:pt x="2410" y="212"/>
                      </a:lnTo>
                      <a:lnTo>
                        <a:pt x="2378" y="232"/>
                      </a:lnTo>
                      <a:lnTo>
                        <a:pt x="2318" y="276"/>
                      </a:lnTo>
                      <a:lnTo>
                        <a:pt x="2262" y="322"/>
                      </a:lnTo>
                      <a:lnTo>
                        <a:pt x="2210" y="372"/>
                      </a:lnTo>
                      <a:lnTo>
                        <a:pt x="2160" y="424"/>
                      </a:lnTo>
                      <a:lnTo>
                        <a:pt x="2114" y="478"/>
                      </a:lnTo>
                      <a:lnTo>
                        <a:pt x="2068" y="534"/>
                      </a:lnTo>
                      <a:lnTo>
                        <a:pt x="2026" y="592"/>
                      </a:lnTo>
                      <a:lnTo>
                        <a:pt x="1986" y="652"/>
                      </a:lnTo>
                      <a:lnTo>
                        <a:pt x="1946" y="714"/>
                      </a:lnTo>
                      <a:lnTo>
                        <a:pt x="1910" y="776"/>
                      </a:lnTo>
                      <a:lnTo>
                        <a:pt x="1872" y="838"/>
                      </a:lnTo>
                      <a:lnTo>
                        <a:pt x="1802" y="966"/>
                      </a:lnTo>
                      <a:lnTo>
                        <a:pt x="1732" y="1096"/>
                      </a:lnTo>
                      <a:lnTo>
                        <a:pt x="1660" y="1226"/>
                      </a:lnTo>
                      <a:lnTo>
                        <a:pt x="1624" y="1290"/>
                      </a:lnTo>
                      <a:lnTo>
                        <a:pt x="1586" y="1354"/>
                      </a:lnTo>
                      <a:lnTo>
                        <a:pt x="1546" y="1416"/>
                      </a:lnTo>
                      <a:lnTo>
                        <a:pt x="1504" y="1478"/>
                      </a:lnTo>
                      <a:lnTo>
                        <a:pt x="1460" y="1538"/>
                      </a:lnTo>
                      <a:lnTo>
                        <a:pt x="1416" y="1596"/>
                      </a:lnTo>
                      <a:lnTo>
                        <a:pt x="1394" y="1616"/>
                      </a:lnTo>
                      <a:lnTo>
                        <a:pt x="1366" y="1640"/>
                      </a:lnTo>
                      <a:lnTo>
                        <a:pt x="1332" y="1666"/>
                      </a:lnTo>
                      <a:lnTo>
                        <a:pt x="1290" y="1692"/>
                      </a:lnTo>
                      <a:lnTo>
                        <a:pt x="1244" y="1720"/>
                      </a:lnTo>
                      <a:lnTo>
                        <a:pt x="1192" y="1752"/>
                      </a:lnTo>
                      <a:lnTo>
                        <a:pt x="1074" y="1816"/>
                      </a:lnTo>
                      <a:lnTo>
                        <a:pt x="806" y="1962"/>
                      </a:lnTo>
                      <a:lnTo>
                        <a:pt x="666" y="2040"/>
                      </a:lnTo>
                      <a:lnTo>
                        <a:pt x="526" y="2122"/>
                      </a:lnTo>
                      <a:lnTo>
                        <a:pt x="458" y="2164"/>
                      </a:lnTo>
                      <a:lnTo>
                        <a:pt x="394" y="2206"/>
                      </a:lnTo>
                      <a:lnTo>
                        <a:pt x="330" y="2248"/>
                      </a:lnTo>
                      <a:lnTo>
                        <a:pt x="272" y="2292"/>
                      </a:lnTo>
                      <a:lnTo>
                        <a:pt x="218" y="2334"/>
                      </a:lnTo>
                      <a:lnTo>
                        <a:pt x="168" y="2378"/>
                      </a:lnTo>
                      <a:lnTo>
                        <a:pt x="122" y="2420"/>
                      </a:lnTo>
                      <a:lnTo>
                        <a:pt x="84" y="2464"/>
                      </a:lnTo>
                      <a:lnTo>
                        <a:pt x="66" y="2486"/>
                      </a:lnTo>
                      <a:lnTo>
                        <a:pt x="52" y="2506"/>
                      </a:lnTo>
                      <a:lnTo>
                        <a:pt x="38" y="2528"/>
                      </a:lnTo>
                      <a:lnTo>
                        <a:pt x="26" y="2550"/>
                      </a:lnTo>
                      <a:lnTo>
                        <a:pt x="16" y="2570"/>
                      </a:lnTo>
                      <a:lnTo>
                        <a:pt x="10" y="2592"/>
                      </a:lnTo>
                      <a:lnTo>
                        <a:pt x="4" y="2612"/>
                      </a:lnTo>
                      <a:lnTo>
                        <a:pt x="0" y="2632"/>
                      </a:lnTo>
                      <a:lnTo>
                        <a:pt x="0" y="2654"/>
                      </a:lnTo>
                      <a:lnTo>
                        <a:pt x="0" y="2674"/>
                      </a:lnTo>
                      <a:lnTo>
                        <a:pt x="4" y="2694"/>
                      </a:lnTo>
                      <a:lnTo>
                        <a:pt x="10" y="2714"/>
                      </a:lnTo>
                      <a:lnTo>
                        <a:pt x="18" y="2734"/>
                      </a:lnTo>
                      <a:lnTo>
                        <a:pt x="30" y="2754"/>
                      </a:lnTo>
                      <a:lnTo>
                        <a:pt x="44" y="2774"/>
                      </a:lnTo>
                      <a:lnTo>
                        <a:pt x="60" y="2792"/>
                      </a:lnTo>
                      <a:lnTo>
                        <a:pt x="80" y="2746"/>
                      </a:lnTo>
                      <a:lnTo>
                        <a:pt x="134" y="2670"/>
                      </a:lnTo>
                      <a:lnTo>
                        <a:pt x="188" y="2600"/>
                      </a:lnTo>
                      <a:lnTo>
                        <a:pt x="242" y="2532"/>
                      </a:lnTo>
                      <a:lnTo>
                        <a:pt x="300" y="2470"/>
                      </a:lnTo>
                      <a:lnTo>
                        <a:pt x="358" y="2412"/>
                      </a:lnTo>
                      <a:lnTo>
                        <a:pt x="416" y="2358"/>
                      </a:lnTo>
                      <a:lnTo>
                        <a:pt x="476" y="2308"/>
                      </a:lnTo>
                      <a:lnTo>
                        <a:pt x="538" y="2262"/>
                      </a:lnTo>
                      <a:lnTo>
                        <a:pt x="600" y="2218"/>
                      </a:lnTo>
                      <a:lnTo>
                        <a:pt x="664" y="2178"/>
                      </a:lnTo>
                      <a:lnTo>
                        <a:pt x="730" y="2142"/>
                      </a:lnTo>
                      <a:lnTo>
                        <a:pt x="796" y="2106"/>
                      </a:lnTo>
                      <a:lnTo>
                        <a:pt x="862" y="2076"/>
                      </a:lnTo>
                      <a:lnTo>
                        <a:pt x="930" y="2046"/>
                      </a:lnTo>
                      <a:lnTo>
                        <a:pt x="1000" y="2018"/>
                      </a:lnTo>
                      <a:lnTo>
                        <a:pt x="1070" y="1994"/>
                      </a:lnTo>
                      <a:lnTo>
                        <a:pt x="1142" y="1970"/>
                      </a:lnTo>
                      <a:lnTo>
                        <a:pt x="1214" y="1950"/>
                      </a:lnTo>
                      <a:lnTo>
                        <a:pt x="1288" y="1930"/>
                      </a:lnTo>
                      <a:lnTo>
                        <a:pt x="1362" y="1910"/>
                      </a:lnTo>
                      <a:lnTo>
                        <a:pt x="1438" y="1894"/>
                      </a:lnTo>
                      <a:lnTo>
                        <a:pt x="1514" y="1876"/>
                      </a:lnTo>
                      <a:lnTo>
                        <a:pt x="1670" y="1846"/>
                      </a:lnTo>
                      <a:lnTo>
                        <a:pt x="1832" y="1816"/>
                      </a:lnTo>
                      <a:lnTo>
                        <a:pt x="1996" y="1786"/>
                      </a:lnTo>
                      <a:lnTo>
                        <a:pt x="2164" y="1756"/>
                      </a:lnTo>
                      <a:lnTo>
                        <a:pt x="2336" y="1722"/>
                      </a:lnTo>
                      <a:close/>
                    </a:path>
                  </a:pathLst>
                </a:custGeom>
                <a:gradFill rotWithShape="1">
                  <a:gsLst>
                    <a:gs pos="0">
                      <a:srgbClr val="92D050"/>
                    </a:gs>
                    <a:gs pos="50000">
                      <a:srgbClr val="92D050"/>
                    </a:gs>
                    <a:gs pos="100000">
                      <a:srgbClr val="00BD4F"/>
                    </a:gs>
                  </a:gsLst>
                  <a:lin ang="13500000" scaled="1"/>
                </a:grad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ndParaRPr>
                </a:p>
              </p:txBody>
            </p:sp>
          </p:grpSp>
          <p:sp>
            <p:nvSpPr>
              <p:cNvPr id="84" name="Freeform 20"/>
              <p:cNvSpPr>
                <a:spLocks/>
              </p:cNvSpPr>
              <p:nvPr/>
            </p:nvSpPr>
            <p:spPr bwMode="auto">
              <a:xfrm>
                <a:off x="-414558" y="3186966"/>
                <a:ext cx="9982261" cy="1130807"/>
              </a:xfrm>
              <a:custGeom>
                <a:avLst/>
                <a:gdLst>
                  <a:gd name="T0" fmla="*/ 2292 w 6888"/>
                  <a:gd name="T1" fmla="*/ 112 h 1108"/>
                  <a:gd name="T2" fmla="*/ 2376 w 6888"/>
                  <a:gd name="T3" fmla="*/ 106 h 1108"/>
                  <a:gd name="T4" fmla="*/ 2472 w 6888"/>
                  <a:gd name="T5" fmla="*/ 104 h 1108"/>
                  <a:gd name="T6" fmla="*/ 2694 w 6888"/>
                  <a:gd name="T7" fmla="*/ 114 h 1108"/>
                  <a:gd name="T8" fmla="*/ 2956 w 6888"/>
                  <a:gd name="T9" fmla="*/ 142 h 1108"/>
                  <a:gd name="T10" fmla="*/ 3246 w 6888"/>
                  <a:gd name="T11" fmla="*/ 184 h 1108"/>
                  <a:gd name="T12" fmla="*/ 3564 w 6888"/>
                  <a:gd name="T13" fmla="*/ 238 h 1108"/>
                  <a:gd name="T14" fmla="*/ 3898 w 6888"/>
                  <a:gd name="T15" fmla="*/ 302 h 1108"/>
                  <a:gd name="T16" fmla="*/ 4244 w 6888"/>
                  <a:gd name="T17" fmla="*/ 376 h 1108"/>
                  <a:gd name="T18" fmla="*/ 4944 w 6888"/>
                  <a:gd name="T19" fmla="*/ 536 h 1108"/>
                  <a:gd name="T20" fmla="*/ 5616 w 6888"/>
                  <a:gd name="T21" fmla="*/ 704 h 1108"/>
                  <a:gd name="T22" fmla="*/ 6206 w 6888"/>
                  <a:gd name="T23" fmla="*/ 862 h 1108"/>
                  <a:gd name="T24" fmla="*/ 6664 w 6888"/>
                  <a:gd name="T25" fmla="*/ 990 h 1108"/>
                  <a:gd name="T26" fmla="*/ 6826 w 6888"/>
                  <a:gd name="T27" fmla="*/ 1038 h 1108"/>
                  <a:gd name="T28" fmla="*/ 6888 w 6888"/>
                  <a:gd name="T29" fmla="*/ 1016 h 1108"/>
                  <a:gd name="T30" fmla="*/ 6744 w 6888"/>
                  <a:gd name="T31" fmla="*/ 918 h 1108"/>
                  <a:gd name="T32" fmla="*/ 6346 w 6888"/>
                  <a:gd name="T33" fmla="*/ 802 h 1108"/>
                  <a:gd name="T34" fmla="*/ 5808 w 6888"/>
                  <a:gd name="T35" fmla="*/ 656 h 1108"/>
                  <a:gd name="T36" fmla="*/ 5176 w 6888"/>
                  <a:gd name="T37" fmla="*/ 492 h 1108"/>
                  <a:gd name="T38" fmla="*/ 4498 w 6888"/>
                  <a:gd name="T39" fmla="*/ 328 h 1108"/>
                  <a:gd name="T40" fmla="*/ 3988 w 6888"/>
                  <a:gd name="T41" fmla="*/ 216 h 1108"/>
                  <a:gd name="T42" fmla="*/ 3658 w 6888"/>
                  <a:gd name="T43" fmla="*/ 150 h 1108"/>
                  <a:gd name="T44" fmla="*/ 3344 w 6888"/>
                  <a:gd name="T45" fmla="*/ 94 h 1108"/>
                  <a:gd name="T46" fmla="*/ 3050 w 6888"/>
                  <a:gd name="T47" fmla="*/ 50 h 1108"/>
                  <a:gd name="T48" fmla="*/ 2784 w 6888"/>
                  <a:gd name="T49" fmla="*/ 18 h 1108"/>
                  <a:gd name="T50" fmla="*/ 2550 w 6888"/>
                  <a:gd name="T51" fmla="*/ 2 h 1108"/>
                  <a:gd name="T52" fmla="*/ 2402 w 6888"/>
                  <a:gd name="T53" fmla="*/ 2 h 1108"/>
                  <a:gd name="T54" fmla="*/ 2314 w 6888"/>
                  <a:gd name="T55" fmla="*/ 8 h 1108"/>
                  <a:gd name="T56" fmla="*/ 2276 w 6888"/>
                  <a:gd name="T57" fmla="*/ 12 h 1108"/>
                  <a:gd name="T58" fmla="*/ 1774 w 6888"/>
                  <a:gd name="T59" fmla="*/ 86 h 1108"/>
                  <a:gd name="T60" fmla="*/ 1458 w 6888"/>
                  <a:gd name="T61" fmla="*/ 142 h 1108"/>
                  <a:gd name="T62" fmla="*/ 1306 w 6888"/>
                  <a:gd name="T63" fmla="*/ 176 h 1108"/>
                  <a:gd name="T64" fmla="*/ 1158 w 6888"/>
                  <a:gd name="T65" fmla="*/ 216 h 1108"/>
                  <a:gd name="T66" fmla="*/ 1014 w 6888"/>
                  <a:gd name="T67" fmla="*/ 262 h 1108"/>
                  <a:gd name="T68" fmla="*/ 874 w 6888"/>
                  <a:gd name="T69" fmla="*/ 318 h 1108"/>
                  <a:gd name="T70" fmla="*/ 738 w 6888"/>
                  <a:gd name="T71" fmla="*/ 382 h 1108"/>
                  <a:gd name="T72" fmla="*/ 606 w 6888"/>
                  <a:gd name="T73" fmla="*/ 458 h 1108"/>
                  <a:gd name="T74" fmla="*/ 480 w 6888"/>
                  <a:gd name="T75" fmla="*/ 544 h 1108"/>
                  <a:gd name="T76" fmla="*/ 358 w 6888"/>
                  <a:gd name="T77" fmla="*/ 644 h 1108"/>
                  <a:gd name="T78" fmla="*/ 240 w 6888"/>
                  <a:gd name="T79" fmla="*/ 758 h 1108"/>
                  <a:gd name="T80" fmla="*/ 128 w 6888"/>
                  <a:gd name="T81" fmla="*/ 890 h 1108"/>
                  <a:gd name="T82" fmla="*/ 20 w 6888"/>
                  <a:gd name="T83" fmla="*/ 1036 h 1108"/>
                  <a:gd name="T84" fmla="*/ 0 w 6888"/>
                  <a:gd name="T85" fmla="*/ 1084 h 1108"/>
                  <a:gd name="T86" fmla="*/ 26 w 6888"/>
                  <a:gd name="T87" fmla="*/ 1108 h 1108"/>
                  <a:gd name="T88" fmla="*/ 32 w 6888"/>
                  <a:gd name="T89" fmla="*/ 1104 h 1108"/>
                  <a:gd name="T90" fmla="*/ 108 w 6888"/>
                  <a:gd name="T91" fmla="*/ 1034 h 1108"/>
                  <a:gd name="T92" fmla="*/ 160 w 6888"/>
                  <a:gd name="T93" fmla="*/ 968 h 1108"/>
                  <a:gd name="T94" fmla="*/ 268 w 6888"/>
                  <a:gd name="T95" fmla="*/ 846 h 1108"/>
                  <a:gd name="T96" fmla="*/ 380 w 6888"/>
                  <a:gd name="T97" fmla="*/ 738 h 1108"/>
                  <a:gd name="T98" fmla="*/ 496 w 6888"/>
                  <a:gd name="T99" fmla="*/ 640 h 1108"/>
                  <a:gd name="T100" fmla="*/ 616 w 6888"/>
                  <a:gd name="T101" fmla="*/ 556 h 1108"/>
                  <a:gd name="T102" fmla="*/ 740 w 6888"/>
                  <a:gd name="T103" fmla="*/ 482 h 1108"/>
                  <a:gd name="T104" fmla="*/ 870 w 6888"/>
                  <a:gd name="T105" fmla="*/ 420 h 1108"/>
                  <a:gd name="T106" fmla="*/ 1002 w 6888"/>
                  <a:gd name="T107" fmla="*/ 364 h 1108"/>
                  <a:gd name="T108" fmla="*/ 1138 w 6888"/>
                  <a:gd name="T109" fmla="*/ 316 h 1108"/>
                  <a:gd name="T110" fmla="*/ 1278 w 6888"/>
                  <a:gd name="T111" fmla="*/ 276 h 1108"/>
                  <a:gd name="T112" fmla="*/ 1424 w 6888"/>
                  <a:gd name="T113" fmla="*/ 242 h 1108"/>
                  <a:gd name="T114" fmla="*/ 1648 w 6888"/>
                  <a:gd name="T115" fmla="*/ 198 h 1108"/>
                  <a:gd name="T116" fmla="*/ 1962 w 6888"/>
                  <a:gd name="T117" fmla="*/ 152 h 1108"/>
                  <a:gd name="T118" fmla="*/ 2292 w 6888"/>
                  <a:gd name="T119" fmla="*/ 112 h 110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6888"/>
                  <a:gd name="T181" fmla="*/ 0 h 1108"/>
                  <a:gd name="T182" fmla="*/ 6888 w 6888"/>
                  <a:gd name="T183" fmla="*/ 1108 h 110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6888" h="1108">
                    <a:moveTo>
                      <a:pt x="2292" y="112"/>
                    </a:moveTo>
                    <a:lnTo>
                      <a:pt x="2292" y="112"/>
                    </a:lnTo>
                    <a:lnTo>
                      <a:pt x="2332" y="108"/>
                    </a:lnTo>
                    <a:lnTo>
                      <a:pt x="2376" y="106"/>
                    </a:lnTo>
                    <a:lnTo>
                      <a:pt x="2422" y="104"/>
                    </a:lnTo>
                    <a:lnTo>
                      <a:pt x="2472" y="104"/>
                    </a:lnTo>
                    <a:lnTo>
                      <a:pt x="2578" y="106"/>
                    </a:lnTo>
                    <a:lnTo>
                      <a:pt x="2694" y="114"/>
                    </a:lnTo>
                    <a:lnTo>
                      <a:pt x="2820" y="126"/>
                    </a:lnTo>
                    <a:lnTo>
                      <a:pt x="2956" y="142"/>
                    </a:lnTo>
                    <a:lnTo>
                      <a:pt x="3098" y="160"/>
                    </a:lnTo>
                    <a:lnTo>
                      <a:pt x="3246" y="184"/>
                    </a:lnTo>
                    <a:lnTo>
                      <a:pt x="3402" y="210"/>
                    </a:lnTo>
                    <a:lnTo>
                      <a:pt x="3564" y="238"/>
                    </a:lnTo>
                    <a:lnTo>
                      <a:pt x="3728" y="270"/>
                    </a:lnTo>
                    <a:lnTo>
                      <a:pt x="3898" y="302"/>
                    </a:lnTo>
                    <a:lnTo>
                      <a:pt x="4070" y="338"/>
                    </a:lnTo>
                    <a:lnTo>
                      <a:pt x="4244" y="376"/>
                    </a:lnTo>
                    <a:lnTo>
                      <a:pt x="4594" y="454"/>
                    </a:lnTo>
                    <a:lnTo>
                      <a:pt x="4944" y="536"/>
                    </a:lnTo>
                    <a:lnTo>
                      <a:pt x="5288" y="622"/>
                    </a:lnTo>
                    <a:lnTo>
                      <a:pt x="5616" y="704"/>
                    </a:lnTo>
                    <a:lnTo>
                      <a:pt x="5924" y="786"/>
                    </a:lnTo>
                    <a:lnTo>
                      <a:pt x="6206" y="862"/>
                    </a:lnTo>
                    <a:lnTo>
                      <a:pt x="6454" y="930"/>
                    </a:lnTo>
                    <a:lnTo>
                      <a:pt x="6664" y="990"/>
                    </a:lnTo>
                    <a:lnTo>
                      <a:pt x="6826" y="1038"/>
                    </a:lnTo>
                    <a:lnTo>
                      <a:pt x="6888" y="1016"/>
                    </a:lnTo>
                    <a:lnTo>
                      <a:pt x="6744" y="918"/>
                    </a:lnTo>
                    <a:lnTo>
                      <a:pt x="6566" y="866"/>
                    </a:lnTo>
                    <a:lnTo>
                      <a:pt x="6346" y="802"/>
                    </a:lnTo>
                    <a:lnTo>
                      <a:pt x="6092" y="732"/>
                    </a:lnTo>
                    <a:lnTo>
                      <a:pt x="5808" y="656"/>
                    </a:lnTo>
                    <a:lnTo>
                      <a:pt x="5500" y="574"/>
                    </a:lnTo>
                    <a:lnTo>
                      <a:pt x="5176" y="492"/>
                    </a:lnTo>
                    <a:lnTo>
                      <a:pt x="4840" y="410"/>
                    </a:lnTo>
                    <a:lnTo>
                      <a:pt x="4498" y="328"/>
                    </a:lnTo>
                    <a:lnTo>
                      <a:pt x="4156" y="252"/>
                    </a:lnTo>
                    <a:lnTo>
                      <a:pt x="3988" y="216"/>
                    </a:lnTo>
                    <a:lnTo>
                      <a:pt x="3822" y="182"/>
                    </a:lnTo>
                    <a:lnTo>
                      <a:pt x="3658" y="150"/>
                    </a:lnTo>
                    <a:lnTo>
                      <a:pt x="3498" y="122"/>
                    </a:lnTo>
                    <a:lnTo>
                      <a:pt x="3344" y="94"/>
                    </a:lnTo>
                    <a:lnTo>
                      <a:pt x="3194" y="70"/>
                    </a:lnTo>
                    <a:lnTo>
                      <a:pt x="3050" y="50"/>
                    </a:lnTo>
                    <a:lnTo>
                      <a:pt x="2914" y="32"/>
                    </a:lnTo>
                    <a:lnTo>
                      <a:pt x="2784" y="18"/>
                    </a:lnTo>
                    <a:lnTo>
                      <a:pt x="2662" y="8"/>
                    </a:lnTo>
                    <a:lnTo>
                      <a:pt x="2550" y="2"/>
                    </a:lnTo>
                    <a:lnTo>
                      <a:pt x="2448" y="0"/>
                    </a:lnTo>
                    <a:lnTo>
                      <a:pt x="2402" y="2"/>
                    </a:lnTo>
                    <a:lnTo>
                      <a:pt x="2356" y="4"/>
                    </a:lnTo>
                    <a:lnTo>
                      <a:pt x="2314" y="8"/>
                    </a:lnTo>
                    <a:lnTo>
                      <a:pt x="2276" y="12"/>
                    </a:lnTo>
                    <a:lnTo>
                      <a:pt x="1938" y="60"/>
                    </a:lnTo>
                    <a:lnTo>
                      <a:pt x="1774" y="86"/>
                    </a:lnTo>
                    <a:lnTo>
                      <a:pt x="1614" y="112"/>
                    </a:lnTo>
                    <a:lnTo>
                      <a:pt x="1458" y="142"/>
                    </a:lnTo>
                    <a:lnTo>
                      <a:pt x="1382" y="158"/>
                    </a:lnTo>
                    <a:lnTo>
                      <a:pt x="1306" y="176"/>
                    </a:lnTo>
                    <a:lnTo>
                      <a:pt x="1232" y="194"/>
                    </a:lnTo>
                    <a:lnTo>
                      <a:pt x="1158" y="216"/>
                    </a:lnTo>
                    <a:lnTo>
                      <a:pt x="1086" y="238"/>
                    </a:lnTo>
                    <a:lnTo>
                      <a:pt x="1014" y="262"/>
                    </a:lnTo>
                    <a:lnTo>
                      <a:pt x="942" y="288"/>
                    </a:lnTo>
                    <a:lnTo>
                      <a:pt x="874" y="318"/>
                    </a:lnTo>
                    <a:lnTo>
                      <a:pt x="804" y="348"/>
                    </a:lnTo>
                    <a:lnTo>
                      <a:pt x="738" y="382"/>
                    </a:lnTo>
                    <a:lnTo>
                      <a:pt x="672" y="418"/>
                    </a:lnTo>
                    <a:lnTo>
                      <a:pt x="606" y="458"/>
                    </a:lnTo>
                    <a:lnTo>
                      <a:pt x="542" y="500"/>
                    </a:lnTo>
                    <a:lnTo>
                      <a:pt x="480" y="544"/>
                    </a:lnTo>
                    <a:lnTo>
                      <a:pt x="418" y="592"/>
                    </a:lnTo>
                    <a:lnTo>
                      <a:pt x="358" y="644"/>
                    </a:lnTo>
                    <a:lnTo>
                      <a:pt x="298" y="700"/>
                    </a:lnTo>
                    <a:lnTo>
                      <a:pt x="240" y="758"/>
                    </a:lnTo>
                    <a:lnTo>
                      <a:pt x="184" y="822"/>
                    </a:lnTo>
                    <a:lnTo>
                      <a:pt x="128" y="890"/>
                    </a:lnTo>
                    <a:lnTo>
                      <a:pt x="74" y="960"/>
                    </a:lnTo>
                    <a:lnTo>
                      <a:pt x="20" y="1036"/>
                    </a:lnTo>
                    <a:lnTo>
                      <a:pt x="0" y="1084"/>
                    </a:lnTo>
                    <a:lnTo>
                      <a:pt x="26" y="1108"/>
                    </a:lnTo>
                    <a:lnTo>
                      <a:pt x="28" y="1106"/>
                    </a:lnTo>
                    <a:lnTo>
                      <a:pt x="32" y="1104"/>
                    </a:lnTo>
                    <a:lnTo>
                      <a:pt x="50" y="1090"/>
                    </a:lnTo>
                    <a:lnTo>
                      <a:pt x="108" y="1034"/>
                    </a:lnTo>
                    <a:lnTo>
                      <a:pt x="160" y="968"/>
                    </a:lnTo>
                    <a:lnTo>
                      <a:pt x="214" y="906"/>
                    </a:lnTo>
                    <a:lnTo>
                      <a:pt x="268" y="846"/>
                    </a:lnTo>
                    <a:lnTo>
                      <a:pt x="324" y="790"/>
                    </a:lnTo>
                    <a:lnTo>
                      <a:pt x="380" y="738"/>
                    </a:lnTo>
                    <a:lnTo>
                      <a:pt x="438" y="688"/>
                    </a:lnTo>
                    <a:lnTo>
                      <a:pt x="496" y="640"/>
                    </a:lnTo>
                    <a:lnTo>
                      <a:pt x="556" y="598"/>
                    </a:lnTo>
                    <a:lnTo>
                      <a:pt x="616" y="556"/>
                    </a:lnTo>
                    <a:lnTo>
                      <a:pt x="678" y="518"/>
                    </a:lnTo>
                    <a:lnTo>
                      <a:pt x="740" y="482"/>
                    </a:lnTo>
                    <a:lnTo>
                      <a:pt x="804" y="450"/>
                    </a:lnTo>
                    <a:lnTo>
                      <a:pt x="870" y="420"/>
                    </a:lnTo>
                    <a:lnTo>
                      <a:pt x="934" y="390"/>
                    </a:lnTo>
                    <a:lnTo>
                      <a:pt x="1002" y="364"/>
                    </a:lnTo>
                    <a:lnTo>
                      <a:pt x="1070" y="340"/>
                    </a:lnTo>
                    <a:lnTo>
                      <a:pt x="1138" y="316"/>
                    </a:lnTo>
                    <a:lnTo>
                      <a:pt x="1208" y="296"/>
                    </a:lnTo>
                    <a:lnTo>
                      <a:pt x="1278" y="276"/>
                    </a:lnTo>
                    <a:lnTo>
                      <a:pt x="1350" y="258"/>
                    </a:lnTo>
                    <a:lnTo>
                      <a:pt x="1424" y="242"/>
                    </a:lnTo>
                    <a:lnTo>
                      <a:pt x="1498" y="226"/>
                    </a:lnTo>
                    <a:lnTo>
                      <a:pt x="1648" y="198"/>
                    </a:lnTo>
                    <a:lnTo>
                      <a:pt x="1804" y="174"/>
                    </a:lnTo>
                    <a:lnTo>
                      <a:pt x="1962" y="152"/>
                    </a:lnTo>
                    <a:lnTo>
                      <a:pt x="2126" y="132"/>
                    </a:lnTo>
                    <a:lnTo>
                      <a:pt x="2292" y="112"/>
                    </a:lnTo>
                    <a:close/>
                  </a:path>
                </a:pathLst>
              </a:custGeom>
              <a:gradFill rotWithShape="1">
                <a:gsLst>
                  <a:gs pos="0">
                    <a:srgbClr val="006D2A"/>
                  </a:gs>
                  <a:gs pos="92999">
                    <a:srgbClr val="008E39"/>
                  </a:gs>
                  <a:gs pos="100000">
                    <a:srgbClr val="007432"/>
                  </a:gs>
                </a:gsLst>
                <a:lin ang="13500000" scaled="1"/>
              </a:grad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ndParaRPr>
              </a:p>
            </p:txBody>
          </p:sp>
        </p:grpSp>
        <p:grpSp>
          <p:nvGrpSpPr>
            <p:cNvPr id="3348" name="Gruppe 153"/>
            <p:cNvGrpSpPr>
              <a:grpSpLocks/>
            </p:cNvGrpSpPr>
            <p:nvPr/>
          </p:nvGrpSpPr>
          <p:grpSpPr bwMode="auto">
            <a:xfrm rot="218200" flipH="1">
              <a:off x="1207904" y="3882259"/>
              <a:ext cx="2003930" cy="1101108"/>
              <a:chOff x="-576612" y="1443989"/>
              <a:chExt cx="10055528" cy="3995643"/>
            </a:xfrm>
          </p:grpSpPr>
          <p:grpSp>
            <p:nvGrpSpPr>
              <p:cNvPr id="3349" name="Gruppe 16"/>
              <p:cNvGrpSpPr>
                <a:grpSpLocks/>
              </p:cNvGrpSpPr>
              <p:nvPr/>
            </p:nvGrpSpPr>
            <p:grpSpPr bwMode="auto">
              <a:xfrm>
                <a:off x="-576612" y="1443989"/>
                <a:ext cx="10055528" cy="3995643"/>
                <a:chOff x="-1933470" y="-2879092"/>
                <a:chExt cx="11208392" cy="5993464"/>
              </a:xfrm>
            </p:grpSpPr>
            <p:sp>
              <p:nvSpPr>
                <p:cNvPr id="81" name="Freeform 6"/>
                <p:cNvSpPr>
                  <a:spLocks/>
                </p:cNvSpPr>
                <p:nvPr/>
              </p:nvSpPr>
              <p:spPr bwMode="auto">
                <a:xfrm>
                  <a:off x="-1878613" y="-2875708"/>
                  <a:ext cx="11157842" cy="5993430"/>
                </a:xfrm>
                <a:custGeom>
                  <a:avLst/>
                  <a:gdLst>
                    <a:gd name="T0" fmla="*/ 5438 w 7036"/>
                    <a:gd name="T1" fmla="*/ 1364 h 3760"/>
                    <a:gd name="T2" fmla="*/ 5644 w 7036"/>
                    <a:gd name="T3" fmla="*/ 1612 h 3760"/>
                    <a:gd name="T4" fmla="*/ 5850 w 7036"/>
                    <a:gd name="T5" fmla="*/ 1824 h 3760"/>
                    <a:gd name="T6" fmla="*/ 6160 w 7036"/>
                    <a:gd name="T7" fmla="*/ 2088 h 3760"/>
                    <a:gd name="T8" fmla="*/ 6584 w 7036"/>
                    <a:gd name="T9" fmla="*/ 2390 h 3760"/>
                    <a:gd name="T10" fmla="*/ 7036 w 7036"/>
                    <a:gd name="T11" fmla="*/ 2696 h 3760"/>
                    <a:gd name="T12" fmla="*/ 5784 w 7036"/>
                    <a:gd name="T13" fmla="*/ 3094 h 3760"/>
                    <a:gd name="T14" fmla="*/ 4056 w 7036"/>
                    <a:gd name="T15" fmla="*/ 3600 h 3760"/>
                    <a:gd name="T16" fmla="*/ 3546 w 7036"/>
                    <a:gd name="T17" fmla="*/ 3734 h 3760"/>
                    <a:gd name="T18" fmla="*/ 3242 w 7036"/>
                    <a:gd name="T19" fmla="*/ 3756 h 3760"/>
                    <a:gd name="T20" fmla="*/ 2782 w 7036"/>
                    <a:gd name="T21" fmla="*/ 3750 h 3760"/>
                    <a:gd name="T22" fmla="*/ 2492 w 7036"/>
                    <a:gd name="T23" fmla="*/ 3716 h 3760"/>
                    <a:gd name="T24" fmla="*/ 2210 w 7036"/>
                    <a:gd name="T25" fmla="*/ 3654 h 3760"/>
                    <a:gd name="T26" fmla="*/ 1960 w 7036"/>
                    <a:gd name="T27" fmla="*/ 3550 h 3760"/>
                    <a:gd name="T28" fmla="*/ 1832 w 7036"/>
                    <a:gd name="T29" fmla="*/ 3462 h 3760"/>
                    <a:gd name="T30" fmla="*/ 1750 w 7036"/>
                    <a:gd name="T31" fmla="*/ 3378 h 3760"/>
                    <a:gd name="T32" fmla="*/ 1638 w 7036"/>
                    <a:gd name="T33" fmla="*/ 3208 h 3760"/>
                    <a:gd name="T34" fmla="*/ 1508 w 7036"/>
                    <a:gd name="T35" fmla="*/ 2948 h 3760"/>
                    <a:gd name="T36" fmla="*/ 1434 w 7036"/>
                    <a:gd name="T37" fmla="*/ 2732 h 3760"/>
                    <a:gd name="T38" fmla="*/ 1382 w 7036"/>
                    <a:gd name="T39" fmla="*/ 2480 h 3760"/>
                    <a:gd name="T40" fmla="*/ 1344 w 7036"/>
                    <a:gd name="T41" fmla="*/ 2330 h 3760"/>
                    <a:gd name="T42" fmla="*/ 1284 w 7036"/>
                    <a:gd name="T43" fmla="*/ 2244 h 3760"/>
                    <a:gd name="T44" fmla="*/ 1176 w 7036"/>
                    <a:gd name="T45" fmla="*/ 2182 h 3760"/>
                    <a:gd name="T46" fmla="*/ 1048 w 7036"/>
                    <a:gd name="T47" fmla="*/ 2152 h 3760"/>
                    <a:gd name="T48" fmla="*/ 928 w 7036"/>
                    <a:gd name="T49" fmla="*/ 2168 h 3760"/>
                    <a:gd name="T50" fmla="*/ 784 w 7036"/>
                    <a:gd name="T51" fmla="*/ 2238 h 3760"/>
                    <a:gd name="T52" fmla="*/ 548 w 7036"/>
                    <a:gd name="T53" fmla="*/ 2406 h 3760"/>
                    <a:gd name="T54" fmla="*/ 206 w 7036"/>
                    <a:gd name="T55" fmla="*/ 2712 h 3760"/>
                    <a:gd name="T56" fmla="*/ 88 w 7036"/>
                    <a:gd name="T57" fmla="*/ 2816 h 3760"/>
                    <a:gd name="T58" fmla="*/ 34 w 7036"/>
                    <a:gd name="T59" fmla="*/ 2758 h 3760"/>
                    <a:gd name="T60" fmla="*/ 2 w 7036"/>
                    <a:gd name="T61" fmla="*/ 2676 h 3760"/>
                    <a:gd name="T62" fmla="*/ 10 w 7036"/>
                    <a:gd name="T63" fmla="*/ 2592 h 3760"/>
                    <a:gd name="T64" fmla="*/ 54 w 7036"/>
                    <a:gd name="T65" fmla="*/ 2506 h 3760"/>
                    <a:gd name="T66" fmla="*/ 150 w 7036"/>
                    <a:gd name="T67" fmla="*/ 2396 h 3760"/>
                    <a:gd name="T68" fmla="*/ 372 w 7036"/>
                    <a:gd name="T69" fmla="*/ 2222 h 3760"/>
                    <a:gd name="T70" fmla="*/ 648 w 7036"/>
                    <a:gd name="T71" fmla="*/ 2052 h 3760"/>
                    <a:gd name="T72" fmla="*/ 1240 w 7036"/>
                    <a:gd name="T73" fmla="*/ 1724 h 3760"/>
                    <a:gd name="T74" fmla="*/ 1396 w 7036"/>
                    <a:gd name="T75" fmla="*/ 1618 h 3760"/>
                    <a:gd name="T76" fmla="*/ 1506 w 7036"/>
                    <a:gd name="T77" fmla="*/ 1478 h 3760"/>
                    <a:gd name="T78" fmla="*/ 1662 w 7036"/>
                    <a:gd name="T79" fmla="*/ 1226 h 3760"/>
                    <a:gd name="T80" fmla="*/ 1912 w 7036"/>
                    <a:gd name="T81" fmla="*/ 776 h 3760"/>
                    <a:gd name="T82" fmla="*/ 2070 w 7036"/>
                    <a:gd name="T83" fmla="*/ 534 h 3760"/>
                    <a:gd name="T84" fmla="*/ 2264 w 7036"/>
                    <a:gd name="T85" fmla="*/ 322 h 3760"/>
                    <a:gd name="T86" fmla="*/ 2444 w 7036"/>
                    <a:gd name="T87" fmla="*/ 192 h 3760"/>
                    <a:gd name="T88" fmla="*/ 2584 w 7036"/>
                    <a:gd name="T89" fmla="*/ 120 h 3760"/>
                    <a:gd name="T90" fmla="*/ 2742 w 7036"/>
                    <a:gd name="T91" fmla="*/ 64 h 3760"/>
                    <a:gd name="T92" fmla="*/ 2922 w 7036"/>
                    <a:gd name="T93" fmla="*/ 24 h 3760"/>
                    <a:gd name="T94" fmla="*/ 3126 w 7036"/>
                    <a:gd name="T95" fmla="*/ 2 h 3760"/>
                    <a:gd name="T96" fmla="*/ 3288 w 7036"/>
                    <a:gd name="T97" fmla="*/ 2 h 3760"/>
                    <a:gd name="T98" fmla="*/ 3500 w 7036"/>
                    <a:gd name="T99" fmla="*/ 26 h 3760"/>
                    <a:gd name="T100" fmla="*/ 3706 w 7036"/>
                    <a:gd name="T101" fmla="*/ 74 h 3760"/>
                    <a:gd name="T102" fmla="*/ 3956 w 7036"/>
                    <a:gd name="T103" fmla="*/ 166 h 3760"/>
                    <a:gd name="T104" fmla="*/ 4330 w 7036"/>
                    <a:gd name="T105" fmla="*/ 360 h 3760"/>
                    <a:gd name="T106" fmla="*/ 4660 w 7036"/>
                    <a:gd name="T107" fmla="*/ 588 h 3760"/>
                    <a:gd name="T108" fmla="*/ 4938 w 7036"/>
                    <a:gd name="T109" fmla="*/ 820 h 3760"/>
                    <a:gd name="T110" fmla="*/ 5228 w 7036"/>
                    <a:gd name="T111" fmla="*/ 1104 h 376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036"/>
                    <a:gd name="T169" fmla="*/ 0 h 3760"/>
                    <a:gd name="T170" fmla="*/ 7036 w 7036"/>
                    <a:gd name="T171" fmla="*/ 3760 h 376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036" h="3760">
                      <a:moveTo>
                        <a:pt x="5332" y="1222"/>
                      </a:moveTo>
                      <a:lnTo>
                        <a:pt x="5332" y="1222"/>
                      </a:lnTo>
                      <a:lnTo>
                        <a:pt x="5386" y="1294"/>
                      </a:lnTo>
                      <a:lnTo>
                        <a:pt x="5438" y="1364"/>
                      </a:lnTo>
                      <a:lnTo>
                        <a:pt x="5490" y="1430"/>
                      </a:lnTo>
                      <a:lnTo>
                        <a:pt x="5542" y="1494"/>
                      </a:lnTo>
                      <a:lnTo>
                        <a:pt x="5594" y="1554"/>
                      </a:lnTo>
                      <a:lnTo>
                        <a:pt x="5644" y="1612"/>
                      </a:lnTo>
                      <a:lnTo>
                        <a:pt x="5696" y="1668"/>
                      </a:lnTo>
                      <a:lnTo>
                        <a:pt x="5748" y="1722"/>
                      </a:lnTo>
                      <a:lnTo>
                        <a:pt x="5800" y="1774"/>
                      </a:lnTo>
                      <a:lnTo>
                        <a:pt x="5850" y="1824"/>
                      </a:lnTo>
                      <a:lnTo>
                        <a:pt x="5902" y="1872"/>
                      </a:lnTo>
                      <a:lnTo>
                        <a:pt x="5954" y="1918"/>
                      </a:lnTo>
                      <a:lnTo>
                        <a:pt x="6056" y="2006"/>
                      </a:lnTo>
                      <a:lnTo>
                        <a:pt x="6160" y="2088"/>
                      </a:lnTo>
                      <a:lnTo>
                        <a:pt x="6264" y="2168"/>
                      </a:lnTo>
                      <a:lnTo>
                        <a:pt x="6370" y="2242"/>
                      </a:lnTo>
                      <a:lnTo>
                        <a:pt x="6476" y="2316"/>
                      </a:lnTo>
                      <a:lnTo>
                        <a:pt x="6584" y="2390"/>
                      </a:lnTo>
                      <a:lnTo>
                        <a:pt x="6806" y="2538"/>
                      </a:lnTo>
                      <a:lnTo>
                        <a:pt x="6920" y="2616"/>
                      </a:lnTo>
                      <a:lnTo>
                        <a:pt x="7036" y="2696"/>
                      </a:lnTo>
                      <a:lnTo>
                        <a:pt x="6882" y="2748"/>
                      </a:lnTo>
                      <a:lnTo>
                        <a:pt x="6700" y="2808"/>
                      </a:lnTo>
                      <a:lnTo>
                        <a:pt x="6272" y="2944"/>
                      </a:lnTo>
                      <a:lnTo>
                        <a:pt x="5784" y="3094"/>
                      </a:lnTo>
                      <a:lnTo>
                        <a:pt x="5266" y="3250"/>
                      </a:lnTo>
                      <a:lnTo>
                        <a:pt x="4752" y="3400"/>
                      </a:lnTo>
                      <a:lnTo>
                        <a:pt x="4272" y="3538"/>
                      </a:lnTo>
                      <a:lnTo>
                        <a:pt x="4056" y="3600"/>
                      </a:lnTo>
                      <a:lnTo>
                        <a:pt x="3860" y="3652"/>
                      </a:lnTo>
                      <a:lnTo>
                        <a:pt x="3690" y="3698"/>
                      </a:lnTo>
                      <a:lnTo>
                        <a:pt x="3546" y="3734"/>
                      </a:lnTo>
                      <a:lnTo>
                        <a:pt x="3502" y="3740"/>
                      </a:lnTo>
                      <a:lnTo>
                        <a:pt x="3434" y="3746"/>
                      </a:lnTo>
                      <a:lnTo>
                        <a:pt x="3346" y="3752"/>
                      </a:lnTo>
                      <a:lnTo>
                        <a:pt x="3242" y="3756"/>
                      </a:lnTo>
                      <a:lnTo>
                        <a:pt x="3122" y="3760"/>
                      </a:lnTo>
                      <a:lnTo>
                        <a:pt x="2992" y="3758"/>
                      </a:lnTo>
                      <a:lnTo>
                        <a:pt x="2854" y="3754"/>
                      </a:lnTo>
                      <a:lnTo>
                        <a:pt x="2782" y="3750"/>
                      </a:lnTo>
                      <a:lnTo>
                        <a:pt x="2710" y="3744"/>
                      </a:lnTo>
                      <a:lnTo>
                        <a:pt x="2638" y="3736"/>
                      </a:lnTo>
                      <a:lnTo>
                        <a:pt x="2564" y="3728"/>
                      </a:lnTo>
                      <a:lnTo>
                        <a:pt x="2492" y="3716"/>
                      </a:lnTo>
                      <a:lnTo>
                        <a:pt x="2420" y="3704"/>
                      </a:lnTo>
                      <a:lnTo>
                        <a:pt x="2348" y="3690"/>
                      </a:lnTo>
                      <a:lnTo>
                        <a:pt x="2278" y="3672"/>
                      </a:lnTo>
                      <a:lnTo>
                        <a:pt x="2210" y="3654"/>
                      </a:lnTo>
                      <a:lnTo>
                        <a:pt x="2144" y="3632"/>
                      </a:lnTo>
                      <a:lnTo>
                        <a:pt x="2080" y="3608"/>
                      </a:lnTo>
                      <a:lnTo>
                        <a:pt x="2018" y="3580"/>
                      </a:lnTo>
                      <a:lnTo>
                        <a:pt x="1960" y="3550"/>
                      </a:lnTo>
                      <a:lnTo>
                        <a:pt x="1906" y="3518"/>
                      </a:lnTo>
                      <a:lnTo>
                        <a:pt x="1880" y="3500"/>
                      </a:lnTo>
                      <a:lnTo>
                        <a:pt x="1856" y="3482"/>
                      </a:lnTo>
                      <a:lnTo>
                        <a:pt x="1832" y="3462"/>
                      </a:lnTo>
                      <a:lnTo>
                        <a:pt x="1810" y="3444"/>
                      </a:lnTo>
                      <a:lnTo>
                        <a:pt x="1788" y="3422"/>
                      </a:lnTo>
                      <a:lnTo>
                        <a:pt x="1768" y="3400"/>
                      </a:lnTo>
                      <a:lnTo>
                        <a:pt x="1750" y="3378"/>
                      </a:lnTo>
                      <a:lnTo>
                        <a:pt x="1732" y="3356"/>
                      </a:lnTo>
                      <a:lnTo>
                        <a:pt x="1682" y="3280"/>
                      </a:lnTo>
                      <a:lnTo>
                        <a:pt x="1638" y="3208"/>
                      </a:lnTo>
                      <a:lnTo>
                        <a:pt x="1600" y="3138"/>
                      </a:lnTo>
                      <a:lnTo>
                        <a:pt x="1564" y="3072"/>
                      </a:lnTo>
                      <a:lnTo>
                        <a:pt x="1534" y="3010"/>
                      </a:lnTo>
                      <a:lnTo>
                        <a:pt x="1508" y="2948"/>
                      </a:lnTo>
                      <a:lnTo>
                        <a:pt x="1484" y="2890"/>
                      </a:lnTo>
                      <a:lnTo>
                        <a:pt x="1466" y="2836"/>
                      </a:lnTo>
                      <a:lnTo>
                        <a:pt x="1448" y="2782"/>
                      </a:lnTo>
                      <a:lnTo>
                        <a:pt x="1434" y="2732"/>
                      </a:lnTo>
                      <a:lnTo>
                        <a:pt x="1422" y="2684"/>
                      </a:lnTo>
                      <a:lnTo>
                        <a:pt x="1412" y="2640"/>
                      </a:lnTo>
                      <a:lnTo>
                        <a:pt x="1396" y="2556"/>
                      </a:lnTo>
                      <a:lnTo>
                        <a:pt x="1382" y="2480"/>
                      </a:lnTo>
                      <a:lnTo>
                        <a:pt x="1368" y="2414"/>
                      </a:lnTo>
                      <a:lnTo>
                        <a:pt x="1362" y="2384"/>
                      </a:lnTo>
                      <a:lnTo>
                        <a:pt x="1354" y="2356"/>
                      </a:lnTo>
                      <a:lnTo>
                        <a:pt x="1344" y="2330"/>
                      </a:lnTo>
                      <a:lnTo>
                        <a:pt x="1332" y="2306"/>
                      </a:lnTo>
                      <a:lnTo>
                        <a:pt x="1318" y="2284"/>
                      </a:lnTo>
                      <a:lnTo>
                        <a:pt x="1302" y="2264"/>
                      </a:lnTo>
                      <a:lnTo>
                        <a:pt x="1284" y="2244"/>
                      </a:lnTo>
                      <a:lnTo>
                        <a:pt x="1262" y="2226"/>
                      </a:lnTo>
                      <a:lnTo>
                        <a:pt x="1238" y="2210"/>
                      </a:lnTo>
                      <a:lnTo>
                        <a:pt x="1208" y="2196"/>
                      </a:lnTo>
                      <a:lnTo>
                        <a:pt x="1176" y="2182"/>
                      </a:lnTo>
                      <a:lnTo>
                        <a:pt x="1138" y="2172"/>
                      </a:lnTo>
                      <a:lnTo>
                        <a:pt x="1096" y="2160"/>
                      </a:lnTo>
                      <a:lnTo>
                        <a:pt x="1048" y="2152"/>
                      </a:lnTo>
                      <a:lnTo>
                        <a:pt x="1020" y="2150"/>
                      </a:lnTo>
                      <a:lnTo>
                        <a:pt x="992" y="2152"/>
                      </a:lnTo>
                      <a:lnTo>
                        <a:pt x="962" y="2158"/>
                      </a:lnTo>
                      <a:lnTo>
                        <a:pt x="928" y="2168"/>
                      </a:lnTo>
                      <a:lnTo>
                        <a:pt x="894" y="2180"/>
                      </a:lnTo>
                      <a:lnTo>
                        <a:pt x="858" y="2198"/>
                      </a:lnTo>
                      <a:lnTo>
                        <a:pt x="822" y="2216"/>
                      </a:lnTo>
                      <a:lnTo>
                        <a:pt x="784" y="2238"/>
                      </a:lnTo>
                      <a:lnTo>
                        <a:pt x="746" y="2262"/>
                      </a:lnTo>
                      <a:lnTo>
                        <a:pt x="706" y="2288"/>
                      </a:lnTo>
                      <a:lnTo>
                        <a:pt x="628" y="2346"/>
                      </a:lnTo>
                      <a:lnTo>
                        <a:pt x="548" y="2406"/>
                      </a:lnTo>
                      <a:lnTo>
                        <a:pt x="470" y="2472"/>
                      </a:lnTo>
                      <a:lnTo>
                        <a:pt x="396" y="2536"/>
                      </a:lnTo>
                      <a:lnTo>
                        <a:pt x="326" y="2600"/>
                      </a:lnTo>
                      <a:lnTo>
                        <a:pt x="206" y="2712"/>
                      </a:lnTo>
                      <a:lnTo>
                        <a:pt x="122" y="2790"/>
                      </a:lnTo>
                      <a:lnTo>
                        <a:pt x="98" y="2810"/>
                      </a:lnTo>
                      <a:lnTo>
                        <a:pt x="90" y="2816"/>
                      </a:lnTo>
                      <a:lnTo>
                        <a:pt x="88" y="2816"/>
                      </a:lnTo>
                      <a:lnTo>
                        <a:pt x="66" y="2798"/>
                      </a:lnTo>
                      <a:lnTo>
                        <a:pt x="50" y="2778"/>
                      </a:lnTo>
                      <a:lnTo>
                        <a:pt x="34" y="2758"/>
                      </a:lnTo>
                      <a:lnTo>
                        <a:pt x="22" y="2738"/>
                      </a:lnTo>
                      <a:lnTo>
                        <a:pt x="14" y="2718"/>
                      </a:lnTo>
                      <a:lnTo>
                        <a:pt x="6" y="2698"/>
                      </a:lnTo>
                      <a:lnTo>
                        <a:pt x="2" y="2676"/>
                      </a:lnTo>
                      <a:lnTo>
                        <a:pt x="0" y="2656"/>
                      </a:lnTo>
                      <a:lnTo>
                        <a:pt x="2" y="2634"/>
                      </a:lnTo>
                      <a:lnTo>
                        <a:pt x="6" y="2614"/>
                      </a:lnTo>
                      <a:lnTo>
                        <a:pt x="10" y="2592"/>
                      </a:lnTo>
                      <a:lnTo>
                        <a:pt x="18" y="2570"/>
                      </a:lnTo>
                      <a:lnTo>
                        <a:pt x="28" y="2550"/>
                      </a:lnTo>
                      <a:lnTo>
                        <a:pt x="40" y="2528"/>
                      </a:lnTo>
                      <a:lnTo>
                        <a:pt x="54" y="2506"/>
                      </a:lnTo>
                      <a:lnTo>
                        <a:pt x="70" y="2484"/>
                      </a:lnTo>
                      <a:lnTo>
                        <a:pt x="86" y="2462"/>
                      </a:lnTo>
                      <a:lnTo>
                        <a:pt x="106" y="2440"/>
                      </a:lnTo>
                      <a:lnTo>
                        <a:pt x="150" y="2396"/>
                      </a:lnTo>
                      <a:lnTo>
                        <a:pt x="198" y="2352"/>
                      </a:lnTo>
                      <a:lnTo>
                        <a:pt x="252" y="2308"/>
                      </a:lnTo>
                      <a:lnTo>
                        <a:pt x="310" y="2264"/>
                      </a:lnTo>
                      <a:lnTo>
                        <a:pt x="372" y="2222"/>
                      </a:lnTo>
                      <a:lnTo>
                        <a:pt x="438" y="2178"/>
                      </a:lnTo>
                      <a:lnTo>
                        <a:pt x="506" y="2136"/>
                      </a:lnTo>
                      <a:lnTo>
                        <a:pt x="576" y="2092"/>
                      </a:lnTo>
                      <a:lnTo>
                        <a:pt x="648" y="2052"/>
                      </a:lnTo>
                      <a:lnTo>
                        <a:pt x="792" y="1970"/>
                      </a:lnTo>
                      <a:lnTo>
                        <a:pt x="1066" y="1822"/>
                      </a:lnTo>
                      <a:lnTo>
                        <a:pt x="1186" y="1754"/>
                      </a:lnTo>
                      <a:lnTo>
                        <a:pt x="1240" y="1724"/>
                      </a:lnTo>
                      <a:lnTo>
                        <a:pt x="1288" y="1694"/>
                      </a:lnTo>
                      <a:lnTo>
                        <a:pt x="1332" y="1666"/>
                      </a:lnTo>
                      <a:lnTo>
                        <a:pt x="1368" y="1640"/>
                      </a:lnTo>
                      <a:lnTo>
                        <a:pt x="1396" y="1618"/>
                      </a:lnTo>
                      <a:lnTo>
                        <a:pt x="1418" y="1596"/>
                      </a:lnTo>
                      <a:lnTo>
                        <a:pt x="1462" y="1538"/>
                      </a:lnTo>
                      <a:lnTo>
                        <a:pt x="1506" y="1478"/>
                      </a:lnTo>
                      <a:lnTo>
                        <a:pt x="1548" y="1416"/>
                      </a:lnTo>
                      <a:lnTo>
                        <a:pt x="1588" y="1354"/>
                      </a:lnTo>
                      <a:lnTo>
                        <a:pt x="1626" y="1290"/>
                      </a:lnTo>
                      <a:lnTo>
                        <a:pt x="1662" y="1226"/>
                      </a:lnTo>
                      <a:lnTo>
                        <a:pt x="1734" y="1096"/>
                      </a:lnTo>
                      <a:lnTo>
                        <a:pt x="1804" y="966"/>
                      </a:lnTo>
                      <a:lnTo>
                        <a:pt x="1874" y="838"/>
                      </a:lnTo>
                      <a:lnTo>
                        <a:pt x="1912" y="776"/>
                      </a:lnTo>
                      <a:lnTo>
                        <a:pt x="1948" y="714"/>
                      </a:lnTo>
                      <a:lnTo>
                        <a:pt x="1988" y="652"/>
                      </a:lnTo>
                      <a:lnTo>
                        <a:pt x="2028" y="592"/>
                      </a:lnTo>
                      <a:lnTo>
                        <a:pt x="2070" y="534"/>
                      </a:lnTo>
                      <a:lnTo>
                        <a:pt x="2116" y="478"/>
                      </a:lnTo>
                      <a:lnTo>
                        <a:pt x="2162" y="424"/>
                      </a:lnTo>
                      <a:lnTo>
                        <a:pt x="2212" y="372"/>
                      </a:lnTo>
                      <a:lnTo>
                        <a:pt x="2264" y="322"/>
                      </a:lnTo>
                      <a:lnTo>
                        <a:pt x="2320" y="276"/>
                      </a:lnTo>
                      <a:lnTo>
                        <a:pt x="2380" y="232"/>
                      </a:lnTo>
                      <a:lnTo>
                        <a:pt x="2412" y="212"/>
                      </a:lnTo>
                      <a:lnTo>
                        <a:pt x="2444" y="192"/>
                      </a:lnTo>
                      <a:lnTo>
                        <a:pt x="2478" y="172"/>
                      </a:lnTo>
                      <a:lnTo>
                        <a:pt x="2512" y="154"/>
                      </a:lnTo>
                      <a:lnTo>
                        <a:pt x="2548" y="136"/>
                      </a:lnTo>
                      <a:lnTo>
                        <a:pt x="2584" y="120"/>
                      </a:lnTo>
                      <a:lnTo>
                        <a:pt x="2622" y="104"/>
                      </a:lnTo>
                      <a:lnTo>
                        <a:pt x="2662" y="90"/>
                      </a:lnTo>
                      <a:lnTo>
                        <a:pt x="2702" y="76"/>
                      </a:lnTo>
                      <a:lnTo>
                        <a:pt x="2742" y="64"/>
                      </a:lnTo>
                      <a:lnTo>
                        <a:pt x="2786" y="52"/>
                      </a:lnTo>
                      <a:lnTo>
                        <a:pt x="2830" y="42"/>
                      </a:lnTo>
                      <a:lnTo>
                        <a:pt x="2876" y="32"/>
                      </a:lnTo>
                      <a:lnTo>
                        <a:pt x="2922" y="24"/>
                      </a:lnTo>
                      <a:lnTo>
                        <a:pt x="2972" y="16"/>
                      </a:lnTo>
                      <a:lnTo>
                        <a:pt x="3022" y="10"/>
                      </a:lnTo>
                      <a:lnTo>
                        <a:pt x="3074" y="6"/>
                      </a:lnTo>
                      <a:lnTo>
                        <a:pt x="3126" y="2"/>
                      </a:lnTo>
                      <a:lnTo>
                        <a:pt x="3180" y="0"/>
                      </a:lnTo>
                      <a:lnTo>
                        <a:pt x="3234" y="0"/>
                      </a:lnTo>
                      <a:lnTo>
                        <a:pt x="3288" y="2"/>
                      </a:lnTo>
                      <a:lnTo>
                        <a:pt x="3340" y="4"/>
                      </a:lnTo>
                      <a:lnTo>
                        <a:pt x="3394" y="10"/>
                      </a:lnTo>
                      <a:lnTo>
                        <a:pt x="3446" y="18"/>
                      </a:lnTo>
                      <a:lnTo>
                        <a:pt x="3500" y="26"/>
                      </a:lnTo>
                      <a:lnTo>
                        <a:pt x="3552" y="36"/>
                      </a:lnTo>
                      <a:lnTo>
                        <a:pt x="3604" y="48"/>
                      </a:lnTo>
                      <a:lnTo>
                        <a:pt x="3654" y="60"/>
                      </a:lnTo>
                      <a:lnTo>
                        <a:pt x="3706" y="74"/>
                      </a:lnTo>
                      <a:lnTo>
                        <a:pt x="3758" y="90"/>
                      </a:lnTo>
                      <a:lnTo>
                        <a:pt x="3808" y="108"/>
                      </a:lnTo>
                      <a:lnTo>
                        <a:pt x="3858" y="126"/>
                      </a:lnTo>
                      <a:lnTo>
                        <a:pt x="3956" y="166"/>
                      </a:lnTo>
                      <a:lnTo>
                        <a:pt x="4054" y="210"/>
                      </a:lnTo>
                      <a:lnTo>
                        <a:pt x="4148" y="256"/>
                      </a:lnTo>
                      <a:lnTo>
                        <a:pt x="4240" y="306"/>
                      </a:lnTo>
                      <a:lnTo>
                        <a:pt x="4330" y="360"/>
                      </a:lnTo>
                      <a:lnTo>
                        <a:pt x="4418" y="414"/>
                      </a:lnTo>
                      <a:lnTo>
                        <a:pt x="4502" y="472"/>
                      </a:lnTo>
                      <a:lnTo>
                        <a:pt x="4582" y="530"/>
                      </a:lnTo>
                      <a:lnTo>
                        <a:pt x="4660" y="588"/>
                      </a:lnTo>
                      <a:lnTo>
                        <a:pt x="4736" y="646"/>
                      </a:lnTo>
                      <a:lnTo>
                        <a:pt x="4806" y="706"/>
                      </a:lnTo>
                      <a:lnTo>
                        <a:pt x="4874" y="762"/>
                      </a:lnTo>
                      <a:lnTo>
                        <a:pt x="4938" y="820"/>
                      </a:lnTo>
                      <a:lnTo>
                        <a:pt x="4998" y="874"/>
                      </a:lnTo>
                      <a:lnTo>
                        <a:pt x="5052" y="926"/>
                      </a:lnTo>
                      <a:lnTo>
                        <a:pt x="5150" y="1022"/>
                      </a:lnTo>
                      <a:lnTo>
                        <a:pt x="5228" y="1104"/>
                      </a:lnTo>
                      <a:lnTo>
                        <a:pt x="5284" y="1166"/>
                      </a:lnTo>
                      <a:lnTo>
                        <a:pt x="5332" y="1222"/>
                      </a:lnTo>
                      <a:close/>
                    </a:path>
                  </a:pathLst>
                </a:custGeom>
                <a:gradFill rotWithShape="1">
                  <a:gsLst>
                    <a:gs pos="0">
                      <a:srgbClr val="006D2A"/>
                    </a:gs>
                    <a:gs pos="50000">
                      <a:srgbClr val="009E41"/>
                    </a:gs>
                    <a:gs pos="100000">
                      <a:srgbClr val="00BD4F"/>
                    </a:gs>
                  </a:gsLst>
                  <a:lin ang="13500000" scaled="1"/>
                </a:grad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ndParaRPr>
                </a:p>
              </p:txBody>
            </p:sp>
            <p:sp>
              <p:nvSpPr>
                <p:cNvPr id="82" name="Freeform 7"/>
                <p:cNvSpPr>
                  <a:spLocks/>
                </p:cNvSpPr>
                <p:nvPr/>
              </p:nvSpPr>
              <p:spPr bwMode="auto">
                <a:xfrm>
                  <a:off x="-1769737" y="-2924173"/>
                  <a:ext cx="11157876" cy="4441577"/>
                </a:xfrm>
                <a:custGeom>
                  <a:avLst/>
                  <a:gdLst>
                    <a:gd name="T0" fmla="*/ 2382 w 7034"/>
                    <a:gd name="T1" fmla="*/ 1714 h 2792"/>
                    <a:gd name="T2" fmla="*/ 2542 w 7034"/>
                    <a:gd name="T3" fmla="*/ 1702 h 2792"/>
                    <a:gd name="T4" fmla="*/ 2734 w 7034"/>
                    <a:gd name="T5" fmla="*/ 1704 h 2792"/>
                    <a:gd name="T6" fmla="*/ 2954 w 7034"/>
                    <a:gd name="T7" fmla="*/ 1722 h 2792"/>
                    <a:gd name="T8" fmla="*/ 3462 w 7034"/>
                    <a:gd name="T9" fmla="*/ 1794 h 2792"/>
                    <a:gd name="T10" fmla="*/ 4032 w 7034"/>
                    <a:gd name="T11" fmla="*/ 1902 h 2792"/>
                    <a:gd name="T12" fmla="*/ 4632 w 7034"/>
                    <a:gd name="T13" fmla="*/ 2038 h 2792"/>
                    <a:gd name="T14" fmla="*/ 5422 w 7034"/>
                    <a:gd name="T15" fmla="*/ 2238 h 2792"/>
                    <a:gd name="T16" fmla="*/ 6430 w 7034"/>
                    <a:gd name="T17" fmla="*/ 2518 h 2792"/>
                    <a:gd name="T18" fmla="*/ 7034 w 7034"/>
                    <a:gd name="T19" fmla="*/ 2696 h 2792"/>
                    <a:gd name="T20" fmla="*/ 6804 w 7034"/>
                    <a:gd name="T21" fmla="*/ 2538 h 2792"/>
                    <a:gd name="T22" fmla="*/ 6368 w 7034"/>
                    <a:gd name="T23" fmla="*/ 2242 h 2792"/>
                    <a:gd name="T24" fmla="*/ 6054 w 7034"/>
                    <a:gd name="T25" fmla="*/ 2006 h 2792"/>
                    <a:gd name="T26" fmla="*/ 5848 w 7034"/>
                    <a:gd name="T27" fmla="*/ 1824 h 2792"/>
                    <a:gd name="T28" fmla="*/ 5694 w 7034"/>
                    <a:gd name="T29" fmla="*/ 1668 h 2792"/>
                    <a:gd name="T30" fmla="*/ 5540 w 7034"/>
                    <a:gd name="T31" fmla="*/ 1494 h 2792"/>
                    <a:gd name="T32" fmla="*/ 5384 w 7034"/>
                    <a:gd name="T33" fmla="*/ 1294 h 2792"/>
                    <a:gd name="T34" fmla="*/ 5282 w 7034"/>
                    <a:gd name="T35" fmla="*/ 1166 h 2792"/>
                    <a:gd name="T36" fmla="*/ 5050 w 7034"/>
                    <a:gd name="T37" fmla="*/ 926 h 2792"/>
                    <a:gd name="T38" fmla="*/ 4872 w 7034"/>
                    <a:gd name="T39" fmla="*/ 762 h 2792"/>
                    <a:gd name="T40" fmla="*/ 4658 w 7034"/>
                    <a:gd name="T41" fmla="*/ 588 h 2792"/>
                    <a:gd name="T42" fmla="*/ 4416 w 7034"/>
                    <a:gd name="T43" fmla="*/ 414 h 2792"/>
                    <a:gd name="T44" fmla="*/ 4146 w 7034"/>
                    <a:gd name="T45" fmla="*/ 256 h 2792"/>
                    <a:gd name="T46" fmla="*/ 3856 w 7034"/>
                    <a:gd name="T47" fmla="*/ 126 h 2792"/>
                    <a:gd name="T48" fmla="*/ 3704 w 7034"/>
                    <a:gd name="T49" fmla="*/ 74 h 2792"/>
                    <a:gd name="T50" fmla="*/ 3550 w 7034"/>
                    <a:gd name="T51" fmla="*/ 36 h 2792"/>
                    <a:gd name="T52" fmla="*/ 3392 w 7034"/>
                    <a:gd name="T53" fmla="*/ 10 h 2792"/>
                    <a:gd name="T54" fmla="*/ 3232 w 7034"/>
                    <a:gd name="T55" fmla="*/ 0 h 2792"/>
                    <a:gd name="T56" fmla="*/ 3124 w 7034"/>
                    <a:gd name="T57" fmla="*/ 2 h 2792"/>
                    <a:gd name="T58" fmla="*/ 2970 w 7034"/>
                    <a:gd name="T59" fmla="*/ 16 h 2792"/>
                    <a:gd name="T60" fmla="*/ 2828 w 7034"/>
                    <a:gd name="T61" fmla="*/ 42 h 2792"/>
                    <a:gd name="T62" fmla="*/ 2700 w 7034"/>
                    <a:gd name="T63" fmla="*/ 76 h 2792"/>
                    <a:gd name="T64" fmla="*/ 2582 w 7034"/>
                    <a:gd name="T65" fmla="*/ 120 h 2792"/>
                    <a:gd name="T66" fmla="*/ 2476 w 7034"/>
                    <a:gd name="T67" fmla="*/ 172 h 2792"/>
                    <a:gd name="T68" fmla="*/ 2378 w 7034"/>
                    <a:gd name="T69" fmla="*/ 232 h 2792"/>
                    <a:gd name="T70" fmla="*/ 2210 w 7034"/>
                    <a:gd name="T71" fmla="*/ 372 h 2792"/>
                    <a:gd name="T72" fmla="*/ 2068 w 7034"/>
                    <a:gd name="T73" fmla="*/ 534 h 2792"/>
                    <a:gd name="T74" fmla="*/ 1946 w 7034"/>
                    <a:gd name="T75" fmla="*/ 714 h 2792"/>
                    <a:gd name="T76" fmla="*/ 1802 w 7034"/>
                    <a:gd name="T77" fmla="*/ 966 h 2792"/>
                    <a:gd name="T78" fmla="*/ 1624 w 7034"/>
                    <a:gd name="T79" fmla="*/ 1290 h 2792"/>
                    <a:gd name="T80" fmla="*/ 1504 w 7034"/>
                    <a:gd name="T81" fmla="*/ 1478 h 2792"/>
                    <a:gd name="T82" fmla="*/ 1416 w 7034"/>
                    <a:gd name="T83" fmla="*/ 1596 h 2792"/>
                    <a:gd name="T84" fmla="*/ 1332 w 7034"/>
                    <a:gd name="T85" fmla="*/ 1666 h 2792"/>
                    <a:gd name="T86" fmla="*/ 1192 w 7034"/>
                    <a:gd name="T87" fmla="*/ 1752 h 2792"/>
                    <a:gd name="T88" fmla="*/ 666 w 7034"/>
                    <a:gd name="T89" fmla="*/ 2040 h 2792"/>
                    <a:gd name="T90" fmla="*/ 394 w 7034"/>
                    <a:gd name="T91" fmla="*/ 2206 h 2792"/>
                    <a:gd name="T92" fmla="*/ 218 w 7034"/>
                    <a:gd name="T93" fmla="*/ 2334 h 2792"/>
                    <a:gd name="T94" fmla="*/ 84 w 7034"/>
                    <a:gd name="T95" fmla="*/ 2464 h 2792"/>
                    <a:gd name="T96" fmla="*/ 38 w 7034"/>
                    <a:gd name="T97" fmla="*/ 2528 h 2792"/>
                    <a:gd name="T98" fmla="*/ 10 w 7034"/>
                    <a:gd name="T99" fmla="*/ 2592 h 2792"/>
                    <a:gd name="T100" fmla="*/ 0 w 7034"/>
                    <a:gd name="T101" fmla="*/ 2654 h 2792"/>
                    <a:gd name="T102" fmla="*/ 10 w 7034"/>
                    <a:gd name="T103" fmla="*/ 2714 h 2792"/>
                    <a:gd name="T104" fmla="*/ 44 w 7034"/>
                    <a:gd name="T105" fmla="*/ 2774 h 2792"/>
                    <a:gd name="T106" fmla="*/ 80 w 7034"/>
                    <a:gd name="T107" fmla="*/ 2746 h 2792"/>
                    <a:gd name="T108" fmla="*/ 242 w 7034"/>
                    <a:gd name="T109" fmla="*/ 2532 h 2792"/>
                    <a:gd name="T110" fmla="*/ 416 w 7034"/>
                    <a:gd name="T111" fmla="*/ 2358 h 2792"/>
                    <a:gd name="T112" fmla="*/ 600 w 7034"/>
                    <a:gd name="T113" fmla="*/ 2218 h 2792"/>
                    <a:gd name="T114" fmla="*/ 796 w 7034"/>
                    <a:gd name="T115" fmla="*/ 2106 h 2792"/>
                    <a:gd name="T116" fmla="*/ 1000 w 7034"/>
                    <a:gd name="T117" fmla="*/ 2018 h 2792"/>
                    <a:gd name="T118" fmla="*/ 1214 w 7034"/>
                    <a:gd name="T119" fmla="*/ 1950 h 2792"/>
                    <a:gd name="T120" fmla="*/ 1438 w 7034"/>
                    <a:gd name="T121" fmla="*/ 1894 h 2792"/>
                    <a:gd name="T122" fmla="*/ 1832 w 7034"/>
                    <a:gd name="T123" fmla="*/ 1816 h 2792"/>
                    <a:gd name="T124" fmla="*/ 2336 w 7034"/>
                    <a:gd name="T125" fmla="*/ 1722 h 27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7034"/>
                    <a:gd name="T190" fmla="*/ 0 h 2792"/>
                    <a:gd name="T191" fmla="*/ 7034 w 7034"/>
                    <a:gd name="T192" fmla="*/ 2792 h 279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7034" h="2792">
                      <a:moveTo>
                        <a:pt x="2336" y="1722"/>
                      </a:moveTo>
                      <a:lnTo>
                        <a:pt x="2336" y="1722"/>
                      </a:lnTo>
                      <a:lnTo>
                        <a:pt x="2382" y="1714"/>
                      </a:lnTo>
                      <a:lnTo>
                        <a:pt x="2432" y="1708"/>
                      </a:lnTo>
                      <a:lnTo>
                        <a:pt x="2484" y="1704"/>
                      </a:lnTo>
                      <a:lnTo>
                        <a:pt x="2542" y="1702"/>
                      </a:lnTo>
                      <a:lnTo>
                        <a:pt x="2602" y="1700"/>
                      </a:lnTo>
                      <a:lnTo>
                        <a:pt x="2666" y="1702"/>
                      </a:lnTo>
                      <a:lnTo>
                        <a:pt x="2734" y="1704"/>
                      </a:lnTo>
                      <a:lnTo>
                        <a:pt x="2804" y="1708"/>
                      </a:lnTo>
                      <a:lnTo>
                        <a:pt x="2878" y="1714"/>
                      </a:lnTo>
                      <a:lnTo>
                        <a:pt x="2954" y="1722"/>
                      </a:lnTo>
                      <a:lnTo>
                        <a:pt x="3114" y="1740"/>
                      </a:lnTo>
                      <a:lnTo>
                        <a:pt x="3284" y="1764"/>
                      </a:lnTo>
                      <a:lnTo>
                        <a:pt x="3462" y="1794"/>
                      </a:lnTo>
                      <a:lnTo>
                        <a:pt x="3646" y="1826"/>
                      </a:lnTo>
                      <a:lnTo>
                        <a:pt x="3836" y="1862"/>
                      </a:lnTo>
                      <a:lnTo>
                        <a:pt x="4032" y="1902"/>
                      </a:lnTo>
                      <a:lnTo>
                        <a:pt x="4230" y="1946"/>
                      </a:lnTo>
                      <a:lnTo>
                        <a:pt x="4430" y="1992"/>
                      </a:lnTo>
                      <a:lnTo>
                        <a:pt x="4632" y="2038"/>
                      </a:lnTo>
                      <a:lnTo>
                        <a:pt x="4834" y="2088"/>
                      </a:lnTo>
                      <a:lnTo>
                        <a:pt x="5032" y="2138"/>
                      </a:lnTo>
                      <a:lnTo>
                        <a:pt x="5422" y="2238"/>
                      </a:lnTo>
                      <a:lnTo>
                        <a:pt x="5792" y="2338"/>
                      </a:lnTo>
                      <a:lnTo>
                        <a:pt x="6132" y="2432"/>
                      </a:lnTo>
                      <a:lnTo>
                        <a:pt x="6430" y="2518"/>
                      </a:lnTo>
                      <a:lnTo>
                        <a:pt x="6680" y="2590"/>
                      </a:lnTo>
                      <a:lnTo>
                        <a:pt x="6870" y="2648"/>
                      </a:lnTo>
                      <a:lnTo>
                        <a:pt x="7034" y="2696"/>
                      </a:lnTo>
                      <a:lnTo>
                        <a:pt x="6918" y="2616"/>
                      </a:lnTo>
                      <a:lnTo>
                        <a:pt x="6804" y="2538"/>
                      </a:lnTo>
                      <a:lnTo>
                        <a:pt x="6582" y="2390"/>
                      </a:lnTo>
                      <a:lnTo>
                        <a:pt x="6474" y="2316"/>
                      </a:lnTo>
                      <a:lnTo>
                        <a:pt x="6368" y="2242"/>
                      </a:lnTo>
                      <a:lnTo>
                        <a:pt x="6262" y="2168"/>
                      </a:lnTo>
                      <a:lnTo>
                        <a:pt x="6158" y="2088"/>
                      </a:lnTo>
                      <a:lnTo>
                        <a:pt x="6054" y="2006"/>
                      </a:lnTo>
                      <a:lnTo>
                        <a:pt x="5952" y="1918"/>
                      </a:lnTo>
                      <a:lnTo>
                        <a:pt x="5900" y="1872"/>
                      </a:lnTo>
                      <a:lnTo>
                        <a:pt x="5848" y="1824"/>
                      </a:lnTo>
                      <a:lnTo>
                        <a:pt x="5798" y="1774"/>
                      </a:lnTo>
                      <a:lnTo>
                        <a:pt x="5746" y="1722"/>
                      </a:lnTo>
                      <a:lnTo>
                        <a:pt x="5694" y="1668"/>
                      </a:lnTo>
                      <a:lnTo>
                        <a:pt x="5642" y="1612"/>
                      </a:lnTo>
                      <a:lnTo>
                        <a:pt x="5592" y="1554"/>
                      </a:lnTo>
                      <a:lnTo>
                        <a:pt x="5540" y="1494"/>
                      </a:lnTo>
                      <a:lnTo>
                        <a:pt x="5488" y="1430"/>
                      </a:lnTo>
                      <a:lnTo>
                        <a:pt x="5436" y="1364"/>
                      </a:lnTo>
                      <a:lnTo>
                        <a:pt x="5384" y="1294"/>
                      </a:lnTo>
                      <a:lnTo>
                        <a:pt x="5330" y="1222"/>
                      </a:lnTo>
                      <a:lnTo>
                        <a:pt x="5282" y="1166"/>
                      </a:lnTo>
                      <a:lnTo>
                        <a:pt x="5226" y="1104"/>
                      </a:lnTo>
                      <a:lnTo>
                        <a:pt x="5148" y="1022"/>
                      </a:lnTo>
                      <a:lnTo>
                        <a:pt x="5050" y="926"/>
                      </a:lnTo>
                      <a:lnTo>
                        <a:pt x="4996" y="874"/>
                      </a:lnTo>
                      <a:lnTo>
                        <a:pt x="4936" y="820"/>
                      </a:lnTo>
                      <a:lnTo>
                        <a:pt x="4872" y="762"/>
                      </a:lnTo>
                      <a:lnTo>
                        <a:pt x="4804" y="706"/>
                      </a:lnTo>
                      <a:lnTo>
                        <a:pt x="4734" y="646"/>
                      </a:lnTo>
                      <a:lnTo>
                        <a:pt x="4658" y="588"/>
                      </a:lnTo>
                      <a:lnTo>
                        <a:pt x="4580" y="530"/>
                      </a:lnTo>
                      <a:lnTo>
                        <a:pt x="4500" y="472"/>
                      </a:lnTo>
                      <a:lnTo>
                        <a:pt x="4416" y="414"/>
                      </a:lnTo>
                      <a:lnTo>
                        <a:pt x="4328" y="360"/>
                      </a:lnTo>
                      <a:lnTo>
                        <a:pt x="4238" y="306"/>
                      </a:lnTo>
                      <a:lnTo>
                        <a:pt x="4146" y="256"/>
                      </a:lnTo>
                      <a:lnTo>
                        <a:pt x="4052" y="210"/>
                      </a:lnTo>
                      <a:lnTo>
                        <a:pt x="3954" y="166"/>
                      </a:lnTo>
                      <a:lnTo>
                        <a:pt x="3856" y="126"/>
                      </a:lnTo>
                      <a:lnTo>
                        <a:pt x="3806" y="108"/>
                      </a:lnTo>
                      <a:lnTo>
                        <a:pt x="3756" y="90"/>
                      </a:lnTo>
                      <a:lnTo>
                        <a:pt x="3704" y="74"/>
                      </a:lnTo>
                      <a:lnTo>
                        <a:pt x="3652" y="60"/>
                      </a:lnTo>
                      <a:lnTo>
                        <a:pt x="3602" y="48"/>
                      </a:lnTo>
                      <a:lnTo>
                        <a:pt x="3550" y="36"/>
                      </a:lnTo>
                      <a:lnTo>
                        <a:pt x="3498" y="26"/>
                      </a:lnTo>
                      <a:lnTo>
                        <a:pt x="3444" y="18"/>
                      </a:lnTo>
                      <a:lnTo>
                        <a:pt x="3392" y="10"/>
                      </a:lnTo>
                      <a:lnTo>
                        <a:pt x="3338" y="4"/>
                      </a:lnTo>
                      <a:lnTo>
                        <a:pt x="3286" y="2"/>
                      </a:lnTo>
                      <a:lnTo>
                        <a:pt x="3232" y="0"/>
                      </a:lnTo>
                      <a:lnTo>
                        <a:pt x="3178" y="0"/>
                      </a:lnTo>
                      <a:lnTo>
                        <a:pt x="3124" y="2"/>
                      </a:lnTo>
                      <a:lnTo>
                        <a:pt x="3072" y="6"/>
                      </a:lnTo>
                      <a:lnTo>
                        <a:pt x="3020" y="10"/>
                      </a:lnTo>
                      <a:lnTo>
                        <a:pt x="2970" y="16"/>
                      </a:lnTo>
                      <a:lnTo>
                        <a:pt x="2920" y="24"/>
                      </a:lnTo>
                      <a:lnTo>
                        <a:pt x="2874" y="32"/>
                      </a:lnTo>
                      <a:lnTo>
                        <a:pt x="2828" y="42"/>
                      </a:lnTo>
                      <a:lnTo>
                        <a:pt x="2784" y="52"/>
                      </a:lnTo>
                      <a:lnTo>
                        <a:pt x="2740" y="64"/>
                      </a:lnTo>
                      <a:lnTo>
                        <a:pt x="2700" y="76"/>
                      </a:lnTo>
                      <a:lnTo>
                        <a:pt x="2660" y="90"/>
                      </a:lnTo>
                      <a:lnTo>
                        <a:pt x="2620" y="104"/>
                      </a:lnTo>
                      <a:lnTo>
                        <a:pt x="2582" y="120"/>
                      </a:lnTo>
                      <a:lnTo>
                        <a:pt x="2546" y="136"/>
                      </a:lnTo>
                      <a:lnTo>
                        <a:pt x="2510" y="154"/>
                      </a:lnTo>
                      <a:lnTo>
                        <a:pt x="2476" y="172"/>
                      </a:lnTo>
                      <a:lnTo>
                        <a:pt x="2442" y="192"/>
                      </a:lnTo>
                      <a:lnTo>
                        <a:pt x="2410" y="212"/>
                      </a:lnTo>
                      <a:lnTo>
                        <a:pt x="2378" y="232"/>
                      </a:lnTo>
                      <a:lnTo>
                        <a:pt x="2318" y="276"/>
                      </a:lnTo>
                      <a:lnTo>
                        <a:pt x="2262" y="322"/>
                      </a:lnTo>
                      <a:lnTo>
                        <a:pt x="2210" y="372"/>
                      </a:lnTo>
                      <a:lnTo>
                        <a:pt x="2160" y="424"/>
                      </a:lnTo>
                      <a:lnTo>
                        <a:pt x="2114" y="478"/>
                      </a:lnTo>
                      <a:lnTo>
                        <a:pt x="2068" y="534"/>
                      </a:lnTo>
                      <a:lnTo>
                        <a:pt x="2026" y="592"/>
                      </a:lnTo>
                      <a:lnTo>
                        <a:pt x="1986" y="652"/>
                      </a:lnTo>
                      <a:lnTo>
                        <a:pt x="1946" y="714"/>
                      </a:lnTo>
                      <a:lnTo>
                        <a:pt x="1910" y="776"/>
                      </a:lnTo>
                      <a:lnTo>
                        <a:pt x="1872" y="838"/>
                      </a:lnTo>
                      <a:lnTo>
                        <a:pt x="1802" y="966"/>
                      </a:lnTo>
                      <a:lnTo>
                        <a:pt x="1732" y="1096"/>
                      </a:lnTo>
                      <a:lnTo>
                        <a:pt x="1660" y="1226"/>
                      </a:lnTo>
                      <a:lnTo>
                        <a:pt x="1624" y="1290"/>
                      </a:lnTo>
                      <a:lnTo>
                        <a:pt x="1586" y="1354"/>
                      </a:lnTo>
                      <a:lnTo>
                        <a:pt x="1546" y="1416"/>
                      </a:lnTo>
                      <a:lnTo>
                        <a:pt x="1504" y="1478"/>
                      </a:lnTo>
                      <a:lnTo>
                        <a:pt x="1460" y="1538"/>
                      </a:lnTo>
                      <a:lnTo>
                        <a:pt x="1416" y="1596"/>
                      </a:lnTo>
                      <a:lnTo>
                        <a:pt x="1394" y="1616"/>
                      </a:lnTo>
                      <a:lnTo>
                        <a:pt x="1366" y="1640"/>
                      </a:lnTo>
                      <a:lnTo>
                        <a:pt x="1332" y="1666"/>
                      </a:lnTo>
                      <a:lnTo>
                        <a:pt x="1290" y="1692"/>
                      </a:lnTo>
                      <a:lnTo>
                        <a:pt x="1244" y="1720"/>
                      </a:lnTo>
                      <a:lnTo>
                        <a:pt x="1192" y="1752"/>
                      </a:lnTo>
                      <a:lnTo>
                        <a:pt x="1074" y="1816"/>
                      </a:lnTo>
                      <a:lnTo>
                        <a:pt x="806" y="1962"/>
                      </a:lnTo>
                      <a:lnTo>
                        <a:pt x="666" y="2040"/>
                      </a:lnTo>
                      <a:lnTo>
                        <a:pt x="526" y="2122"/>
                      </a:lnTo>
                      <a:lnTo>
                        <a:pt x="458" y="2164"/>
                      </a:lnTo>
                      <a:lnTo>
                        <a:pt x="394" y="2206"/>
                      </a:lnTo>
                      <a:lnTo>
                        <a:pt x="330" y="2248"/>
                      </a:lnTo>
                      <a:lnTo>
                        <a:pt x="272" y="2292"/>
                      </a:lnTo>
                      <a:lnTo>
                        <a:pt x="218" y="2334"/>
                      </a:lnTo>
                      <a:lnTo>
                        <a:pt x="168" y="2378"/>
                      </a:lnTo>
                      <a:lnTo>
                        <a:pt x="122" y="2420"/>
                      </a:lnTo>
                      <a:lnTo>
                        <a:pt x="84" y="2464"/>
                      </a:lnTo>
                      <a:lnTo>
                        <a:pt x="66" y="2486"/>
                      </a:lnTo>
                      <a:lnTo>
                        <a:pt x="52" y="2506"/>
                      </a:lnTo>
                      <a:lnTo>
                        <a:pt x="38" y="2528"/>
                      </a:lnTo>
                      <a:lnTo>
                        <a:pt x="26" y="2550"/>
                      </a:lnTo>
                      <a:lnTo>
                        <a:pt x="16" y="2570"/>
                      </a:lnTo>
                      <a:lnTo>
                        <a:pt x="10" y="2592"/>
                      </a:lnTo>
                      <a:lnTo>
                        <a:pt x="4" y="2612"/>
                      </a:lnTo>
                      <a:lnTo>
                        <a:pt x="0" y="2632"/>
                      </a:lnTo>
                      <a:lnTo>
                        <a:pt x="0" y="2654"/>
                      </a:lnTo>
                      <a:lnTo>
                        <a:pt x="0" y="2674"/>
                      </a:lnTo>
                      <a:lnTo>
                        <a:pt x="4" y="2694"/>
                      </a:lnTo>
                      <a:lnTo>
                        <a:pt x="10" y="2714"/>
                      </a:lnTo>
                      <a:lnTo>
                        <a:pt x="18" y="2734"/>
                      </a:lnTo>
                      <a:lnTo>
                        <a:pt x="30" y="2754"/>
                      </a:lnTo>
                      <a:lnTo>
                        <a:pt x="44" y="2774"/>
                      </a:lnTo>
                      <a:lnTo>
                        <a:pt x="60" y="2792"/>
                      </a:lnTo>
                      <a:lnTo>
                        <a:pt x="80" y="2746"/>
                      </a:lnTo>
                      <a:lnTo>
                        <a:pt x="134" y="2670"/>
                      </a:lnTo>
                      <a:lnTo>
                        <a:pt x="188" y="2600"/>
                      </a:lnTo>
                      <a:lnTo>
                        <a:pt x="242" y="2532"/>
                      </a:lnTo>
                      <a:lnTo>
                        <a:pt x="300" y="2470"/>
                      </a:lnTo>
                      <a:lnTo>
                        <a:pt x="358" y="2412"/>
                      </a:lnTo>
                      <a:lnTo>
                        <a:pt x="416" y="2358"/>
                      </a:lnTo>
                      <a:lnTo>
                        <a:pt x="476" y="2308"/>
                      </a:lnTo>
                      <a:lnTo>
                        <a:pt x="538" y="2262"/>
                      </a:lnTo>
                      <a:lnTo>
                        <a:pt x="600" y="2218"/>
                      </a:lnTo>
                      <a:lnTo>
                        <a:pt x="664" y="2178"/>
                      </a:lnTo>
                      <a:lnTo>
                        <a:pt x="730" y="2142"/>
                      </a:lnTo>
                      <a:lnTo>
                        <a:pt x="796" y="2106"/>
                      </a:lnTo>
                      <a:lnTo>
                        <a:pt x="862" y="2076"/>
                      </a:lnTo>
                      <a:lnTo>
                        <a:pt x="930" y="2046"/>
                      </a:lnTo>
                      <a:lnTo>
                        <a:pt x="1000" y="2018"/>
                      </a:lnTo>
                      <a:lnTo>
                        <a:pt x="1070" y="1994"/>
                      </a:lnTo>
                      <a:lnTo>
                        <a:pt x="1142" y="1970"/>
                      </a:lnTo>
                      <a:lnTo>
                        <a:pt x="1214" y="1950"/>
                      </a:lnTo>
                      <a:lnTo>
                        <a:pt x="1288" y="1930"/>
                      </a:lnTo>
                      <a:lnTo>
                        <a:pt x="1362" y="1910"/>
                      </a:lnTo>
                      <a:lnTo>
                        <a:pt x="1438" y="1894"/>
                      </a:lnTo>
                      <a:lnTo>
                        <a:pt x="1514" y="1876"/>
                      </a:lnTo>
                      <a:lnTo>
                        <a:pt x="1670" y="1846"/>
                      </a:lnTo>
                      <a:lnTo>
                        <a:pt x="1832" y="1816"/>
                      </a:lnTo>
                      <a:lnTo>
                        <a:pt x="1996" y="1786"/>
                      </a:lnTo>
                      <a:lnTo>
                        <a:pt x="2164" y="1756"/>
                      </a:lnTo>
                      <a:lnTo>
                        <a:pt x="2336" y="1722"/>
                      </a:lnTo>
                      <a:close/>
                    </a:path>
                  </a:pathLst>
                </a:custGeom>
                <a:gradFill rotWithShape="1">
                  <a:gsLst>
                    <a:gs pos="0">
                      <a:srgbClr val="92D050"/>
                    </a:gs>
                    <a:gs pos="50000">
                      <a:srgbClr val="92D050"/>
                    </a:gs>
                    <a:gs pos="100000">
                      <a:srgbClr val="00BD4F"/>
                    </a:gs>
                  </a:gsLst>
                  <a:lin ang="13500000" scaled="1"/>
                </a:grad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ndParaRPr>
                </a:p>
              </p:txBody>
            </p:sp>
          </p:grpSp>
          <p:sp>
            <p:nvSpPr>
              <p:cNvPr id="80" name="Freeform 20"/>
              <p:cNvSpPr>
                <a:spLocks/>
              </p:cNvSpPr>
              <p:nvPr/>
            </p:nvSpPr>
            <p:spPr bwMode="auto">
              <a:xfrm>
                <a:off x="-398494" y="3092529"/>
                <a:ext cx="9960881" cy="1141606"/>
              </a:xfrm>
              <a:custGeom>
                <a:avLst/>
                <a:gdLst>
                  <a:gd name="T0" fmla="*/ 2292 w 6888"/>
                  <a:gd name="T1" fmla="*/ 112 h 1108"/>
                  <a:gd name="T2" fmla="*/ 2376 w 6888"/>
                  <a:gd name="T3" fmla="*/ 106 h 1108"/>
                  <a:gd name="T4" fmla="*/ 2472 w 6888"/>
                  <a:gd name="T5" fmla="*/ 104 h 1108"/>
                  <a:gd name="T6" fmla="*/ 2694 w 6888"/>
                  <a:gd name="T7" fmla="*/ 114 h 1108"/>
                  <a:gd name="T8" fmla="*/ 2956 w 6888"/>
                  <a:gd name="T9" fmla="*/ 142 h 1108"/>
                  <a:gd name="T10" fmla="*/ 3246 w 6888"/>
                  <a:gd name="T11" fmla="*/ 184 h 1108"/>
                  <a:gd name="T12" fmla="*/ 3564 w 6888"/>
                  <a:gd name="T13" fmla="*/ 238 h 1108"/>
                  <a:gd name="T14" fmla="*/ 3898 w 6888"/>
                  <a:gd name="T15" fmla="*/ 302 h 1108"/>
                  <a:gd name="T16" fmla="*/ 4244 w 6888"/>
                  <a:gd name="T17" fmla="*/ 376 h 1108"/>
                  <a:gd name="T18" fmla="*/ 4944 w 6888"/>
                  <a:gd name="T19" fmla="*/ 536 h 1108"/>
                  <a:gd name="T20" fmla="*/ 5616 w 6888"/>
                  <a:gd name="T21" fmla="*/ 704 h 1108"/>
                  <a:gd name="T22" fmla="*/ 6206 w 6888"/>
                  <a:gd name="T23" fmla="*/ 862 h 1108"/>
                  <a:gd name="T24" fmla="*/ 6664 w 6888"/>
                  <a:gd name="T25" fmla="*/ 990 h 1108"/>
                  <a:gd name="T26" fmla="*/ 6826 w 6888"/>
                  <a:gd name="T27" fmla="*/ 1038 h 1108"/>
                  <a:gd name="T28" fmla="*/ 6888 w 6888"/>
                  <a:gd name="T29" fmla="*/ 1016 h 1108"/>
                  <a:gd name="T30" fmla="*/ 6744 w 6888"/>
                  <a:gd name="T31" fmla="*/ 918 h 1108"/>
                  <a:gd name="T32" fmla="*/ 6346 w 6888"/>
                  <a:gd name="T33" fmla="*/ 802 h 1108"/>
                  <a:gd name="T34" fmla="*/ 5808 w 6888"/>
                  <a:gd name="T35" fmla="*/ 656 h 1108"/>
                  <a:gd name="T36" fmla="*/ 5176 w 6888"/>
                  <a:gd name="T37" fmla="*/ 492 h 1108"/>
                  <a:gd name="T38" fmla="*/ 4498 w 6888"/>
                  <a:gd name="T39" fmla="*/ 328 h 1108"/>
                  <a:gd name="T40" fmla="*/ 3988 w 6888"/>
                  <a:gd name="T41" fmla="*/ 216 h 1108"/>
                  <a:gd name="T42" fmla="*/ 3658 w 6888"/>
                  <a:gd name="T43" fmla="*/ 150 h 1108"/>
                  <a:gd name="T44" fmla="*/ 3344 w 6888"/>
                  <a:gd name="T45" fmla="*/ 94 h 1108"/>
                  <a:gd name="T46" fmla="*/ 3050 w 6888"/>
                  <a:gd name="T47" fmla="*/ 50 h 1108"/>
                  <a:gd name="T48" fmla="*/ 2784 w 6888"/>
                  <a:gd name="T49" fmla="*/ 18 h 1108"/>
                  <a:gd name="T50" fmla="*/ 2550 w 6888"/>
                  <a:gd name="T51" fmla="*/ 2 h 1108"/>
                  <a:gd name="T52" fmla="*/ 2402 w 6888"/>
                  <a:gd name="T53" fmla="*/ 2 h 1108"/>
                  <a:gd name="T54" fmla="*/ 2314 w 6888"/>
                  <a:gd name="T55" fmla="*/ 8 h 1108"/>
                  <a:gd name="T56" fmla="*/ 2276 w 6888"/>
                  <a:gd name="T57" fmla="*/ 12 h 1108"/>
                  <a:gd name="T58" fmla="*/ 1774 w 6888"/>
                  <a:gd name="T59" fmla="*/ 86 h 1108"/>
                  <a:gd name="T60" fmla="*/ 1458 w 6888"/>
                  <a:gd name="T61" fmla="*/ 142 h 1108"/>
                  <a:gd name="T62" fmla="*/ 1306 w 6888"/>
                  <a:gd name="T63" fmla="*/ 176 h 1108"/>
                  <a:gd name="T64" fmla="*/ 1158 w 6888"/>
                  <a:gd name="T65" fmla="*/ 216 h 1108"/>
                  <a:gd name="T66" fmla="*/ 1014 w 6888"/>
                  <a:gd name="T67" fmla="*/ 262 h 1108"/>
                  <a:gd name="T68" fmla="*/ 874 w 6888"/>
                  <a:gd name="T69" fmla="*/ 318 h 1108"/>
                  <a:gd name="T70" fmla="*/ 738 w 6888"/>
                  <a:gd name="T71" fmla="*/ 382 h 1108"/>
                  <a:gd name="T72" fmla="*/ 606 w 6888"/>
                  <a:gd name="T73" fmla="*/ 458 h 1108"/>
                  <a:gd name="T74" fmla="*/ 480 w 6888"/>
                  <a:gd name="T75" fmla="*/ 544 h 1108"/>
                  <a:gd name="T76" fmla="*/ 358 w 6888"/>
                  <a:gd name="T77" fmla="*/ 644 h 1108"/>
                  <a:gd name="T78" fmla="*/ 240 w 6888"/>
                  <a:gd name="T79" fmla="*/ 758 h 1108"/>
                  <a:gd name="T80" fmla="*/ 128 w 6888"/>
                  <a:gd name="T81" fmla="*/ 890 h 1108"/>
                  <a:gd name="T82" fmla="*/ 20 w 6888"/>
                  <a:gd name="T83" fmla="*/ 1036 h 1108"/>
                  <a:gd name="T84" fmla="*/ 0 w 6888"/>
                  <a:gd name="T85" fmla="*/ 1084 h 1108"/>
                  <a:gd name="T86" fmla="*/ 26 w 6888"/>
                  <a:gd name="T87" fmla="*/ 1108 h 1108"/>
                  <a:gd name="T88" fmla="*/ 32 w 6888"/>
                  <a:gd name="T89" fmla="*/ 1104 h 1108"/>
                  <a:gd name="T90" fmla="*/ 108 w 6888"/>
                  <a:gd name="T91" fmla="*/ 1034 h 1108"/>
                  <a:gd name="T92" fmla="*/ 160 w 6888"/>
                  <a:gd name="T93" fmla="*/ 968 h 1108"/>
                  <a:gd name="T94" fmla="*/ 268 w 6888"/>
                  <a:gd name="T95" fmla="*/ 846 h 1108"/>
                  <a:gd name="T96" fmla="*/ 380 w 6888"/>
                  <a:gd name="T97" fmla="*/ 738 h 1108"/>
                  <a:gd name="T98" fmla="*/ 496 w 6888"/>
                  <a:gd name="T99" fmla="*/ 640 h 1108"/>
                  <a:gd name="T100" fmla="*/ 616 w 6888"/>
                  <a:gd name="T101" fmla="*/ 556 h 1108"/>
                  <a:gd name="T102" fmla="*/ 740 w 6888"/>
                  <a:gd name="T103" fmla="*/ 482 h 1108"/>
                  <a:gd name="T104" fmla="*/ 870 w 6888"/>
                  <a:gd name="T105" fmla="*/ 420 h 1108"/>
                  <a:gd name="T106" fmla="*/ 1002 w 6888"/>
                  <a:gd name="T107" fmla="*/ 364 h 1108"/>
                  <a:gd name="T108" fmla="*/ 1138 w 6888"/>
                  <a:gd name="T109" fmla="*/ 316 h 1108"/>
                  <a:gd name="T110" fmla="*/ 1278 w 6888"/>
                  <a:gd name="T111" fmla="*/ 276 h 1108"/>
                  <a:gd name="T112" fmla="*/ 1424 w 6888"/>
                  <a:gd name="T113" fmla="*/ 242 h 1108"/>
                  <a:gd name="T114" fmla="*/ 1648 w 6888"/>
                  <a:gd name="T115" fmla="*/ 198 h 1108"/>
                  <a:gd name="T116" fmla="*/ 1962 w 6888"/>
                  <a:gd name="T117" fmla="*/ 152 h 1108"/>
                  <a:gd name="T118" fmla="*/ 2292 w 6888"/>
                  <a:gd name="T119" fmla="*/ 112 h 110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6888"/>
                  <a:gd name="T181" fmla="*/ 0 h 1108"/>
                  <a:gd name="T182" fmla="*/ 6888 w 6888"/>
                  <a:gd name="T183" fmla="*/ 1108 h 110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6888" h="1108">
                    <a:moveTo>
                      <a:pt x="2292" y="112"/>
                    </a:moveTo>
                    <a:lnTo>
                      <a:pt x="2292" y="112"/>
                    </a:lnTo>
                    <a:lnTo>
                      <a:pt x="2332" y="108"/>
                    </a:lnTo>
                    <a:lnTo>
                      <a:pt x="2376" y="106"/>
                    </a:lnTo>
                    <a:lnTo>
                      <a:pt x="2422" y="104"/>
                    </a:lnTo>
                    <a:lnTo>
                      <a:pt x="2472" y="104"/>
                    </a:lnTo>
                    <a:lnTo>
                      <a:pt x="2578" y="106"/>
                    </a:lnTo>
                    <a:lnTo>
                      <a:pt x="2694" y="114"/>
                    </a:lnTo>
                    <a:lnTo>
                      <a:pt x="2820" y="126"/>
                    </a:lnTo>
                    <a:lnTo>
                      <a:pt x="2956" y="142"/>
                    </a:lnTo>
                    <a:lnTo>
                      <a:pt x="3098" y="160"/>
                    </a:lnTo>
                    <a:lnTo>
                      <a:pt x="3246" y="184"/>
                    </a:lnTo>
                    <a:lnTo>
                      <a:pt x="3402" y="210"/>
                    </a:lnTo>
                    <a:lnTo>
                      <a:pt x="3564" y="238"/>
                    </a:lnTo>
                    <a:lnTo>
                      <a:pt x="3728" y="270"/>
                    </a:lnTo>
                    <a:lnTo>
                      <a:pt x="3898" y="302"/>
                    </a:lnTo>
                    <a:lnTo>
                      <a:pt x="4070" y="338"/>
                    </a:lnTo>
                    <a:lnTo>
                      <a:pt x="4244" y="376"/>
                    </a:lnTo>
                    <a:lnTo>
                      <a:pt x="4594" y="454"/>
                    </a:lnTo>
                    <a:lnTo>
                      <a:pt x="4944" y="536"/>
                    </a:lnTo>
                    <a:lnTo>
                      <a:pt x="5288" y="622"/>
                    </a:lnTo>
                    <a:lnTo>
                      <a:pt x="5616" y="704"/>
                    </a:lnTo>
                    <a:lnTo>
                      <a:pt x="5924" y="786"/>
                    </a:lnTo>
                    <a:lnTo>
                      <a:pt x="6206" y="862"/>
                    </a:lnTo>
                    <a:lnTo>
                      <a:pt x="6454" y="930"/>
                    </a:lnTo>
                    <a:lnTo>
                      <a:pt x="6664" y="990"/>
                    </a:lnTo>
                    <a:lnTo>
                      <a:pt x="6826" y="1038"/>
                    </a:lnTo>
                    <a:lnTo>
                      <a:pt x="6888" y="1016"/>
                    </a:lnTo>
                    <a:lnTo>
                      <a:pt x="6744" y="918"/>
                    </a:lnTo>
                    <a:lnTo>
                      <a:pt x="6566" y="866"/>
                    </a:lnTo>
                    <a:lnTo>
                      <a:pt x="6346" y="802"/>
                    </a:lnTo>
                    <a:lnTo>
                      <a:pt x="6092" y="732"/>
                    </a:lnTo>
                    <a:lnTo>
                      <a:pt x="5808" y="656"/>
                    </a:lnTo>
                    <a:lnTo>
                      <a:pt x="5500" y="574"/>
                    </a:lnTo>
                    <a:lnTo>
                      <a:pt x="5176" y="492"/>
                    </a:lnTo>
                    <a:lnTo>
                      <a:pt x="4840" y="410"/>
                    </a:lnTo>
                    <a:lnTo>
                      <a:pt x="4498" y="328"/>
                    </a:lnTo>
                    <a:lnTo>
                      <a:pt x="4156" y="252"/>
                    </a:lnTo>
                    <a:lnTo>
                      <a:pt x="3988" y="216"/>
                    </a:lnTo>
                    <a:lnTo>
                      <a:pt x="3822" y="182"/>
                    </a:lnTo>
                    <a:lnTo>
                      <a:pt x="3658" y="150"/>
                    </a:lnTo>
                    <a:lnTo>
                      <a:pt x="3498" y="122"/>
                    </a:lnTo>
                    <a:lnTo>
                      <a:pt x="3344" y="94"/>
                    </a:lnTo>
                    <a:lnTo>
                      <a:pt x="3194" y="70"/>
                    </a:lnTo>
                    <a:lnTo>
                      <a:pt x="3050" y="50"/>
                    </a:lnTo>
                    <a:lnTo>
                      <a:pt x="2914" y="32"/>
                    </a:lnTo>
                    <a:lnTo>
                      <a:pt x="2784" y="18"/>
                    </a:lnTo>
                    <a:lnTo>
                      <a:pt x="2662" y="8"/>
                    </a:lnTo>
                    <a:lnTo>
                      <a:pt x="2550" y="2"/>
                    </a:lnTo>
                    <a:lnTo>
                      <a:pt x="2448" y="0"/>
                    </a:lnTo>
                    <a:lnTo>
                      <a:pt x="2402" y="2"/>
                    </a:lnTo>
                    <a:lnTo>
                      <a:pt x="2356" y="4"/>
                    </a:lnTo>
                    <a:lnTo>
                      <a:pt x="2314" y="8"/>
                    </a:lnTo>
                    <a:lnTo>
                      <a:pt x="2276" y="12"/>
                    </a:lnTo>
                    <a:lnTo>
                      <a:pt x="1938" y="60"/>
                    </a:lnTo>
                    <a:lnTo>
                      <a:pt x="1774" y="86"/>
                    </a:lnTo>
                    <a:lnTo>
                      <a:pt x="1614" y="112"/>
                    </a:lnTo>
                    <a:lnTo>
                      <a:pt x="1458" y="142"/>
                    </a:lnTo>
                    <a:lnTo>
                      <a:pt x="1382" y="158"/>
                    </a:lnTo>
                    <a:lnTo>
                      <a:pt x="1306" y="176"/>
                    </a:lnTo>
                    <a:lnTo>
                      <a:pt x="1232" y="194"/>
                    </a:lnTo>
                    <a:lnTo>
                      <a:pt x="1158" y="216"/>
                    </a:lnTo>
                    <a:lnTo>
                      <a:pt x="1086" y="238"/>
                    </a:lnTo>
                    <a:lnTo>
                      <a:pt x="1014" y="262"/>
                    </a:lnTo>
                    <a:lnTo>
                      <a:pt x="942" y="288"/>
                    </a:lnTo>
                    <a:lnTo>
                      <a:pt x="874" y="318"/>
                    </a:lnTo>
                    <a:lnTo>
                      <a:pt x="804" y="348"/>
                    </a:lnTo>
                    <a:lnTo>
                      <a:pt x="738" y="382"/>
                    </a:lnTo>
                    <a:lnTo>
                      <a:pt x="672" y="418"/>
                    </a:lnTo>
                    <a:lnTo>
                      <a:pt x="606" y="458"/>
                    </a:lnTo>
                    <a:lnTo>
                      <a:pt x="542" y="500"/>
                    </a:lnTo>
                    <a:lnTo>
                      <a:pt x="480" y="544"/>
                    </a:lnTo>
                    <a:lnTo>
                      <a:pt x="418" y="592"/>
                    </a:lnTo>
                    <a:lnTo>
                      <a:pt x="358" y="644"/>
                    </a:lnTo>
                    <a:lnTo>
                      <a:pt x="298" y="700"/>
                    </a:lnTo>
                    <a:lnTo>
                      <a:pt x="240" y="758"/>
                    </a:lnTo>
                    <a:lnTo>
                      <a:pt x="184" y="822"/>
                    </a:lnTo>
                    <a:lnTo>
                      <a:pt x="128" y="890"/>
                    </a:lnTo>
                    <a:lnTo>
                      <a:pt x="74" y="960"/>
                    </a:lnTo>
                    <a:lnTo>
                      <a:pt x="20" y="1036"/>
                    </a:lnTo>
                    <a:lnTo>
                      <a:pt x="0" y="1084"/>
                    </a:lnTo>
                    <a:lnTo>
                      <a:pt x="26" y="1108"/>
                    </a:lnTo>
                    <a:lnTo>
                      <a:pt x="28" y="1106"/>
                    </a:lnTo>
                    <a:lnTo>
                      <a:pt x="32" y="1104"/>
                    </a:lnTo>
                    <a:lnTo>
                      <a:pt x="50" y="1090"/>
                    </a:lnTo>
                    <a:lnTo>
                      <a:pt x="108" y="1034"/>
                    </a:lnTo>
                    <a:lnTo>
                      <a:pt x="160" y="968"/>
                    </a:lnTo>
                    <a:lnTo>
                      <a:pt x="214" y="906"/>
                    </a:lnTo>
                    <a:lnTo>
                      <a:pt x="268" y="846"/>
                    </a:lnTo>
                    <a:lnTo>
                      <a:pt x="324" y="790"/>
                    </a:lnTo>
                    <a:lnTo>
                      <a:pt x="380" y="738"/>
                    </a:lnTo>
                    <a:lnTo>
                      <a:pt x="438" y="688"/>
                    </a:lnTo>
                    <a:lnTo>
                      <a:pt x="496" y="640"/>
                    </a:lnTo>
                    <a:lnTo>
                      <a:pt x="556" y="598"/>
                    </a:lnTo>
                    <a:lnTo>
                      <a:pt x="616" y="556"/>
                    </a:lnTo>
                    <a:lnTo>
                      <a:pt x="678" y="518"/>
                    </a:lnTo>
                    <a:lnTo>
                      <a:pt x="740" y="482"/>
                    </a:lnTo>
                    <a:lnTo>
                      <a:pt x="804" y="450"/>
                    </a:lnTo>
                    <a:lnTo>
                      <a:pt x="870" y="420"/>
                    </a:lnTo>
                    <a:lnTo>
                      <a:pt x="934" y="390"/>
                    </a:lnTo>
                    <a:lnTo>
                      <a:pt x="1002" y="364"/>
                    </a:lnTo>
                    <a:lnTo>
                      <a:pt x="1070" y="340"/>
                    </a:lnTo>
                    <a:lnTo>
                      <a:pt x="1138" y="316"/>
                    </a:lnTo>
                    <a:lnTo>
                      <a:pt x="1208" y="296"/>
                    </a:lnTo>
                    <a:lnTo>
                      <a:pt x="1278" y="276"/>
                    </a:lnTo>
                    <a:lnTo>
                      <a:pt x="1350" y="258"/>
                    </a:lnTo>
                    <a:lnTo>
                      <a:pt x="1424" y="242"/>
                    </a:lnTo>
                    <a:lnTo>
                      <a:pt x="1498" y="226"/>
                    </a:lnTo>
                    <a:lnTo>
                      <a:pt x="1648" y="198"/>
                    </a:lnTo>
                    <a:lnTo>
                      <a:pt x="1804" y="174"/>
                    </a:lnTo>
                    <a:lnTo>
                      <a:pt x="1962" y="152"/>
                    </a:lnTo>
                    <a:lnTo>
                      <a:pt x="2126" y="132"/>
                    </a:lnTo>
                    <a:lnTo>
                      <a:pt x="2292" y="112"/>
                    </a:lnTo>
                    <a:close/>
                  </a:path>
                </a:pathLst>
              </a:custGeom>
              <a:gradFill rotWithShape="1">
                <a:gsLst>
                  <a:gs pos="0">
                    <a:srgbClr val="006D2A"/>
                  </a:gs>
                  <a:gs pos="92999">
                    <a:srgbClr val="008E39"/>
                  </a:gs>
                  <a:gs pos="100000">
                    <a:srgbClr val="007432"/>
                  </a:gs>
                </a:gsLst>
                <a:lin ang="13500000" scaled="1"/>
              </a:grad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ndParaRPr>
              </a:p>
            </p:txBody>
          </p:sp>
        </p:grpSp>
      </p:grpSp>
      <p:sp>
        <p:nvSpPr>
          <p:cNvPr id="106" name="Rektangel 14"/>
          <p:cNvSpPr/>
          <p:nvPr/>
        </p:nvSpPr>
        <p:spPr bwMode="auto">
          <a:xfrm>
            <a:off x="6215801" y="4035398"/>
            <a:ext cx="1977579" cy="830997"/>
          </a:xfrm>
          <a:prstGeom prst="rect">
            <a:avLst/>
          </a:prstGeom>
        </p:spPr>
        <p:txBody>
          <a:bodyPr wrap="square">
            <a:spAutoFit/>
          </a:bodyPr>
          <a:lstStyle/>
          <a:p>
            <a:pPr algn="ctr" fontAlgn="auto">
              <a:spcBef>
                <a:spcPts val="0"/>
              </a:spcBef>
              <a:spcAft>
                <a:spcPts val="0"/>
              </a:spcAft>
              <a:defRPr/>
            </a:pPr>
            <a:r>
              <a:rPr lang="tr-TR" sz="2400" b="1" kern="0" noProof="1" smtClean="0">
                <a:solidFill>
                  <a:schemeClr val="tx2">
                    <a:lumMod val="50000"/>
                  </a:schemeClr>
                </a:solidFill>
                <a:latin typeface="Calibri" pitchFamily="34" charset="0"/>
                <a:cs typeface="Arial" charset="0"/>
              </a:rPr>
              <a:t>Özel Entegrasyon</a:t>
            </a:r>
            <a:endParaRPr lang="da-DK" sz="2800" kern="0" dirty="0">
              <a:solidFill>
                <a:schemeClr val="tx2">
                  <a:lumMod val="50000"/>
                </a:schemeClr>
              </a:solidFill>
              <a:latin typeface="Arial" pitchFamily="34" charset="0"/>
            </a:endParaRPr>
          </a:p>
        </p:txBody>
      </p:sp>
      <p:sp>
        <p:nvSpPr>
          <p:cNvPr id="17" name="Rektangel 16"/>
          <p:cNvSpPr/>
          <p:nvPr/>
        </p:nvSpPr>
        <p:spPr bwMode="auto">
          <a:xfrm>
            <a:off x="765747" y="3861048"/>
            <a:ext cx="1764642" cy="830997"/>
          </a:xfrm>
          <a:prstGeom prst="rect">
            <a:avLst/>
          </a:prstGeom>
        </p:spPr>
        <p:txBody>
          <a:bodyPr wrap="square">
            <a:spAutoFit/>
          </a:bodyPr>
          <a:lstStyle/>
          <a:p>
            <a:pPr fontAlgn="auto">
              <a:spcBef>
                <a:spcPts val="0"/>
              </a:spcBef>
              <a:spcAft>
                <a:spcPts val="0"/>
              </a:spcAft>
              <a:defRPr/>
            </a:pPr>
            <a:r>
              <a:rPr lang="tr-TR" sz="2400" b="1" kern="0" noProof="1" smtClean="0">
                <a:solidFill>
                  <a:schemeClr val="tx2">
                    <a:lumMod val="50000"/>
                  </a:schemeClr>
                </a:solidFill>
                <a:latin typeface="Calibri" pitchFamily="34" charset="0"/>
                <a:cs typeface="Arial" charset="0"/>
              </a:rPr>
              <a:t>e – Fatura Portal</a:t>
            </a:r>
            <a:endParaRPr lang="da-DK" sz="3200" kern="0" dirty="0">
              <a:solidFill>
                <a:schemeClr val="tx2">
                  <a:lumMod val="50000"/>
                </a:schemeClr>
              </a:solidFill>
              <a:latin typeface="Arial" pitchFamily="34" charset="0"/>
            </a:endParaRPr>
          </a:p>
        </p:txBody>
      </p:sp>
      <p:pic>
        <p:nvPicPr>
          <p:cNvPr id="110" name="Picture 2"/>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9067" t="9932" r="11889" b="16671"/>
          <a:stretch/>
        </p:blipFill>
        <p:spPr bwMode="auto">
          <a:xfrm rot="20097013">
            <a:off x="233224" y="4971484"/>
            <a:ext cx="1755508" cy="136232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1" name="Rektangel 14"/>
          <p:cNvSpPr/>
          <p:nvPr/>
        </p:nvSpPr>
        <p:spPr bwMode="auto">
          <a:xfrm>
            <a:off x="148406" y="188640"/>
            <a:ext cx="1977579" cy="461665"/>
          </a:xfrm>
          <a:prstGeom prst="rect">
            <a:avLst/>
          </a:prstGeom>
        </p:spPr>
        <p:txBody>
          <a:bodyPr wrap="square">
            <a:spAutoFit/>
          </a:bodyPr>
          <a:lstStyle/>
          <a:p>
            <a:pPr algn="ctr" fontAlgn="auto">
              <a:spcBef>
                <a:spcPts val="0"/>
              </a:spcBef>
              <a:spcAft>
                <a:spcPts val="0"/>
              </a:spcAft>
              <a:defRPr/>
            </a:pPr>
            <a:r>
              <a:rPr lang="tr-TR" sz="2400" b="1" kern="0" noProof="1" smtClean="0">
                <a:solidFill>
                  <a:schemeClr val="tx2">
                    <a:lumMod val="50000"/>
                  </a:schemeClr>
                </a:solidFill>
                <a:latin typeface="Calibri" pitchFamily="34" charset="0"/>
                <a:cs typeface="Arial" charset="0"/>
              </a:rPr>
              <a:t>Entegrasyon</a:t>
            </a:r>
            <a:endParaRPr lang="da-DK" sz="2800" kern="0" dirty="0">
              <a:solidFill>
                <a:schemeClr val="tx2">
                  <a:lumMod val="50000"/>
                </a:schemeClr>
              </a:solidFill>
              <a:latin typeface="Arial" pitchFamily="34" charset="0"/>
            </a:endParaRPr>
          </a:p>
        </p:txBody>
      </p:sp>
      <p:grpSp>
        <p:nvGrpSpPr>
          <p:cNvPr id="76" name="Gruppe 408"/>
          <p:cNvGrpSpPr>
            <a:grpSpLocks/>
          </p:cNvGrpSpPr>
          <p:nvPr/>
        </p:nvGrpSpPr>
        <p:grpSpPr bwMode="auto">
          <a:xfrm>
            <a:off x="2553195" y="3861048"/>
            <a:ext cx="1334295" cy="1054599"/>
            <a:chOff x="3584575" y="3621705"/>
            <a:chExt cx="1966913" cy="2061545"/>
          </a:xfrm>
        </p:grpSpPr>
        <p:grpSp>
          <p:nvGrpSpPr>
            <p:cNvPr id="77" name="Gruppe 530"/>
            <p:cNvGrpSpPr>
              <a:grpSpLocks/>
            </p:cNvGrpSpPr>
            <p:nvPr/>
          </p:nvGrpSpPr>
          <p:grpSpPr bwMode="auto">
            <a:xfrm>
              <a:off x="3738563" y="3621705"/>
              <a:ext cx="1521618" cy="1519240"/>
              <a:chOff x="4018280" y="2291865"/>
              <a:chExt cx="1013460" cy="1013462"/>
            </a:xfrm>
          </p:grpSpPr>
          <p:sp>
            <p:nvSpPr>
              <p:cNvPr id="99" name="Ellipse 235"/>
              <p:cNvSpPr/>
              <p:nvPr/>
            </p:nvSpPr>
            <p:spPr>
              <a:xfrm>
                <a:off x="4018280" y="2291865"/>
                <a:ext cx="1013460" cy="1013462"/>
              </a:xfrm>
              <a:prstGeom prst="ellipse">
                <a:avLst/>
              </a:prstGeom>
              <a:solidFill>
                <a:schemeClr val="bg1">
                  <a:lumMod val="85000"/>
                </a:schemeClr>
              </a:solidFill>
              <a:ln w="9525" cap="flat" cmpd="sng" algn="ctr">
                <a:noFill/>
                <a:prstDash val="solid"/>
              </a:ln>
              <a:effectLst/>
            </p:spPr>
            <p:txBody>
              <a:bodyPr anchor="ctr"/>
              <a:lstStyle/>
              <a:p>
                <a:pPr algn="ctr" fontAlgn="auto">
                  <a:spcBef>
                    <a:spcPts val="0"/>
                  </a:spcBef>
                  <a:spcAft>
                    <a:spcPts val="0"/>
                  </a:spcAft>
                  <a:defRPr/>
                </a:pPr>
                <a:endParaRPr lang="da-DK" kern="0" dirty="0">
                  <a:solidFill>
                    <a:sysClr val="window" lastClr="FFFFFF"/>
                  </a:solidFill>
                  <a:latin typeface="Calibri"/>
                  <a:ea typeface="ＭＳ Ｐゴシック" pitchFamily="-97" charset="-128"/>
                  <a:cs typeface="+mn-cs"/>
                </a:endParaRPr>
              </a:p>
            </p:txBody>
          </p:sp>
          <p:grpSp>
            <p:nvGrpSpPr>
              <p:cNvPr id="100" name="Gruppe 352"/>
              <p:cNvGrpSpPr>
                <a:grpSpLocks/>
              </p:cNvGrpSpPr>
              <p:nvPr/>
            </p:nvGrpSpPr>
            <p:grpSpPr bwMode="auto">
              <a:xfrm>
                <a:off x="4244617" y="2571374"/>
                <a:ext cx="525503" cy="640456"/>
                <a:chOff x="4768533" y="2411730"/>
                <a:chExt cx="406400" cy="495300"/>
              </a:xfrm>
            </p:grpSpPr>
            <p:sp>
              <p:nvSpPr>
                <p:cNvPr id="102" name="Freeform 21"/>
                <p:cNvSpPr>
                  <a:spLocks noEditPoints="1"/>
                </p:cNvSpPr>
                <p:nvPr/>
              </p:nvSpPr>
              <p:spPr bwMode="auto">
                <a:xfrm>
                  <a:off x="4768533" y="2411730"/>
                  <a:ext cx="276225" cy="390525"/>
                </a:xfrm>
                <a:custGeom>
                  <a:avLst/>
                  <a:gdLst>
                    <a:gd name="T0" fmla="*/ 2147483647 w 174"/>
                    <a:gd name="T1" fmla="*/ 2147483647 h 246"/>
                    <a:gd name="T2" fmla="*/ 2147483647 w 174"/>
                    <a:gd name="T3" fmla="*/ 0 h 246"/>
                    <a:gd name="T4" fmla="*/ 2147483647 w 174"/>
                    <a:gd name="T5" fmla="*/ 2147483647 h 246"/>
                    <a:gd name="T6" fmla="*/ 2147483647 w 174"/>
                    <a:gd name="T7" fmla="*/ 2147483647 h 246"/>
                    <a:gd name="T8" fmla="*/ 2147483647 w 174"/>
                    <a:gd name="T9" fmla="*/ 2147483647 h 246"/>
                    <a:gd name="T10" fmla="*/ 0 w 174"/>
                    <a:gd name="T11" fmla="*/ 2147483647 h 246"/>
                    <a:gd name="T12" fmla="*/ 0 w 174"/>
                    <a:gd name="T13" fmla="*/ 0 h 246"/>
                    <a:gd name="T14" fmla="*/ 2147483647 w 174"/>
                    <a:gd name="T15" fmla="*/ 0 h 246"/>
                    <a:gd name="T16" fmla="*/ 2147483647 w 174"/>
                    <a:gd name="T17" fmla="*/ 2147483647 h 246"/>
                    <a:gd name="T18" fmla="*/ 2147483647 w 174"/>
                    <a:gd name="T19" fmla="*/ 2147483647 h 246"/>
                    <a:gd name="T20" fmla="*/ 2147483647 w 174"/>
                    <a:gd name="T21" fmla="*/ 2147483647 h 246"/>
                    <a:gd name="T22" fmla="*/ 0 w 174"/>
                    <a:gd name="T23" fmla="*/ 2147483647 h 24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74"/>
                    <a:gd name="T37" fmla="*/ 0 h 246"/>
                    <a:gd name="T38" fmla="*/ 174 w 174"/>
                    <a:gd name="T39" fmla="*/ 246 h 24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74" h="246">
                      <a:moveTo>
                        <a:pt x="174" y="26"/>
                      </a:moveTo>
                      <a:lnTo>
                        <a:pt x="148" y="0"/>
                      </a:lnTo>
                      <a:lnTo>
                        <a:pt x="148" y="26"/>
                      </a:lnTo>
                      <a:lnTo>
                        <a:pt x="174" y="26"/>
                      </a:lnTo>
                      <a:close/>
                      <a:moveTo>
                        <a:pt x="0" y="246"/>
                      </a:moveTo>
                      <a:lnTo>
                        <a:pt x="0" y="0"/>
                      </a:lnTo>
                      <a:lnTo>
                        <a:pt x="138" y="0"/>
                      </a:lnTo>
                      <a:lnTo>
                        <a:pt x="138" y="36"/>
                      </a:lnTo>
                      <a:lnTo>
                        <a:pt x="174" y="36"/>
                      </a:lnTo>
                      <a:lnTo>
                        <a:pt x="174" y="246"/>
                      </a:lnTo>
                      <a:lnTo>
                        <a:pt x="0" y="246"/>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tr-TR"/>
                </a:p>
              </p:txBody>
            </p:sp>
            <p:sp>
              <p:nvSpPr>
                <p:cNvPr id="103" name="Freeform 22"/>
                <p:cNvSpPr>
                  <a:spLocks noEditPoints="1"/>
                </p:cNvSpPr>
                <p:nvPr/>
              </p:nvSpPr>
              <p:spPr bwMode="auto">
                <a:xfrm>
                  <a:off x="4816158" y="2453005"/>
                  <a:ext cx="196850" cy="311150"/>
                </a:xfrm>
                <a:custGeom>
                  <a:avLst/>
                  <a:gdLst>
                    <a:gd name="T0" fmla="*/ 0 w 124"/>
                    <a:gd name="T1" fmla="*/ 0 h 196"/>
                    <a:gd name="T2" fmla="*/ 2147483647 w 124"/>
                    <a:gd name="T3" fmla="*/ 0 h 196"/>
                    <a:gd name="T4" fmla="*/ 2147483647 w 124"/>
                    <a:gd name="T5" fmla="*/ 2147483647 h 196"/>
                    <a:gd name="T6" fmla="*/ 0 w 124"/>
                    <a:gd name="T7" fmla="*/ 2147483647 h 196"/>
                    <a:gd name="T8" fmla="*/ 0 w 124"/>
                    <a:gd name="T9" fmla="*/ 0 h 196"/>
                    <a:gd name="T10" fmla="*/ 0 w 124"/>
                    <a:gd name="T11" fmla="*/ 0 h 196"/>
                    <a:gd name="T12" fmla="*/ 0 w 124"/>
                    <a:gd name="T13" fmla="*/ 2147483647 h 196"/>
                    <a:gd name="T14" fmla="*/ 2147483647 w 124"/>
                    <a:gd name="T15" fmla="*/ 2147483647 h 196"/>
                    <a:gd name="T16" fmla="*/ 2147483647 w 124"/>
                    <a:gd name="T17" fmla="*/ 2147483647 h 196"/>
                    <a:gd name="T18" fmla="*/ 0 w 124"/>
                    <a:gd name="T19" fmla="*/ 2147483647 h 196"/>
                    <a:gd name="T20" fmla="*/ 0 w 124"/>
                    <a:gd name="T21" fmla="*/ 2147483647 h 196"/>
                    <a:gd name="T22" fmla="*/ 0 w 124"/>
                    <a:gd name="T23" fmla="*/ 2147483647 h 196"/>
                    <a:gd name="T24" fmla="*/ 2147483647 w 124"/>
                    <a:gd name="T25" fmla="*/ 2147483647 h 196"/>
                    <a:gd name="T26" fmla="*/ 2147483647 w 124"/>
                    <a:gd name="T27" fmla="*/ 2147483647 h 196"/>
                    <a:gd name="T28" fmla="*/ 0 w 124"/>
                    <a:gd name="T29" fmla="*/ 2147483647 h 196"/>
                    <a:gd name="T30" fmla="*/ 0 w 124"/>
                    <a:gd name="T31" fmla="*/ 2147483647 h 196"/>
                    <a:gd name="T32" fmla="*/ 2147483647 w 124"/>
                    <a:gd name="T33" fmla="*/ 2147483647 h 196"/>
                    <a:gd name="T34" fmla="*/ 2147483647 w 124"/>
                    <a:gd name="T35" fmla="*/ 2147483647 h 196"/>
                    <a:gd name="T36" fmla="*/ 2147483647 w 124"/>
                    <a:gd name="T37" fmla="*/ 2147483647 h 196"/>
                    <a:gd name="T38" fmla="*/ 2147483647 w 124"/>
                    <a:gd name="T39" fmla="*/ 2147483647 h 196"/>
                    <a:gd name="T40" fmla="*/ 0 w 124"/>
                    <a:gd name="T41" fmla="*/ 2147483647 h 196"/>
                    <a:gd name="T42" fmla="*/ 0 w 124"/>
                    <a:gd name="T43" fmla="*/ 2147483647 h 196"/>
                    <a:gd name="T44" fmla="*/ 2147483647 w 124"/>
                    <a:gd name="T45" fmla="*/ 2147483647 h 196"/>
                    <a:gd name="T46" fmla="*/ 2147483647 w 124"/>
                    <a:gd name="T47" fmla="*/ 2147483647 h 196"/>
                    <a:gd name="T48" fmla="*/ 2147483647 w 124"/>
                    <a:gd name="T49" fmla="*/ 2147483647 h 196"/>
                    <a:gd name="T50" fmla="*/ 2147483647 w 124"/>
                    <a:gd name="T51" fmla="*/ 2147483647 h 196"/>
                    <a:gd name="T52" fmla="*/ 0 w 124"/>
                    <a:gd name="T53" fmla="*/ 2147483647 h 196"/>
                    <a:gd name="T54" fmla="*/ 0 w 124"/>
                    <a:gd name="T55" fmla="*/ 2147483647 h 196"/>
                    <a:gd name="T56" fmla="*/ 2147483647 w 124"/>
                    <a:gd name="T57" fmla="*/ 2147483647 h 196"/>
                    <a:gd name="T58" fmla="*/ 2147483647 w 124"/>
                    <a:gd name="T59" fmla="*/ 2147483647 h 196"/>
                    <a:gd name="T60" fmla="*/ 2147483647 w 124"/>
                    <a:gd name="T61" fmla="*/ 2147483647 h 196"/>
                    <a:gd name="T62" fmla="*/ 2147483647 w 124"/>
                    <a:gd name="T63" fmla="*/ 2147483647 h 196"/>
                    <a:gd name="T64" fmla="*/ 0 w 124"/>
                    <a:gd name="T65" fmla="*/ 2147483647 h 196"/>
                    <a:gd name="T66" fmla="*/ 0 w 124"/>
                    <a:gd name="T67" fmla="*/ 2147483647 h 196"/>
                    <a:gd name="T68" fmla="*/ 2147483647 w 124"/>
                    <a:gd name="T69" fmla="*/ 2147483647 h 196"/>
                    <a:gd name="T70" fmla="*/ 2147483647 w 124"/>
                    <a:gd name="T71" fmla="*/ 2147483647 h 196"/>
                    <a:gd name="T72" fmla="*/ 0 w 124"/>
                    <a:gd name="T73" fmla="*/ 2147483647 h 196"/>
                    <a:gd name="T74" fmla="*/ 2147483647 w 124"/>
                    <a:gd name="T75" fmla="*/ 2147483647 h 196"/>
                    <a:gd name="T76" fmla="*/ 2147483647 w 124"/>
                    <a:gd name="T77" fmla="*/ 2147483647 h 196"/>
                    <a:gd name="T78" fmla="*/ 0 w 124"/>
                    <a:gd name="T79" fmla="*/ 2147483647 h 196"/>
                    <a:gd name="T80" fmla="*/ 0 w 124"/>
                    <a:gd name="T81" fmla="*/ 2147483647 h 196"/>
                    <a:gd name="T82" fmla="*/ 0 w 124"/>
                    <a:gd name="T83" fmla="*/ 2147483647 h 196"/>
                    <a:gd name="T84" fmla="*/ 2147483647 w 124"/>
                    <a:gd name="T85" fmla="*/ 2147483647 h 196"/>
                    <a:gd name="T86" fmla="*/ 2147483647 w 124"/>
                    <a:gd name="T87" fmla="*/ 2147483647 h 196"/>
                    <a:gd name="T88" fmla="*/ 0 w 124"/>
                    <a:gd name="T89" fmla="*/ 2147483647 h 196"/>
                    <a:gd name="T90" fmla="*/ 0 w 124"/>
                    <a:gd name="T91" fmla="*/ 2147483647 h 196"/>
                    <a:gd name="T92" fmla="*/ 2147483647 w 124"/>
                    <a:gd name="T93" fmla="*/ 2147483647 h 19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24"/>
                    <a:gd name="T142" fmla="*/ 0 h 196"/>
                    <a:gd name="T143" fmla="*/ 124 w 124"/>
                    <a:gd name="T144" fmla="*/ 196 h 19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24" h="196">
                      <a:moveTo>
                        <a:pt x="0" y="0"/>
                      </a:moveTo>
                      <a:lnTo>
                        <a:pt x="94" y="0"/>
                      </a:lnTo>
                      <a:lnTo>
                        <a:pt x="94" y="8"/>
                      </a:lnTo>
                      <a:lnTo>
                        <a:pt x="0" y="8"/>
                      </a:lnTo>
                      <a:lnTo>
                        <a:pt x="0" y="0"/>
                      </a:lnTo>
                      <a:close/>
                      <a:moveTo>
                        <a:pt x="0" y="26"/>
                      </a:moveTo>
                      <a:lnTo>
                        <a:pt x="124" y="26"/>
                      </a:lnTo>
                      <a:lnTo>
                        <a:pt x="124" y="36"/>
                      </a:lnTo>
                      <a:lnTo>
                        <a:pt x="0" y="36"/>
                      </a:lnTo>
                      <a:lnTo>
                        <a:pt x="0" y="26"/>
                      </a:lnTo>
                      <a:close/>
                      <a:moveTo>
                        <a:pt x="124" y="160"/>
                      </a:moveTo>
                      <a:lnTo>
                        <a:pt x="124" y="168"/>
                      </a:lnTo>
                      <a:lnTo>
                        <a:pt x="0" y="168"/>
                      </a:lnTo>
                      <a:lnTo>
                        <a:pt x="0" y="160"/>
                      </a:lnTo>
                      <a:lnTo>
                        <a:pt x="124" y="160"/>
                      </a:lnTo>
                      <a:close/>
                      <a:moveTo>
                        <a:pt x="124" y="52"/>
                      </a:moveTo>
                      <a:lnTo>
                        <a:pt x="124" y="62"/>
                      </a:lnTo>
                      <a:lnTo>
                        <a:pt x="0" y="62"/>
                      </a:lnTo>
                      <a:lnTo>
                        <a:pt x="0" y="52"/>
                      </a:lnTo>
                      <a:lnTo>
                        <a:pt x="124" y="52"/>
                      </a:lnTo>
                      <a:close/>
                      <a:moveTo>
                        <a:pt x="124" y="106"/>
                      </a:moveTo>
                      <a:lnTo>
                        <a:pt x="124" y="116"/>
                      </a:lnTo>
                      <a:lnTo>
                        <a:pt x="0" y="116"/>
                      </a:lnTo>
                      <a:lnTo>
                        <a:pt x="0" y="106"/>
                      </a:lnTo>
                      <a:lnTo>
                        <a:pt x="124" y="106"/>
                      </a:lnTo>
                      <a:close/>
                      <a:moveTo>
                        <a:pt x="124" y="132"/>
                      </a:moveTo>
                      <a:lnTo>
                        <a:pt x="124" y="142"/>
                      </a:lnTo>
                      <a:lnTo>
                        <a:pt x="0" y="142"/>
                      </a:lnTo>
                      <a:lnTo>
                        <a:pt x="0" y="132"/>
                      </a:lnTo>
                      <a:lnTo>
                        <a:pt x="124" y="132"/>
                      </a:lnTo>
                      <a:close/>
                      <a:moveTo>
                        <a:pt x="0" y="186"/>
                      </a:moveTo>
                      <a:lnTo>
                        <a:pt x="124" y="186"/>
                      </a:lnTo>
                      <a:lnTo>
                        <a:pt x="124" y="196"/>
                      </a:lnTo>
                      <a:lnTo>
                        <a:pt x="0" y="196"/>
                      </a:lnTo>
                      <a:lnTo>
                        <a:pt x="0" y="186"/>
                      </a:lnTo>
                      <a:close/>
                      <a:moveTo>
                        <a:pt x="124" y="80"/>
                      </a:moveTo>
                      <a:lnTo>
                        <a:pt x="124" y="88"/>
                      </a:lnTo>
                      <a:lnTo>
                        <a:pt x="0" y="88"/>
                      </a:lnTo>
                      <a:lnTo>
                        <a:pt x="0" y="80"/>
                      </a:lnTo>
                      <a:lnTo>
                        <a:pt x="124" y="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tr-TR"/>
                </a:p>
              </p:txBody>
            </p:sp>
            <p:sp>
              <p:nvSpPr>
                <p:cNvPr id="104" name="Freeform 23"/>
                <p:cNvSpPr>
                  <a:spLocks noEditPoints="1"/>
                </p:cNvSpPr>
                <p:nvPr/>
              </p:nvSpPr>
              <p:spPr bwMode="auto">
                <a:xfrm>
                  <a:off x="4901883" y="2516505"/>
                  <a:ext cx="273050" cy="390525"/>
                </a:xfrm>
                <a:custGeom>
                  <a:avLst/>
                  <a:gdLst>
                    <a:gd name="T0" fmla="*/ 2147483647 w 172"/>
                    <a:gd name="T1" fmla="*/ 2147483647 h 246"/>
                    <a:gd name="T2" fmla="*/ 2147483647 w 172"/>
                    <a:gd name="T3" fmla="*/ 0 h 246"/>
                    <a:gd name="T4" fmla="*/ 2147483647 w 172"/>
                    <a:gd name="T5" fmla="*/ 2147483647 h 246"/>
                    <a:gd name="T6" fmla="*/ 2147483647 w 172"/>
                    <a:gd name="T7" fmla="*/ 2147483647 h 246"/>
                    <a:gd name="T8" fmla="*/ 2147483647 w 172"/>
                    <a:gd name="T9" fmla="*/ 2147483647 h 246"/>
                    <a:gd name="T10" fmla="*/ 0 w 172"/>
                    <a:gd name="T11" fmla="*/ 2147483647 h 246"/>
                    <a:gd name="T12" fmla="*/ 0 w 172"/>
                    <a:gd name="T13" fmla="*/ 0 h 246"/>
                    <a:gd name="T14" fmla="*/ 2147483647 w 172"/>
                    <a:gd name="T15" fmla="*/ 0 h 246"/>
                    <a:gd name="T16" fmla="*/ 2147483647 w 172"/>
                    <a:gd name="T17" fmla="*/ 2147483647 h 246"/>
                    <a:gd name="T18" fmla="*/ 2147483647 w 172"/>
                    <a:gd name="T19" fmla="*/ 2147483647 h 246"/>
                    <a:gd name="T20" fmla="*/ 2147483647 w 172"/>
                    <a:gd name="T21" fmla="*/ 2147483647 h 246"/>
                    <a:gd name="T22" fmla="*/ 0 w 172"/>
                    <a:gd name="T23" fmla="*/ 2147483647 h 24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72"/>
                    <a:gd name="T37" fmla="*/ 0 h 246"/>
                    <a:gd name="T38" fmla="*/ 172 w 172"/>
                    <a:gd name="T39" fmla="*/ 246 h 24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72" h="246">
                      <a:moveTo>
                        <a:pt x="172" y="28"/>
                      </a:moveTo>
                      <a:lnTo>
                        <a:pt x="146" y="0"/>
                      </a:lnTo>
                      <a:lnTo>
                        <a:pt x="146" y="28"/>
                      </a:lnTo>
                      <a:lnTo>
                        <a:pt x="172" y="28"/>
                      </a:lnTo>
                      <a:close/>
                      <a:moveTo>
                        <a:pt x="0" y="246"/>
                      </a:moveTo>
                      <a:lnTo>
                        <a:pt x="0" y="0"/>
                      </a:lnTo>
                      <a:lnTo>
                        <a:pt x="138" y="0"/>
                      </a:lnTo>
                      <a:lnTo>
                        <a:pt x="138" y="36"/>
                      </a:lnTo>
                      <a:lnTo>
                        <a:pt x="172" y="36"/>
                      </a:lnTo>
                      <a:lnTo>
                        <a:pt x="172" y="246"/>
                      </a:lnTo>
                      <a:lnTo>
                        <a:pt x="0" y="246"/>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tr-TR"/>
                </a:p>
              </p:txBody>
            </p:sp>
            <p:sp>
              <p:nvSpPr>
                <p:cNvPr id="105" name="Freeform 24"/>
                <p:cNvSpPr>
                  <a:spLocks noEditPoints="1"/>
                </p:cNvSpPr>
                <p:nvPr/>
              </p:nvSpPr>
              <p:spPr bwMode="auto">
                <a:xfrm>
                  <a:off x="4946333" y="2557780"/>
                  <a:ext cx="200025" cy="307975"/>
                </a:xfrm>
                <a:custGeom>
                  <a:avLst/>
                  <a:gdLst>
                    <a:gd name="T0" fmla="*/ 0 w 126"/>
                    <a:gd name="T1" fmla="*/ 0 h 194"/>
                    <a:gd name="T2" fmla="*/ 2147483647 w 126"/>
                    <a:gd name="T3" fmla="*/ 0 h 194"/>
                    <a:gd name="T4" fmla="*/ 2147483647 w 126"/>
                    <a:gd name="T5" fmla="*/ 2147483647 h 194"/>
                    <a:gd name="T6" fmla="*/ 0 w 126"/>
                    <a:gd name="T7" fmla="*/ 2147483647 h 194"/>
                    <a:gd name="T8" fmla="*/ 0 w 126"/>
                    <a:gd name="T9" fmla="*/ 0 h 194"/>
                    <a:gd name="T10" fmla="*/ 0 w 126"/>
                    <a:gd name="T11" fmla="*/ 0 h 194"/>
                    <a:gd name="T12" fmla="*/ 0 w 126"/>
                    <a:gd name="T13" fmla="*/ 2147483647 h 194"/>
                    <a:gd name="T14" fmla="*/ 2147483647 w 126"/>
                    <a:gd name="T15" fmla="*/ 2147483647 h 194"/>
                    <a:gd name="T16" fmla="*/ 2147483647 w 126"/>
                    <a:gd name="T17" fmla="*/ 2147483647 h 194"/>
                    <a:gd name="T18" fmla="*/ 0 w 126"/>
                    <a:gd name="T19" fmla="*/ 2147483647 h 194"/>
                    <a:gd name="T20" fmla="*/ 0 w 126"/>
                    <a:gd name="T21" fmla="*/ 2147483647 h 194"/>
                    <a:gd name="T22" fmla="*/ 0 w 126"/>
                    <a:gd name="T23" fmla="*/ 2147483647 h 194"/>
                    <a:gd name="T24" fmla="*/ 2147483647 w 126"/>
                    <a:gd name="T25" fmla="*/ 2147483647 h 194"/>
                    <a:gd name="T26" fmla="*/ 2147483647 w 126"/>
                    <a:gd name="T27" fmla="*/ 2147483647 h 194"/>
                    <a:gd name="T28" fmla="*/ 0 w 126"/>
                    <a:gd name="T29" fmla="*/ 2147483647 h 194"/>
                    <a:gd name="T30" fmla="*/ 0 w 126"/>
                    <a:gd name="T31" fmla="*/ 2147483647 h 194"/>
                    <a:gd name="T32" fmla="*/ 2147483647 w 126"/>
                    <a:gd name="T33" fmla="*/ 2147483647 h 194"/>
                    <a:gd name="T34" fmla="*/ 2147483647 w 126"/>
                    <a:gd name="T35" fmla="*/ 2147483647 h 194"/>
                    <a:gd name="T36" fmla="*/ 2147483647 w 126"/>
                    <a:gd name="T37" fmla="*/ 2147483647 h 194"/>
                    <a:gd name="T38" fmla="*/ 2147483647 w 126"/>
                    <a:gd name="T39" fmla="*/ 2147483647 h 194"/>
                    <a:gd name="T40" fmla="*/ 0 w 126"/>
                    <a:gd name="T41" fmla="*/ 2147483647 h 194"/>
                    <a:gd name="T42" fmla="*/ 0 w 126"/>
                    <a:gd name="T43" fmla="*/ 2147483647 h 194"/>
                    <a:gd name="T44" fmla="*/ 2147483647 w 126"/>
                    <a:gd name="T45" fmla="*/ 2147483647 h 194"/>
                    <a:gd name="T46" fmla="*/ 2147483647 w 126"/>
                    <a:gd name="T47" fmla="*/ 2147483647 h 194"/>
                    <a:gd name="T48" fmla="*/ 2147483647 w 126"/>
                    <a:gd name="T49" fmla="*/ 2147483647 h 194"/>
                    <a:gd name="T50" fmla="*/ 2147483647 w 126"/>
                    <a:gd name="T51" fmla="*/ 2147483647 h 194"/>
                    <a:gd name="T52" fmla="*/ 0 w 126"/>
                    <a:gd name="T53" fmla="*/ 2147483647 h 194"/>
                    <a:gd name="T54" fmla="*/ 0 w 126"/>
                    <a:gd name="T55" fmla="*/ 2147483647 h 194"/>
                    <a:gd name="T56" fmla="*/ 2147483647 w 126"/>
                    <a:gd name="T57" fmla="*/ 2147483647 h 194"/>
                    <a:gd name="T58" fmla="*/ 2147483647 w 126"/>
                    <a:gd name="T59" fmla="*/ 2147483647 h 194"/>
                    <a:gd name="T60" fmla="*/ 2147483647 w 126"/>
                    <a:gd name="T61" fmla="*/ 2147483647 h 194"/>
                    <a:gd name="T62" fmla="*/ 2147483647 w 126"/>
                    <a:gd name="T63" fmla="*/ 2147483647 h 194"/>
                    <a:gd name="T64" fmla="*/ 0 w 126"/>
                    <a:gd name="T65" fmla="*/ 2147483647 h 194"/>
                    <a:gd name="T66" fmla="*/ 0 w 126"/>
                    <a:gd name="T67" fmla="*/ 2147483647 h 194"/>
                    <a:gd name="T68" fmla="*/ 2147483647 w 126"/>
                    <a:gd name="T69" fmla="*/ 2147483647 h 194"/>
                    <a:gd name="T70" fmla="*/ 2147483647 w 126"/>
                    <a:gd name="T71" fmla="*/ 2147483647 h 194"/>
                    <a:gd name="T72" fmla="*/ 0 w 126"/>
                    <a:gd name="T73" fmla="*/ 2147483647 h 194"/>
                    <a:gd name="T74" fmla="*/ 2147483647 w 126"/>
                    <a:gd name="T75" fmla="*/ 2147483647 h 194"/>
                    <a:gd name="T76" fmla="*/ 2147483647 w 126"/>
                    <a:gd name="T77" fmla="*/ 2147483647 h 194"/>
                    <a:gd name="T78" fmla="*/ 0 w 126"/>
                    <a:gd name="T79" fmla="*/ 2147483647 h 194"/>
                    <a:gd name="T80" fmla="*/ 0 w 126"/>
                    <a:gd name="T81" fmla="*/ 2147483647 h 194"/>
                    <a:gd name="T82" fmla="*/ 0 w 126"/>
                    <a:gd name="T83" fmla="*/ 2147483647 h 194"/>
                    <a:gd name="T84" fmla="*/ 2147483647 w 126"/>
                    <a:gd name="T85" fmla="*/ 2147483647 h 194"/>
                    <a:gd name="T86" fmla="*/ 2147483647 w 126"/>
                    <a:gd name="T87" fmla="*/ 2147483647 h 194"/>
                    <a:gd name="T88" fmla="*/ 0 w 126"/>
                    <a:gd name="T89" fmla="*/ 2147483647 h 194"/>
                    <a:gd name="T90" fmla="*/ 0 w 126"/>
                    <a:gd name="T91" fmla="*/ 2147483647 h 194"/>
                    <a:gd name="T92" fmla="*/ 2147483647 w 126"/>
                    <a:gd name="T93" fmla="*/ 2147483647 h 19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26"/>
                    <a:gd name="T142" fmla="*/ 0 h 194"/>
                    <a:gd name="T143" fmla="*/ 126 w 126"/>
                    <a:gd name="T144" fmla="*/ 194 h 19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26" h="194">
                      <a:moveTo>
                        <a:pt x="0" y="0"/>
                      </a:moveTo>
                      <a:lnTo>
                        <a:pt x="96" y="0"/>
                      </a:lnTo>
                      <a:lnTo>
                        <a:pt x="96" y="8"/>
                      </a:lnTo>
                      <a:lnTo>
                        <a:pt x="0" y="8"/>
                      </a:lnTo>
                      <a:lnTo>
                        <a:pt x="0" y="0"/>
                      </a:lnTo>
                      <a:close/>
                      <a:moveTo>
                        <a:pt x="0" y="26"/>
                      </a:moveTo>
                      <a:lnTo>
                        <a:pt x="126" y="26"/>
                      </a:lnTo>
                      <a:lnTo>
                        <a:pt x="126" y="34"/>
                      </a:lnTo>
                      <a:lnTo>
                        <a:pt x="0" y="34"/>
                      </a:lnTo>
                      <a:lnTo>
                        <a:pt x="0" y="26"/>
                      </a:lnTo>
                      <a:close/>
                      <a:moveTo>
                        <a:pt x="126" y="160"/>
                      </a:moveTo>
                      <a:lnTo>
                        <a:pt x="126" y="168"/>
                      </a:lnTo>
                      <a:lnTo>
                        <a:pt x="0" y="168"/>
                      </a:lnTo>
                      <a:lnTo>
                        <a:pt x="0" y="160"/>
                      </a:lnTo>
                      <a:lnTo>
                        <a:pt x="126" y="160"/>
                      </a:lnTo>
                      <a:close/>
                      <a:moveTo>
                        <a:pt x="126" y="54"/>
                      </a:moveTo>
                      <a:lnTo>
                        <a:pt x="126" y="62"/>
                      </a:lnTo>
                      <a:lnTo>
                        <a:pt x="0" y="62"/>
                      </a:lnTo>
                      <a:lnTo>
                        <a:pt x="0" y="54"/>
                      </a:lnTo>
                      <a:lnTo>
                        <a:pt x="126" y="54"/>
                      </a:lnTo>
                      <a:close/>
                      <a:moveTo>
                        <a:pt x="126" y="106"/>
                      </a:moveTo>
                      <a:lnTo>
                        <a:pt x="126" y="114"/>
                      </a:lnTo>
                      <a:lnTo>
                        <a:pt x="0" y="114"/>
                      </a:lnTo>
                      <a:lnTo>
                        <a:pt x="0" y="106"/>
                      </a:lnTo>
                      <a:lnTo>
                        <a:pt x="126" y="106"/>
                      </a:lnTo>
                      <a:close/>
                      <a:moveTo>
                        <a:pt x="126" y="132"/>
                      </a:moveTo>
                      <a:lnTo>
                        <a:pt x="126" y="142"/>
                      </a:lnTo>
                      <a:lnTo>
                        <a:pt x="0" y="142"/>
                      </a:lnTo>
                      <a:lnTo>
                        <a:pt x="0" y="132"/>
                      </a:lnTo>
                      <a:lnTo>
                        <a:pt x="126" y="132"/>
                      </a:lnTo>
                      <a:close/>
                      <a:moveTo>
                        <a:pt x="0" y="186"/>
                      </a:moveTo>
                      <a:lnTo>
                        <a:pt x="126" y="186"/>
                      </a:lnTo>
                      <a:lnTo>
                        <a:pt x="126" y="194"/>
                      </a:lnTo>
                      <a:lnTo>
                        <a:pt x="0" y="194"/>
                      </a:lnTo>
                      <a:lnTo>
                        <a:pt x="0" y="186"/>
                      </a:lnTo>
                      <a:close/>
                      <a:moveTo>
                        <a:pt x="126" y="80"/>
                      </a:moveTo>
                      <a:lnTo>
                        <a:pt x="126" y="88"/>
                      </a:lnTo>
                      <a:lnTo>
                        <a:pt x="0" y="88"/>
                      </a:lnTo>
                      <a:lnTo>
                        <a:pt x="0" y="80"/>
                      </a:lnTo>
                      <a:lnTo>
                        <a:pt x="126" y="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tr-TR"/>
                </a:p>
              </p:txBody>
            </p:sp>
          </p:grpSp>
          <p:sp>
            <p:nvSpPr>
              <p:cNvPr id="101" name="Ellipse 45"/>
              <p:cNvSpPr/>
              <p:nvPr/>
            </p:nvSpPr>
            <p:spPr bwMode="auto">
              <a:xfrm>
                <a:off x="4162078" y="2430178"/>
                <a:ext cx="723221" cy="540089"/>
              </a:xfrm>
              <a:prstGeom prst="ellipse">
                <a:avLst/>
              </a:prstGeom>
              <a:gradFill flip="none" rotWithShape="1">
                <a:gsLst>
                  <a:gs pos="0">
                    <a:srgbClr val="FFFFFF">
                      <a:lumMod val="40000"/>
                      <a:lumOff val="60000"/>
                      <a:alpha val="0"/>
                    </a:srgbClr>
                  </a:gs>
                  <a:gs pos="100000">
                    <a:srgbClr val="FFFCF9">
                      <a:alpha val="77000"/>
                    </a:srgbClr>
                  </a:gs>
                </a:gsLst>
                <a:lin ang="16200000" scaled="0"/>
                <a:tileRect/>
              </a:gradFill>
              <a:ln w="9525" cap="flat" cmpd="sng" algn="ctr">
                <a:noFill/>
                <a:prstDash val="solid"/>
              </a:ln>
              <a:effectLst/>
            </p:spPr>
            <p:txBody>
              <a:bodyPr anchor="ctr"/>
              <a:lstStyle/>
              <a:p>
                <a:pPr algn="ctr" fontAlgn="auto">
                  <a:spcBef>
                    <a:spcPts val="0"/>
                  </a:spcBef>
                  <a:spcAft>
                    <a:spcPts val="0"/>
                  </a:spcAft>
                  <a:defRPr/>
                </a:pPr>
                <a:endParaRPr lang="da-DK" kern="0" dirty="0">
                  <a:solidFill>
                    <a:sysClr val="window" lastClr="FFFFFF"/>
                  </a:solidFill>
                  <a:latin typeface="Calibri"/>
                  <a:ea typeface="ＭＳ Ｐゴシック" pitchFamily="-97" charset="-128"/>
                  <a:cs typeface="+mn-cs"/>
                </a:endParaRPr>
              </a:p>
            </p:txBody>
          </p:sp>
        </p:grpSp>
        <p:sp>
          <p:nvSpPr>
            <p:cNvPr id="98" name="Ellipse 395"/>
            <p:cNvSpPr/>
            <p:nvPr/>
          </p:nvSpPr>
          <p:spPr bwMode="auto">
            <a:xfrm>
              <a:off x="3584575" y="5426212"/>
              <a:ext cx="1966913" cy="257038"/>
            </a:xfrm>
            <a:prstGeom prst="ellipse">
              <a:avLst/>
            </a:prstGeom>
            <a:gradFill flip="none" rotWithShape="1">
              <a:gsLst>
                <a:gs pos="24000">
                  <a:sysClr val="windowText" lastClr="000000">
                    <a:alpha val="22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fontAlgn="auto">
                <a:spcBef>
                  <a:spcPts val="0"/>
                </a:spcBef>
                <a:spcAft>
                  <a:spcPts val="0"/>
                </a:spcAft>
                <a:defRPr/>
              </a:pPr>
              <a:endParaRPr lang="da-DK" kern="0" dirty="0" err="1">
                <a:solidFill>
                  <a:sysClr val="window" lastClr="FFFFFF"/>
                </a:solidFill>
                <a:latin typeface="Calibri"/>
                <a:ea typeface="ＭＳ Ｐゴシック" pitchFamily="-97" charset="-128"/>
                <a:cs typeface="+mn-cs"/>
              </a:endParaRPr>
            </a:p>
          </p:txBody>
        </p:sp>
      </p:grpSp>
      <p:grpSp>
        <p:nvGrpSpPr>
          <p:cNvPr id="2" name="Grup 1"/>
          <p:cNvGrpSpPr/>
          <p:nvPr/>
        </p:nvGrpSpPr>
        <p:grpSpPr>
          <a:xfrm>
            <a:off x="902856" y="820645"/>
            <a:ext cx="6621472" cy="1804865"/>
            <a:chOff x="887274" y="749887"/>
            <a:chExt cx="6621472" cy="1804865"/>
          </a:xfrm>
        </p:grpSpPr>
        <p:grpSp>
          <p:nvGrpSpPr>
            <p:cNvPr id="107" name="Grup 106"/>
            <p:cNvGrpSpPr/>
            <p:nvPr/>
          </p:nvGrpSpPr>
          <p:grpSpPr>
            <a:xfrm>
              <a:off x="887274" y="749887"/>
              <a:ext cx="6621472" cy="1804865"/>
              <a:chOff x="876161" y="570488"/>
              <a:chExt cx="6621472" cy="1804865"/>
            </a:xfrm>
          </p:grpSpPr>
          <p:sp>
            <p:nvSpPr>
              <p:cNvPr id="108" name="Rounded Rectangle 4"/>
              <p:cNvSpPr>
                <a:spLocks noChangeArrowheads="1"/>
              </p:cNvSpPr>
              <p:nvPr/>
            </p:nvSpPr>
            <p:spPr bwMode="auto">
              <a:xfrm>
                <a:off x="876161" y="570488"/>
                <a:ext cx="6621472" cy="1804865"/>
              </a:xfrm>
              <a:prstGeom prst="roundRect">
                <a:avLst>
                  <a:gd name="adj" fmla="val 9843"/>
                </a:avLst>
              </a:prstGeom>
              <a:solidFill>
                <a:srgbClr val="FFFFFF"/>
              </a:solidFill>
              <a:ln w="6350">
                <a:solidFill>
                  <a:srgbClr val="D9D9D9"/>
                </a:solidFill>
                <a:round/>
                <a:headEnd/>
                <a:tailEnd/>
              </a:ln>
            </p:spPr>
            <p:txBody>
              <a:bodyPr anchor="ctr"/>
              <a:lstStyle/>
              <a:p>
                <a:pPr algn="ctr" defTabSz="457200" eaLnBrk="1" hangingPunct="1"/>
                <a:endParaRPr lang="tr-TR">
                  <a:solidFill>
                    <a:srgbClr val="FFFFFF"/>
                  </a:solidFill>
                </a:endParaRPr>
              </a:p>
            </p:txBody>
          </p:sp>
          <p:sp>
            <p:nvSpPr>
              <p:cNvPr id="109" name="Dikdörtgen 108"/>
              <p:cNvSpPr/>
              <p:nvPr/>
            </p:nvSpPr>
            <p:spPr>
              <a:xfrm>
                <a:off x="977708" y="620522"/>
                <a:ext cx="6087877" cy="1631216"/>
              </a:xfrm>
              <a:prstGeom prst="rect">
                <a:avLst/>
              </a:prstGeom>
            </p:spPr>
            <p:txBody>
              <a:bodyPr wrap="square">
                <a:spAutoFit/>
              </a:bodyPr>
              <a:lstStyle/>
              <a:p>
                <a:pPr marL="342900" lvl="0" indent="-342900">
                  <a:buFont typeface="Arial" pitchFamily="34" charset="0"/>
                  <a:buChar char="•"/>
                  <a:defRPr/>
                </a:pPr>
                <a:r>
                  <a:rPr lang="tr-TR" sz="2000" kern="0" dirty="0">
                    <a:solidFill>
                      <a:prstClr val="black"/>
                    </a:solidFill>
                  </a:rPr>
                  <a:t>Gelişmiş bilgi işlem sistemi</a:t>
                </a:r>
              </a:p>
              <a:p>
                <a:pPr marL="342900" lvl="0" indent="-342900">
                  <a:buFont typeface="Arial" pitchFamily="34" charset="0"/>
                  <a:buChar char="•"/>
                  <a:defRPr/>
                </a:pPr>
                <a:r>
                  <a:rPr lang="tr-TR" sz="2000" kern="0" dirty="0">
                    <a:solidFill>
                      <a:prstClr val="black"/>
                    </a:solidFill>
                  </a:rPr>
                  <a:t>Doğrudan bağlantı </a:t>
                </a:r>
              </a:p>
              <a:p>
                <a:pPr marL="342900" lvl="0" indent="-342900">
                  <a:buFont typeface="Arial" pitchFamily="34" charset="0"/>
                  <a:buChar char="•"/>
                  <a:defRPr/>
                </a:pPr>
                <a:r>
                  <a:rPr lang="tr-TR" sz="2000" kern="0" dirty="0">
                    <a:solidFill>
                      <a:prstClr val="black"/>
                    </a:solidFill>
                  </a:rPr>
                  <a:t>E-imza/mali mühür</a:t>
                </a:r>
              </a:p>
              <a:p>
                <a:pPr marL="342900" lvl="0" indent="-342900">
                  <a:buFont typeface="Arial" pitchFamily="34" charset="0"/>
                  <a:buChar char="•"/>
                  <a:defRPr/>
                </a:pPr>
                <a:r>
                  <a:rPr lang="tr-TR" sz="2000" kern="0" dirty="0">
                    <a:solidFill>
                      <a:prstClr val="black"/>
                    </a:solidFill>
                  </a:rPr>
                  <a:t>Arşivleme </a:t>
                </a:r>
              </a:p>
              <a:p>
                <a:pPr marL="342900" lvl="0" indent="-342900">
                  <a:buFont typeface="Arial" pitchFamily="34" charset="0"/>
                  <a:buChar char="•"/>
                  <a:defRPr/>
                </a:pPr>
                <a:r>
                  <a:rPr lang="tr-TR" sz="2000" kern="0" dirty="0">
                    <a:solidFill>
                      <a:prstClr val="black"/>
                    </a:solidFill>
                  </a:rPr>
                  <a:t>Büyük işletmeler için uygun</a:t>
                </a:r>
              </a:p>
            </p:txBody>
          </p:sp>
        </p:grpSp>
        <p:pic>
          <p:nvPicPr>
            <p:cNvPr id="111"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798646" y="1124016"/>
              <a:ext cx="3405174" cy="98302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2003502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Billede 32" descr="Blue sky Corner.jpg"/>
          <p:cNvPicPr>
            <a:picLocks noChangeAspect="1"/>
          </p:cNvPicPr>
          <p:nvPr/>
        </p:nvPicPr>
        <p:blipFill>
          <a:blip r:embed="rId3"/>
          <a:srcRect/>
          <a:stretch>
            <a:fillRect/>
          </a:stretch>
        </p:blipFill>
        <p:spPr bwMode="auto">
          <a:xfrm>
            <a:off x="6341" y="-2020"/>
            <a:ext cx="9144000" cy="5255060"/>
          </a:xfrm>
          <a:prstGeom prst="rect">
            <a:avLst/>
          </a:prstGeom>
          <a:noFill/>
          <a:ln w="9525">
            <a:noFill/>
            <a:miter lim="800000"/>
            <a:headEnd/>
            <a:tailEnd/>
          </a:ln>
        </p:spPr>
      </p:pic>
      <p:grpSp>
        <p:nvGrpSpPr>
          <p:cNvPr id="147" name="Grup 146"/>
          <p:cNvGrpSpPr/>
          <p:nvPr/>
        </p:nvGrpSpPr>
        <p:grpSpPr>
          <a:xfrm>
            <a:off x="4638276" y="3592945"/>
            <a:ext cx="4502199" cy="3265055"/>
            <a:chOff x="4638276" y="3025959"/>
            <a:chExt cx="4502199" cy="3832041"/>
          </a:xfrm>
          <a:solidFill>
            <a:schemeClr val="tx2">
              <a:lumMod val="75000"/>
            </a:schemeClr>
          </a:solidFill>
        </p:grpSpPr>
        <p:sp>
          <p:nvSpPr>
            <p:cNvPr id="150" name="Freeform 69"/>
            <p:cNvSpPr>
              <a:spLocks/>
            </p:cNvSpPr>
            <p:nvPr/>
          </p:nvSpPr>
          <p:spPr bwMode="auto">
            <a:xfrm>
              <a:off x="4666480" y="3025959"/>
              <a:ext cx="4473994" cy="2342048"/>
            </a:xfrm>
            <a:custGeom>
              <a:avLst/>
              <a:gdLst/>
              <a:ahLst/>
              <a:cxnLst>
                <a:cxn ang="0">
                  <a:pos x="2538" y="1530"/>
                </a:cxn>
                <a:cxn ang="0">
                  <a:pos x="2538" y="0"/>
                </a:cxn>
                <a:cxn ang="0">
                  <a:pos x="0" y="0"/>
                </a:cxn>
                <a:cxn ang="0">
                  <a:pos x="2538" y="1530"/>
                </a:cxn>
              </a:cxnLst>
              <a:rect l="0" t="0" r="r" b="b"/>
              <a:pathLst>
                <a:path w="2538" h="1530">
                  <a:moveTo>
                    <a:pt x="2538" y="1530"/>
                  </a:moveTo>
                  <a:lnTo>
                    <a:pt x="2538" y="0"/>
                  </a:lnTo>
                  <a:lnTo>
                    <a:pt x="0" y="0"/>
                  </a:lnTo>
                  <a:lnTo>
                    <a:pt x="2538" y="1530"/>
                  </a:lnTo>
                  <a:close/>
                </a:path>
              </a:pathLst>
            </a:custGeom>
            <a:grpFill/>
            <a:ln w="28575" cap="flat" cmpd="sng" algn="ctr">
              <a:noFill/>
              <a:prstDash val="solid"/>
            </a:ln>
            <a:effectLst/>
          </p:spPr>
          <p:txBody>
            <a:bodyPr anchor="ctr"/>
            <a:lstStyle/>
            <a:p>
              <a:pPr algn="ctr" fontAlgn="auto">
                <a:spcBef>
                  <a:spcPts val="0"/>
                </a:spcBef>
                <a:spcAft>
                  <a:spcPts val="0"/>
                </a:spcAft>
                <a:defRPr/>
              </a:pPr>
              <a:endParaRPr lang="da-DK" kern="0">
                <a:solidFill>
                  <a:sysClr val="window" lastClr="FFFFFF"/>
                </a:solidFill>
                <a:latin typeface="Calibri"/>
              </a:endParaRPr>
            </a:p>
          </p:txBody>
        </p:sp>
        <p:sp>
          <p:nvSpPr>
            <p:cNvPr id="151" name="Freeform 71"/>
            <p:cNvSpPr>
              <a:spLocks/>
            </p:cNvSpPr>
            <p:nvPr/>
          </p:nvSpPr>
          <p:spPr bwMode="auto">
            <a:xfrm>
              <a:off x="4638276" y="3028900"/>
              <a:ext cx="4502199" cy="3829100"/>
            </a:xfrm>
            <a:custGeom>
              <a:avLst/>
              <a:gdLst/>
              <a:ahLst/>
              <a:cxnLst>
                <a:cxn ang="0">
                  <a:pos x="1230" y="2604"/>
                </a:cxn>
                <a:cxn ang="0">
                  <a:pos x="1230" y="2604"/>
                </a:cxn>
                <a:cxn ang="0">
                  <a:pos x="2554" y="2604"/>
                </a:cxn>
                <a:cxn ang="0">
                  <a:pos x="2554" y="1540"/>
                </a:cxn>
                <a:cxn ang="0">
                  <a:pos x="0" y="0"/>
                </a:cxn>
                <a:cxn ang="0">
                  <a:pos x="1230" y="2604"/>
                </a:cxn>
              </a:cxnLst>
              <a:rect l="0" t="0" r="r" b="b"/>
              <a:pathLst>
                <a:path w="2554" h="2604">
                  <a:moveTo>
                    <a:pt x="1230" y="2604"/>
                  </a:moveTo>
                  <a:lnTo>
                    <a:pt x="1230" y="2604"/>
                  </a:lnTo>
                  <a:lnTo>
                    <a:pt x="2554" y="2604"/>
                  </a:lnTo>
                  <a:lnTo>
                    <a:pt x="2554" y="1540"/>
                  </a:lnTo>
                  <a:lnTo>
                    <a:pt x="0" y="0"/>
                  </a:lnTo>
                  <a:lnTo>
                    <a:pt x="1230" y="2604"/>
                  </a:lnTo>
                  <a:close/>
                </a:path>
              </a:pathLst>
            </a:custGeom>
            <a:grpFill/>
            <a:ln w="28575" cap="flat" cmpd="sng" algn="ctr">
              <a:noFill/>
              <a:prstDash val="solid"/>
            </a:ln>
            <a:effectLst/>
          </p:spPr>
          <p:txBody>
            <a:bodyPr anchor="ctr"/>
            <a:lstStyle/>
            <a:p>
              <a:pPr algn="ctr" fontAlgn="auto">
                <a:spcBef>
                  <a:spcPts val="0"/>
                </a:spcBef>
                <a:spcAft>
                  <a:spcPts val="0"/>
                </a:spcAft>
                <a:defRPr/>
              </a:pPr>
              <a:endParaRPr lang="da-DK" kern="0">
                <a:solidFill>
                  <a:sysClr val="window" lastClr="FFFFFF"/>
                </a:solidFill>
                <a:latin typeface="Calibri"/>
              </a:endParaRPr>
            </a:p>
          </p:txBody>
        </p:sp>
      </p:grpSp>
      <p:grpSp>
        <p:nvGrpSpPr>
          <p:cNvPr id="159" name="Grup 158"/>
          <p:cNvGrpSpPr/>
          <p:nvPr/>
        </p:nvGrpSpPr>
        <p:grpSpPr>
          <a:xfrm>
            <a:off x="2104" y="3592945"/>
            <a:ext cx="4604441" cy="3265055"/>
            <a:chOff x="2104" y="3025959"/>
            <a:chExt cx="4604441" cy="3832041"/>
          </a:xfrm>
          <a:solidFill>
            <a:schemeClr val="tx2">
              <a:lumMod val="50000"/>
            </a:schemeClr>
          </a:solidFill>
        </p:grpSpPr>
        <p:sp>
          <p:nvSpPr>
            <p:cNvPr id="160" name="Freeform 68"/>
            <p:cNvSpPr>
              <a:spLocks/>
            </p:cNvSpPr>
            <p:nvPr/>
          </p:nvSpPr>
          <p:spPr bwMode="auto">
            <a:xfrm>
              <a:off x="2104" y="3028900"/>
              <a:ext cx="4604441" cy="3829100"/>
            </a:xfrm>
            <a:custGeom>
              <a:avLst/>
              <a:gdLst/>
              <a:ahLst/>
              <a:cxnLst>
                <a:cxn ang="0">
                  <a:pos x="0" y="1562"/>
                </a:cxn>
                <a:cxn ang="0">
                  <a:pos x="0" y="2604"/>
                </a:cxn>
                <a:cxn ang="0">
                  <a:pos x="1272" y="2604"/>
                </a:cxn>
                <a:cxn ang="0">
                  <a:pos x="2612" y="0"/>
                </a:cxn>
                <a:cxn ang="0">
                  <a:pos x="0" y="1562"/>
                </a:cxn>
              </a:cxnLst>
              <a:rect l="0" t="0" r="r" b="b"/>
              <a:pathLst>
                <a:path w="2612" h="2604">
                  <a:moveTo>
                    <a:pt x="0" y="1562"/>
                  </a:moveTo>
                  <a:lnTo>
                    <a:pt x="0" y="2604"/>
                  </a:lnTo>
                  <a:lnTo>
                    <a:pt x="1272" y="2604"/>
                  </a:lnTo>
                  <a:lnTo>
                    <a:pt x="2612" y="0"/>
                  </a:lnTo>
                  <a:lnTo>
                    <a:pt x="0" y="1562"/>
                  </a:lnTo>
                  <a:close/>
                </a:path>
              </a:pathLst>
            </a:custGeom>
            <a:solidFill>
              <a:schemeClr val="bg1">
                <a:lumMod val="95000"/>
              </a:schemeClr>
            </a:solidFill>
            <a:ln w="28575" cap="flat" cmpd="sng" algn="ctr">
              <a:noFill/>
              <a:prstDash val="solid"/>
            </a:ln>
            <a:effectLst/>
          </p:spPr>
          <p:txBody>
            <a:bodyPr anchor="ctr"/>
            <a:lstStyle/>
            <a:p>
              <a:pPr algn="ctr" fontAlgn="auto">
                <a:spcBef>
                  <a:spcPts val="0"/>
                </a:spcBef>
                <a:spcAft>
                  <a:spcPts val="0"/>
                </a:spcAft>
              </a:pPr>
              <a:endParaRPr lang="da-DK" kern="0">
                <a:solidFill>
                  <a:sysClr val="window" lastClr="FFFFFF"/>
                </a:solidFill>
                <a:latin typeface="Calibri"/>
              </a:endParaRPr>
            </a:p>
          </p:txBody>
        </p:sp>
        <p:sp>
          <p:nvSpPr>
            <p:cNvPr id="161" name="Freeform 72"/>
            <p:cNvSpPr>
              <a:spLocks/>
            </p:cNvSpPr>
            <p:nvPr/>
          </p:nvSpPr>
          <p:spPr bwMode="auto">
            <a:xfrm>
              <a:off x="2104" y="3025959"/>
              <a:ext cx="4576237" cy="2342048"/>
            </a:xfrm>
            <a:custGeom>
              <a:avLst/>
              <a:gdLst/>
              <a:ahLst/>
              <a:cxnLst>
                <a:cxn ang="0">
                  <a:pos x="2592" y="0"/>
                </a:cxn>
                <a:cxn ang="0">
                  <a:pos x="0" y="0"/>
                </a:cxn>
                <a:cxn ang="0">
                  <a:pos x="0" y="1552"/>
                </a:cxn>
                <a:cxn ang="0">
                  <a:pos x="2596" y="0"/>
                </a:cxn>
                <a:cxn ang="0">
                  <a:pos x="2592" y="0"/>
                </a:cxn>
              </a:cxnLst>
              <a:rect l="0" t="0" r="r" b="b"/>
              <a:pathLst>
                <a:path w="2596" h="1552">
                  <a:moveTo>
                    <a:pt x="2592" y="0"/>
                  </a:moveTo>
                  <a:lnTo>
                    <a:pt x="0" y="0"/>
                  </a:lnTo>
                  <a:lnTo>
                    <a:pt x="0" y="1552"/>
                  </a:lnTo>
                  <a:lnTo>
                    <a:pt x="2596" y="0"/>
                  </a:lnTo>
                  <a:lnTo>
                    <a:pt x="2592" y="0"/>
                  </a:lnTo>
                  <a:close/>
                </a:path>
              </a:pathLst>
            </a:custGeom>
            <a:solidFill>
              <a:schemeClr val="bg1">
                <a:lumMod val="95000"/>
              </a:schemeClr>
            </a:solidFill>
            <a:ln w="28575" cap="flat" cmpd="sng" algn="ctr">
              <a:noFill/>
              <a:prstDash val="solid"/>
            </a:ln>
            <a:effectLst/>
          </p:spPr>
          <p:txBody>
            <a:bodyPr anchor="ctr"/>
            <a:lstStyle/>
            <a:p>
              <a:pPr algn="ctr" fontAlgn="auto">
                <a:spcBef>
                  <a:spcPts val="0"/>
                </a:spcBef>
                <a:spcAft>
                  <a:spcPts val="0"/>
                </a:spcAft>
              </a:pPr>
              <a:endParaRPr lang="da-DK" kern="0">
                <a:solidFill>
                  <a:sysClr val="window" lastClr="FFFFFF"/>
                </a:solidFill>
                <a:latin typeface="Calibri"/>
              </a:endParaRPr>
            </a:p>
          </p:txBody>
        </p:sp>
      </p:grpSp>
      <p:sp>
        <p:nvSpPr>
          <p:cNvPr id="146" name="Freeform 70"/>
          <p:cNvSpPr>
            <a:spLocks/>
          </p:cNvSpPr>
          <p:nvPr/>
        </p:nvSpPr>
        <p:spPr bwMode="auto">
          <a:xfrm>
            <a:off x="2262017" y="3597956"/>
            <a:ext cx="4526878" cy="3260044"/>
          </a:xfrm>
          <a:custGeom>
            <a:avLst/>
            <a:gdLst/>
            <a:ahLst/>
            <a:cxnLst>
              <a:cxn ang="0">
                <a:pos x="0" y="2602"/>
              </a:cxn>
              <a:cxn ang="0">
                <a:pos x="2568" y="2602"/>
              </a:cxn>
              <a:cxn ang="0">
                <a:pos x="1338" y="0"/>
              </a:cxn>
              <a:cxn ang="0">
                <a:pos x="0" y="2602"/>
              </a:cxn>
            </a:cxnLst>
            <a:rect l="0" t="0" r="r" b="b"/>
            <a:pathLst>
              <a:path w="2568" h="2602">
                <a:moveTo>
                  <a:pt x="0" y="2602"/>
                </a:moveTo>
                <a:lnTo>
                  <a:pt x="2568" y="2602"/>
                </a:lnTo>
                <a:lnTo>
                  <a:pt x="1338" y="0"/>
                </a:lnTo>
                <a:lnTo>
                  <a:pt x="0" y="2602"/>
                </a:lnTo>
                <a:close/>
              </a:path>
            </a:pathLst>
          </a:custGeom>
          <a:gradFill rotWithShape="1">
            <a:gsLst>
              <a:gs pos="0">
                <a:srgbClr val="E6E6E6">
                  <a:tint val="100000"/>
                  <a:shade val="100000"/>
                  <a:satMod val="130000"/>
                </a:srgbClr>
              </a:gs>
              <a:gs pos="100000">
                <a:srgbClr val="E6E6E6">
                  <a:tint val="50000"/>
                  <a:shade val="100000"/>
                  <a:satMod val="350000"/>
                </a:srgbClr>
              </a:gs>
            </a:gsLst>
            <a:lin ang="16200000" scaled="0"/>
          </a:gradFill>
          <a:ln w="28575" cap="flat" cmpd="sng" algn="ctr">
            <a:gradFill flip="none" rotWithShape="1">
              <a:gsLst>
                <a:gs pos="50000">
                  <a:schemeClr val="accent5">
                    <a:lumMod val="60000"/>
                    <a:lumOff val="40000"/>
                  </a:schemeClr>
                </a:gs>
                <a:gs pos="100000">
                  <a:srgbClr val="002060"/>
                </a:gs>
              </a:gsLst>
              <a:lin ang="5400000" scaled="1"/>
              <a:tileRect/>
            </a:gradFill>
            <a:prstDash val="solid"/>
          </a:ln>
          <a:effectLst/>
        </p:spPr>
        <p:txBody>
          <a:bodyPr anchor="ctr"/>
          <a:lstStyle/>
          <a:p>
            <a:pPr algn="ctr" fontAlgn="auto">
              <a:spcBef>
                <a:spcPts val="0"/>
              </a:spcBef>
              <a:spcAft>
                <a:spcPts val="0"/>
              </a:spcAft>
              <a:defRPr/>
            </a:pPr>
            <a:endParaRPr lang="da-DK" kern="0" dirty="0">
              <a:solidFill>
                <a:sysClr val="window" lastClr="FFFFFF"/>
              </a:solidFill>
              <a:latin typeface="Calibri"/>
            </a:endParaRPr>
          </a:p>
        </p:txBody>
      </p:sp>
      <p:sp>
        <p:nvSpPr>
          <p:cNvPr id="15" name="Rektangel 14"/>
          <p:cNvSpPr/>
          <p:nvPr/>
        </p:nvSpPr>
        <p:spPr bwMode="auto">
          <a:xfrm>
            <a:off x="3563888" y="5099682"/>
            <a:ext cx="1977579" cy="461665"/>
          </a:xfrm>
          <a:prstGeom prst="rect">
            <a:avLst/>
          </a:prstGeom>
        </p:spPr>
        <p:txBody>
          <a:bodyPr wrap="square">
            <a:spAutoFit/>
          </a:bodyPr>
          <a:lstStyle/>
          <a:p>
            <a:pPr algn="ctr" fontAlgn="auto">
              <a:spcBef>
                <a:spcPts val="0"/>
              </a:spcBef>
              <a:spcAft>
                <a:spcPts val="0"/>
              </a:spcAft>
              <a:defRPr/>
            </a:pPr>
            <a:r>
              <a:rPr lang="tr-TR" sz="2400" b="1" kern="0" noProof="1" smtClean="0">
                <a:solidFill>
                  <a:schemeClr val="tx2">
                    <a:lumMod val="50000"/>
                  </a:schemeClr>
                </a:solidFill>
                <a:latin typeface="Calibri" pitchFamily="34" charset="0"/>
                <a:cs typeface="Arial" charset="0"/>
              </a:rPr>
              <a:t>Entegrasyon</a:t>
            </a:r>
            <a:endParaRPr lang="da-DK" sz="2800" kern="0" dirty="0">
              <a:solidFill>
                <a:schemeClr val="tx2">
                  <a:lumMod val="50000"/>
                </a:schemeClr>
              </a:solidFill>
              <a:latin typeface="Arial" pitchFamily="34" charset="0"/>
            </a:endParaRPr>
          </a:p>
        </p:txBody>
      </p:sp>
      <p:grpSp>
        <p:nvGrpSpPr>
          <p:cNvPr id="3099" name="Gruppe 158"/>
          <p:cNvGrpSpPr>
            <a:grpSpLocks/>
          </p:cNvGrpSpPr>
          <p:nvPr/>
        </p:nvGrpSpPr>
        <p:grpSpPr bwMode="auto">
          <a:xfrm>
            <a:off x="4791868" y="5703248"/>
            <a:ext cx="1376362" cy="1143000"/>
            <a:chOff x="1957594" y="3932767"/>
            <a:chExt cx="1651328" cy="1371122"/>
          </a:xfrm>
        </p:grpSpPr>
        <p:grpSp>
          <p:nvGrpSpPr>
            <p:cNvPr id="20" name="Gruppe 376"/>
            <p:cNvGrpSpPr/>
            <p:nvPr/>
          </p:nvGrpSpPr>
          <p:grpSpPr>
            <a:xfrm>
              <a:off x="2620111" y="3932767"/>
              <a:ext cx="988811" cy="971071"/>
              <a:chOff x="2360448" y="750203"/>
              <a:chExt cx="4325435" cy="4247827"/>
            </a:xfrm>
            <a:solidFill>
              <a:schemeClr val="tx1"/>
            </a:solidFill>
            <a:effectLst>
              <a:outerShdw blurRad="50800" dist="38100" dir="2700000" algn="tl" rotWithShape="0">
                <a:prstClr val="black">
                  <a:alpha val="40000"/>
                </a:prstClr>
              </a:outerShdw>
            </a:effectLst>
          </p:grpSpPr>
          <p:sp>
            <p:nvSpPr>
              <p:cNvPr id="126" name="Blokbue 125"/>
              <p:cNvSpPr/>
              <p:nvPr/>
            </p:nvSpPr>
            <p:spPr bwMode="auto">
              <a:xfrm rot="10843925">
                <a:off x="2516174" y="1020923"/>
                <a:ext cx="3842697" cy="3842328"/>
              </a:xfrm>
              <a:prstGeom prst="blockArc">
                <a:avLst>
                  <a:gd name="adj1" fmla="val 12299351"/>
                  <a:gd name="adj2" fmla="val 15897654"/>
                  <a:gd name="adj3" fmla="val 26577"/>
                </a:avLst>
              </a:prstGeom>
              <a:solidFill>
                <a:schemeClr val="accent1">
                  <a:lumMod val="20000"/>
                  <a:lumOff val="80000"/>
                </a:schemeClr>
              </a:solidFill>
              <a:ln w="3175" cap="flat" cmpd="sng">
                <a:solidFill>
                  <a:schemeClr val="bg1">
                    <a:lumMod val="50000"/>
                  </a:schemeClr>
                </a:solidFill>
                <a:prstDash val="solid"/>
                <a:round/>
                <a:headEnd type="none" w="med" len="med"/>
                <a:tailEnd type="none" w="med" len="med"/>
              </a:ln>
              <a:effectLst/>
            </p:spPr>
            <p:txBody>
              <a:bodyPr/>
              <a:lstStyle/>
              <a:p>
                <a:pPr fontAlgn="auto">
                  <a:spcBef>
                    <a:spcPts val="0"/>
                  </a:spcBef>
                  <a:spcAft>
                    <a:spcPts val="0"/>
                  </a:spcAft>
                  <a:defRPr/>
                </a:pPr>
                <a:endParaRPr lang="da-DK" kern="0">
                  <a:solidFill>
                    <a:sysClr val="windowText" lastClr="000000">
                      <a:lumMod val="95000"/>
                      <a:lumOff val="5000"/>
                    </a:sysClr>
                  </a:solidFill>
                  <a:latin typeface="Calibri"/>
                </a:endParaRPr>
              </a:p>
            </p:txBody>
          </p:sp>
          <p:sp>
            <p:nvSpPr>
              <p:cNvPr id="127" name="Blokbue 126"/>
              <p:cNvSpPr/>
              <p:nvPr/>
            </p:nvSpPr>
            <p:spPr bwMode="auto">
              <a:xfrm rot="14446858">
                <a:off x="2411090" y="1028057"/>
                <a:ext cx="3842697" cy="3842328"/>
              </a:xfrm>
              <a:prstGeom prst="blockArc">
                <a:avLst>
                  <a:gd name="adj1" fmla="val 12299351"/>
                  <a:gd name="adj2" fmla="val 15897654"/>
                  <a:gd name="adj3" fmla="val 26577"/>
                </a:avLst>
              </a:prstGeom>
              <a:solidFill>
                <a:schemeClr val="accent1">
                  <a:lumMod val="20000"/>
                  <a:lumOff val="80000"/>
                </a:schemeClr>
              </a:solidFill>
              <a:ln w="3175" cap="flat" cmpd="sng">
                <a:solidFill>
                  <a:schemeClr val="bg1">
                    <a:lumMod val="50000"/>
                  </a:schemeClr>
                </a:solidFill>
                <a:prstDash val="solid"/>
                <a:round/>
                <a:headEnd type="none" w="med" len="med"/>
                <a:tailEnd type="none" w="med" len="med"/>
              </a:ln>
              <a:effectLst/>
            </p:spPr>
            <p:txBody>
              <a:bodyPr/>
              <a:lstStyle/>
              <a:p>
                <a:pPr fontAlgn="auto">
                  <a:spcBef>
                    <a:spcPts val="0"/>
                  </a:spcBef>
                  <a:spcAft>
                    <a:spcPts val="0"/>
                  </a:spcAft>
                  <a:defRPr/>
                </a:pPr>
                <a:endParaRPr lang="da-DK" kern="0">
                  <a:solidFill>
                    <a:sysClr val="windowText" lastClr="000000">
                      <a:lumMod val="95000"/>
                      <a:lumOff val="5000"/>
                    </a:sysClr>
                  </a:solidFill>
                  <a:latin typeface="Calibri"/>
                </a:endParaRPr>
              </a:p>
            </p:txBody>
          </p:sp>
          <p:sp>
            <p:nvSpPr>
              <p:cNvPr id="128" name="Blokbue 127"/>
              <p:cNvSpPr/>
              <p:nvPr/>
            </p:nvSpPr>
            <p:spPr bwMode="auto">
              <a:xfrm rot="18033862">
                <a:off x="2382907" y="921207"/>
                <a:ext cx="3842328" cy="3842697"/>
              </a:xfrm>
              <a:prstGeom prst="blockArc">
                <a:avLst>
                  <a:gd name="adj1" fmla="val 12299351"/>
                  <a:gd name="adj2" fmla="val 15897654"/>
                  <a:gd name="adj3" fmla="val 26577"/>
                </a:avLst>
              </a:prstGeom>
              <a:solidFill>
                <a:schemeClr val="accent1">
                  <a:lumMod val="20000"/>
                  <a:lumOff val="80000"/>
                </a:schemeClr>
              </a:solidFill>
              <a:ln w="3175" cap="flat" cmpd="sng">
                <a:solidFill>
                  <a:schemeClr val="bg1">
                    <a:lumMod val="50000"/>
                  </a:schemeClr>
                </a:solidFill>
                <a:prstDash val="solid"/>
                <a:round/>
                <a:headEnd type="none" w="med" len="med"/>
                <a:tailEnd type="none" w="med" len="med"/>
              </a:ln>
              <a:effectLst/>
            </p:spPr>
            <p:txBody>
              <a:bodyPr/>
              <a:lstStyle/>
              <a:p>
                <a:pPr fontAlgn="auto">
                  <a:spcBef>
                    <a:spcPts val="0"/>
                  </a:spcBef>
                  <a:spcAft>
                    <a:spcPts val="0"/>
                  </a:spcAft>
                  <a:defRPr/>
                </a:pPr>
                <a:endParaRPr lang="da-DK" kern="0">
                  <a:solidFill>
                    <a:sysClr val="windowText" lastClr="000000">
                      <a:lumMod val="95000"/>
                      <a:lumOff val="5000"/>
                    </a:sysClr>
                  </a:solidFill>
                  <a:latin typeface="Calibri"/>
                </a:endParaRPr>
              </a:p>
            </p:txBody>
          </p:sp>
          <p:sp>
            <p:nvSpPr>
              <p:cNvPr id="129" name="Blokbue 128"/>
              <p:cNvSpPr/>
              <p:nvPr/>
            </p:nvSpPr>
            <p:spPr bwMode="auto">
              <a:xfrm rot="14285">
                <a:off x="2443889" y="844858"/>
                <a:ext cx="3842697" cy="3842328"/>
              </a:xfrm>
              <a:prstGeom prst="blockArc">
                <a:avLst>
                  <a:gd name="adj1" fmla="val 12299351"/>
                  <a:gd name="adj2" fmla="val 15897654"/>
                  <a:gd name="adj3" fmla="val 26577"/>
                </a:avLst>
              </a:prstGeom>
              <a:solidFill>
                <a:schemeClr val="accent1">
                  <a:lumMod val="20000"/>
                  <a:lumOff val="80000"/>
                </a:schemeClr>
              </a:solidFill>
              <a:ln w="3175" cap="flat" cmpd="sng">
                <a:solidFill>
                  <a:schemeClr val="bg1">
                    <a:lumMod val="50000"/>
                  </a:schemeClr>
                </a:solidFill>
                <a:prstDash val="solid"/>
                <a:round/>
                <a:headEnd type="none" w="med" len="med"/>
                <a:tailEnd type="none" w="med" len="med"/>
              </a:ln>
              <a:effectLst/>
            </p:spPr>
            <p:txBody>
              <a:bodyPr/>
              <a:lstStyle/>
              <a:p>
                <a:pPr fontAlgn="auto">
                  <a:spcBef>
                    <a:spcPts val="0"/>
                  </a:spcBef>
                  <a:spcAft>
                    <a:spcPts val="0"/>
                  </a:spcAft>
                  <a:defRPr/>
                </a:pPr>
                <a:endParaRPr lang="da-DK" kern="0">
                  <a:solidFill>
                    <a:sysClr val="windowText" lastClr="000000">
                      <a:lumMod val="95000"/>
                      <a:lumOff val="5000"/>
                    </a:sysClr>
                  </a:solidFill>
                  <a:latin typeface="Calibri"/>
                </a:endParaRPr>
              </a:p>
            </p:txBody>
          </p:sp>
          <p:sp>
            <p:nvSpPr>
              <p:cNvPr id="130" name="Blokbue 129"/>
              <p:cNvSpPr/>
              <p:nvPr/>
            </p:nvSpPr>
            <p:spPr bwMode="auto">
              <a:xfrm rot="3730573">
                <a:off x="2518962" y="839770"/>
                <a:ext cx="3842697" cy="3842328"/>
              </a:xfrm>
              <a:prstGeom prst="blockArc">
                <a:avLst>
                  <a:gd name="adj1" fmla="val 12299351"/>
                  <a:gd name="adj2" fmla="val 15897654"/>
                  <a:gd name="adj3" fmla="val 26577"/>
                </a:avLst>
              </a:prstGeom>
              <a:solidFill>
                <a:schemeClr val="accent1">
                  <a:lumMod val="20000"/>
                  <a:lumOff val="80000"/>
                </a:schemeClr>
              </a:solidFill>
              <a:ln w="3175" cap="flat" cmpd="sng">
                <a:solidFill>
                  <a:schemeClr val="bg1">
                    <a:lumMod val="50000"/>
                  </a:schemeClr>
                </a:solidFill>
                <a:prstDash val="solid"/>
                <a:round/>
                <a:headEnd type="none" w="med" len="med"/>
                <a:tailEnd type="none" w="med" len="med"/>
              </a:ln>
              <a:effectLst/>
            </p:spPr>
            <p:txBody>
              <a:bodyPr/>
              <a:lstStyle/>
              <a:p>
                <a:pPr fontAlgn="auto">
                  <a:spcBef>
                    <a:spcPts val="0"/>
                  </a:spcBef>
                  <a:spcAft>
                    <a:spcPts val="0"/>
                  </a:spcAft>
                  <a:defRPr/>
                </a:pPr>
                <a:endParaRPr lang="da-DK" kern="0">
                  <a:solidFill>
                    <a:sysClr val="windowText" lastClr="000000">
                      <a:lumMod val="95000"/>
                      <a:lumOff val="5000"/>
                    </a:sysClr>
                  </a:solidFill>
                  <a:latin typeface="Calibri"/>
                </a:endParaRPr>
              </a:p>
            </p:txBody>
          </p:sp>
          <p:sp>
            <p:nvSpPr>
              <p:cNvPr id="131" name="Cirkulær pil 130"/>
              <p:cNvSpPr/>
              <p:nvPr/>
            </p:nvSpPr>
            <p:spPr>
              <a:xfrm rot="14216451" flipH="1" flipV="1">
                <a:off x="2399252" y="711399"/>
                <a:ext cx="4247827" cy="4325435"/>
              </a:xfrm>
              <a:prstGeom prst="circularArrow">
                <a:avLst>
                  <a:gd name="adj1" fmla="val 25269"/>
                  <a:gd name="adj2" fmla="val 1142319"/>
                  <a:gd name="adj3" fmla="val 20391973"/>
                  <a:gd name="adj4" fmla="val 16090810"/>
                  <a:gd name="adj5" fmla="val 17581"/>
                </a:avLst>
              </a:prstGeom>
              <a:solidFill>
                <a:schemeClr val="bg2">
                  <a:lumMod val="75000"/>
                </a:schemeClr>
              </a:solidFill>
              <a:ln w="9525" cap="flat" cmpd="sng" algn="ctr">
                <a:solidFill>
                  <a:schemeClr val="bg1">
                    <a:lumMod val="50000"/>
                  </a:schemeClr>
                </a:solidFill>
                <a:prstDash val="solid"/>
              </a:ln>
              <a:effectLst/>
            </p:spPr>
            <p:txBody>
              <a:bodyPr anchor="ctr"/>
              <a:lstStyle/>
              <a:p>
                <a:pPr algn="ctr" fontAlgn="auto">
                  <a:spcBef>
                    <a:spcPts val="0"/>
                  </a:spcBef>
                  <a:spcAft>
                    <a:spcPts val="0"/>
                  </a:spcAft>
                  <a:defRPr/>
                </a:pPr>
                <a:endParaRPr lang="da-DK" kern="0">
                  <a:solidFill>
                    <a:sysClr val="window" lastClr="FFFFFF"/>
                  </a:solidFill>
                  <a:latin typeface="Calibri"/>
                </a:endParaRPr>
              </a:p>
            </p:txBody>
          </p:sp>
        </p:grpSp>
        <p:grpSp>
          <p:nvGrpSpPr>
            <p:cNvPr id="21" name="Gruppe 376"/>
            <p:cNvGrpSpPr/>
            <p:nvPr/>
          </p:nvGrpSpPr>
          <p:grpSpPr>
            <a:xfrm>
              <a:off x="1957594" y="4332818"/>
              <a:ext cx="988811" cy="971071"/>
              <a:chOff x="2360449" y="750202"/>
              <a:chExt cx="4325434" cy="4247827"/>
            </a:xfrm>
            <a:solidFill>
              <a:schemeClr val="tx1"/>
            </a:solidFill>
            <a:effectLst>
              <a:outerShdw blurRad="50800" dist="38100" dir="2700000" algn="tl" rotWithShape="0">
                <a:prstClr val="black">
                  <a:alpha val="40000"/>
                </a:prstClr>
              </a:outerShdw>
            </a:effectLst>
          </p:grpSpPr>
          <p:sp>
            <p:nvSpPr>
              <p:cNvPr id="133" name="Blokbue 132"/>
              <p:cNvSpPr/>
              <p:nvPr/>
            </p:nvSpPr>
            <p:spPr bwMode="auto">
              <a:xfrm rot="10843925">
                <a:off x="2516174" y="1020923"/>
                <a:ext cx="3842697" cy="3842328"/>
              </a:xfrm>
              <a:prstGeom prst="blockArc">
                <a:avLst>
                  <a:gd name="adj1" fmla="val 12299351"/>
                  <a:gd name="adj2" fmla="val 15897654"/>
                  <a:gd name="adj3" fmla="val 26577"/>
                </a:avLst>
              </a:prstGeom>
              <a:solidFill>
                <a:schemeClr val="accent1">
                  <a:lumMod val="20000"/>
                  <a:lumOff val="80000"/>
                </a:schemeClr>
              </a:solidFill>
              <a:ln w="3175" cap="flat" cmpd="sng">
                <a:solidFill>
                  <a:schemeClr val="bg1">
                    <a:lumMod val="50000"/>
                  </a:schemeClr>
                </a:solidFill>
                <a:prstDash val="solid"/>
                <a:round/>
                <a:headEnd type="none" w="med" len="med"/>
                <a:tailEnd type="none" w="med" len="med"/>
              </a:ln>
              <a:effectLst/>
            </p:spPr>
            <p:txBody>
              <a:bodyPr/>
              <a:lstStyle/>
              <a:p>
                <a:pPr fontAlgn="auto">
                  <a:spcBef>
                    <a:spcPts val="0"/>
                  </a:spcBef>
                  <a:spcAft>
                    <a:spcPts val="0"/>
                  </a:spcAft>
                  <a:defRPr/>
                </a:pPr>
                <a:endParaRPr lang="da-DK" kern="0">
                  <a:solidFill>
                    <a:sysClr val="windowText" lastClr="000000">
                      <a:lumMod val="95000"/>
                      <a:lumOff val="5000"/>
                    </a:sysClr>
                  </a:solidFill>
                  <a:latin typeface="Calibri"/>
                </a:endParaRPr>
              </a:p>
            </p:txBody>
          </p:sp>
          <p:sp>
            <p:nvSpPr>
              <p:cNvPr id="134" name="Blokbue 133"/>
              <p:cNvSpPr/>
              <p:nvPr/>
            </p:nvSpPr>
            <p:spPr bwMode="auto">
              <a:xfrm rot="14446858">
                <a:off x="2411090" y="1028057"/>
                <a:ext cx="3842697" cy="3842328"/>
              </a:xfrm>
              <a:prstGeom prst="blockArc">
                <a:avLst>
                  <a:gd name="adj1" fmla="val 12299351"/>
                  <a:gd name="adj2" fmla="val 15897654"/>
                  <a:gd name="adj3" fmla="val 26577"/>
                </a:avLst>
              </a:prstGeom>
              <a:solidFill>
                <a:schemeClr val="accent1">
                  <a:lumMod val="20000"/>
                  <a:lumOff val="80000"/>
                </a:schemeClr>
              </a:solidFill>
              <a:ln w="3175" cap="flat" cmpd="sng">
                <a:solidFill>
                  <a:schemeClr val="bg1">
                    <a:lumMod val="50000"/>
                  </a:schemeClr>
                </a:solidFill>
                <a:prstDash val="solid"/>
                <a:round/>
                <a:headEnd type="none" w="med" len="med"/>
                <a:tailEnd type="none" w="med" len="med"/>
              </a:ln>
              <a:effectLst/>
            </p:spPr>
            <p:txBody>
              <a:bodyPr/>
              <a:lstStyle/>
              <a:p>
                <a:pPr fontAlgn="auto">
                  <a:spcBef>
                    <a:spcPts val="0"/>
                  </a:spcBef>
                  <a:spcAft>
                    <a:spcPts val="0"/>
                  </a:spcAft>
                  <a:defRPr/>
                </a:pPr>
                <a:endParaRPr lang="da-DK" kern="0">
                  <a:solidFill>
                    <a:sysClr val="windowText" lastClr="000000">
                      <a:lumMod val="95000"/>
                      <a:lumOff val="5000"/>
                    </a:sysClr>
                  </a:solidFill>
                  <a:latin typeface="Calibri"/>
                </a:endParaRPr>
              </a:p>
            </p:txBody>
          </p:sp>
          <p:sp>
            <p:nvSpPr>
              <p:cNvPr id="135" name="Blokbue 134"/>
              <p:cNvSpPr/>
              <p:nvPr/>
            </p:nvSpPr>
            <p:spPr bwMode="auto">
              <a:xfrm rot="18033862">
                <a:off x="2382907" y="921207"/>
                <a:ext cx="3842328" cy="3842697"/>
              </a:xfrm>
              <a:prstGeom prst="blockArc">
                <a:avLst>
                  <a:gd name="adj1" fmla="val 12299351"/>
                  <a:gd name="adj2" fmla="val 15897654"/>
                  <a:gd name="adj3" fmla="val 26577"/>
                </a:avLst>
              </a:prstGeom>
              <a:solidFill>
                <a:schemeClr val="accent1">
                  <a:lumMod val="20000"/>
                  <a:lumOff val="80000"/>
                </a:schemeClr>
              </a:solidFill>
              <a:ln w="3175" cap="flat" cmpd="sng">
                <a:solidFill>
                  <a:schemeClr val="bg1">
                    <a:lumMod val="50000"/>
                  </a:schemeClr>
                </a:solidFill>
                <a:prstDash val="solid"/>
                <a:round/>
                <a:headEnd type="none" w="med" len="med"/>
                <a:tailEnd type="none" w="med" len="med"/>
              </a:ln>
              <a:effectLst/>
            </p:spPr>
            <p:txBody>
              <a:bodyPr/>
              <a:lstStyle/>
              <a:p>
                <a:pPr fontAlgn="auto">
                  <a:spcBef>
                    <a:spcPts val="0"/>
                  </a:spcBef>
                  <a:spcAft>
                    <a:spcPts val="0"/>
                  </a:spcAft>
                  <a:defRPr/>
                </a:pPr>
                <a:endParaRPr lang="da-DK" kern="0">
                  <a:solidFill>
                    <a:sysClr val="windowText" lastClr="000000">
                      <a:lumMod val="95000"/>
                      <a:lumOff val="5000"/>
                    </a:sysClr>
                  </a:solidFill>
                  <a:latin typeface="Calibri"/>
                </a:endParaRPr>
              </a:p>
            </p:txBody>
          </p:sp>
          <p:sp>
            <p:nvSpPr>
              <p:cNvPr id="136" name="Blokbue 135"/>
              <p:cNvSpPr/>
              <p:nvPr/>
            </p:nvSpPr>
            <p:spPr bwMode="auto">
              <a:xfrm rot="14285">
                <a:off x="2443889" y="844858"/>
                <a:ext cx="3842697" cy="3842328"/>
              </a:xfrm>
              <a:prstGeom prst="blockArc">
                <a:avLst>
                  <a:gd name="adj1" fmla="val 12299351"/>
                  <a:gd name="adj2" fmla="val 15897654"/>
                  <a:gd name="adj3" fmla="val 26577"/>
                </a:avLst>
              </a:prstGeom>
              <a:solidFill>
                <a:schemeClr val="accent1">
                  <a:lumMod val="20000"/>
                  <a:lumOff val="80000"/>
                </a:schemeClr>
              </a:solidFill>
              <a:ln w="3175" cap="flat" cmpd="sng">
                <a:solidFill>
                  <a:schemeClr val="bg1">
                    <a:lumMod val="50000"/>
                  </a:schemeClr>
                </a:solidFill>
                <a:prstDash val="solid"/>
                <a:round/>
                <a:headEnd type="none" w="med" len="med"/>
                <a:tailEnd type="none" w="med" len="med"/>
              </a:ln>
              <a:effectLst/>
            </p:spPr>
            <p:txBody>
              <a:bodyPr/>
              <a:lstStyle/>
              <a:p>
                <a:pPr fontAlgn="auto">
                  <a:spcBef>
                    <a:spcPts val="0"/>
                  </a:spcBef>
                  <a:spcAft>
                    <a:spcPts val="0"/>
                  </a:spcAft>
                  <a:defRPr/>
                </a:pPr>
                <a:endParaRPr lang="da-DK" kern="0">
                  <a:solidFill>
                    <a:sysClr val="windowText" lastClr="000000">
                      <a:lumMod val="95000"/>
                      <a:lumOff val="5000"/>
                    </a:sysClr>
                  </a:solidFill>
                  <a:latin typeface="Calibri"/>
                </a:endParaRPr>
              </a:p>
            </p:txBody>
          </p:sp>
          <p:sp>
            <p:nvSpPr>
              <p:cNvPr id="137" name="Blokbue 136"/>
              <p:cNvSpPr/>
              <p:nvPr/>
            </p:nvSpPr>
            <p:spPr bwMode="auto">
              <a:xfrm rot="3730573">
                <a:off x="2518962" y="839770"/>
                <a:ext cx="3842697" cy="3842328"/>
              </a:xfrm>
              <a:prstGeom prst="blockArc">
                <a:avLst>
                  <a:gd name="adj1" fmla="val 12299351"/>
                  <a:gd name="adj2" fmla="val 15897654"/>
                  <a:gd name="adj3" fmla="val 26577"/>
                </a:avLst>
              </a:prstGeom>
              <a:solidFill>
                <a:schemeClr val="accent1">
                  <a:lumMod val="20000"/>
                  <a:lumOff val="80000"/>
                </a:schemeClr>
              </a:solidFill>
              <a:ln w="3175" cap="flat" cmpd="sng">
                <a:solidFill>
                  <a:schemeClr val="bg1">
                    <a:lumMod val="50000"/>
                  </a:schemeClr>
                </a:solidFill>
                <a:prstDash val="solid"/>
                <a:round/>
                <a:headEnd type="none" w="med" len="med"/>
                <a:tailEnd type="none" w="med" len="med"/>
              </a:ln>
              <a:effectLst/>
            </p:spPr>
            <p:txBody>
              <a:bodyPr/>
              <a:lstStyle/>
              <a:p>
                <a:pPr fontAlgn="auto">
                  <a:spcBef>
                    <a:spcPts val="0"/>
                  </a:spcBef>
                  <a:spcAft>
                    <a:spcPts val="0"/>
                  </a:spcAft>
                  <a:defRPr/>
                </a:pPr>
                <a:endParaRPr lang="da-DK" kern="0">
                  <a:solidFill>
                    <a:sysClr val="windowText" lastClr="000000">
                      <a:lumMod val="95000"/>
                      <a:lumOff val="5000"/>
                    </a:sysClr>
                  </a:solidFill>
                  <a:latin typeface="Calibri"/>
                </a:endParaRPr>
              </a:p>
            </p:txBody>
          </p:sp>
          <p:sp>
            <p:nvSpPr>
              <p:cNvPr id="138" name="Cirkulær pil 137"/>
              <p:cNvSpPr/>
              <p:nvPr/>
            </p:nvSpPr>
            <p:spPr>
              <a:xfrm rot="14216451" flipH="1" flipV="1">
                <a:off x="2399252" y="711399"/>
                <a:ext cx="4247827" cy="4325434"/>
              </a:xfrm>
              <a:prstGeom prst="circularArrow">
                <a:avLst>
                  <a:gd name="adj1" fmla="val 25269"/>
                  <a:gd name="adj2" fmla="val 1142319"/>
                  <a:gd name="adj3" fmla="val 20391973"/>
                  <a:gd name="adj4" fmla="val 16090810"/>
                  <a:gd name="adj5" fmla="val 17581"/>
                </a:avLst>
              </a:prstGeom>
              <a:solidFill>
                <a:schemeClr val="bg2">
                  <a:lumMod val="75000"/>
                </a:schemeClr>
              </a:solidFill>
              <a:ln w="9525" cap="flat" cmpd="sng" algn="ctr">
                <a:solidFill>
                  <a:schemeClr val="bg1">
                    <a:lumMod val="50000"/>
                  </a:schemeClr>
                </a:solidFill>
                <a:prstDash val="solid"/>
              </a:ln>
              <a:effectLst/>
            </p:spPr>
            <p:txBody>
              <a:bodyPr anchor="ctr"/>
              <a:lstStyle/>
              <a:p>
                <a:pPr algn="ctr" fontAlgn="auto">
                  <a:spcBef>
                    <a:spcPts val="0"/>
                  </a:spcBef>
                  <a:spcAft>
                    <a:spcPts val="0"/>
                  </a:spcAft>
                  <a:defRPr/>
                </a:pPr>
                <a:endParaRPr lang="da-DK" kern="0">
                  <a:solidFill>
                    <a:sysClr val="window" lastClr="FFFFFF"/>
                  </a:solidFill>
                  <a:latin typeface="Calibri"/>
                </a:endParaRPr>
              </a:p>
            </p:txBody>
          </p:sp>
        </p:grpSp>
      </p:grpSp>
      <p:grpSp>
        <p:nvGrpSpPr>
          <p:cNvPr id="22" name="Gruppe 230"/>
          <p:cNvGrpSpPr/>
          <p:nvPr/>
        </p:nvGrpSpPr>
        <p:grpSpPr>
          <a:xfrm>
            <a:off x="7852992" y="5021792"/>
            <a:ext cx="750088" cy="912281"/>
            <a:chOff x="544185" y="1026430"/>
            <a:chExt cx="5195568" cy="4987350"/>
          </a:xfrm>
          <a:effectLst>
            <a:outerShdw blurRad="50800" dist="38100" dir="2700000" algn="tl" rotWithShape="0">
              <a:prstClr val="black">
                <a:alpha val="40000"/>
              </a:prstClr>
            </a:outerShdw>
          </a:effectLst>
        </p:grpSpPr>
        <p:grpSp>
          <p:nvGrpSpPr>
            <p:cNvPr id="23" name="Gruppe 56"/>
            <p:cNvGrpSpPr>
              <a:grpSpLocks/>
            </p:cNvGrpSpPr>
            <p:nvPr/>
          </p:nvGrpSpPr>
          <p:grpSpPr bwMode="auto">
            <a:xfrm>
              <a:off x="544185" y="1026430"/>
              <a:ext cx="5195568" cy="4987349"/>
              <a:chOff x="543539" y="1027095"/>
              <a:chExt cx="5196840" cy="4986342"/>
            </a:xfrm>
          </p:grpSpPr>
          <p:grpSp>
            <p:nvGrpSpPr>
              <p:cNvPr id="24" name="Gruppe 25"/>
              <p:cNvGrpSpPr>
                <a:grpSpLocks/>
              </p:cNvGrpSpPr>
              <p:nvPr/>
            </p:nvGrpSpPr>
            <p:grpSpPr bwMode="auto">
              <a:xfrm>
                <a:off x="543539" y="1027095"/>
                <a:ext cx="5196840" cy="4986342"/>
                <a:chOff x="543539" y="1027095"/>
                <a:chExt cx="5196840" cy="4986342"/>
              </a:xfrm>
            </p:grpSpPr>
            <p:sp>
              <p:nvSpPr>
                <p:cNvPr id="155" name="Rektangel 154"/>
                <p:cNvSpPr/>
                <p:nvPr/>
              </p:nvSpPr>
              <p:spPr>
                <a:xfrm rot="16200000">
                  <a:off x="2619785" y="2821356"/>
                  <a:ext cx="4137778" cy="1391816"/>
                </a:xfrm>
                <a:prstGeom prst="rect">
                  <a:avLst/>
                </a:prstGeom>
                <a:solidFill>
                  <a:schemeClr val="accent1">
                    <a:lumMod val="20000"/>
                    <a:lumOff val="80000"/>
                  </a:schemeClr>
                </a:solidFill>
                <a:ln w="9525" cap="flat" cmpd="sng" algn="ctr">
                  <a:solidFill>
                    <a:sysClr val="window" lastClr="FFFFFF">
                      <a:lumMod val="95000"/>
                    </a:sysClr>
                  </a:solidFill>
                  <a:prstDash val="solid"/>
                </a:ln>
                <a:effectLst/>
              </p:spPr>
              <p:txBody>
                <a:bodyPr anchor="ctr"/>
                <a:lstStyle/>
                <a:p>
                  <a:pPr algn="ctr" fontAlgn="auto">
                    <a:spcBef>
                      <a:spcPts val="0"/>
                    </a:spcBef>
                    <a:spcAft>
                      <a:spcPts val="0"/>
                    </a:spcAft>
                    <a:defRPr/>
                  </a:pPr>
                  <a:endParaRPr lang="da-DK" kern="0" dirty="0">
                    <a:solidFill>
                      <a:sysClr val="window" lastClr="FFFFFF"/>
                    </a:solidFill>
                    <a:latin typeface="Calibri"/>
                  </a:endParaRPr>
                </a:p>
              </p:txBody>
            </p:sp>
            <p:sp>
              <p:nvSpPr>
                <p:cNvPr id="156" name="Venstre-opadgående pil 155"/>
                <p:cNvSpPr/>
                <p:nvPr/>
              </p:nvSpPr>
              <p:spPr>
                <a:xfrm flipH="1">
                  <a:off x="543539" y="1027095"/>
                  <a:ext cx="5196840" cy="4986342"/>
                </a:xfrm>
                <a:prstGeom prst="leftUpArrow">
                  <a:avLst>
                    <a:gd name="adj1" fmla="val 3074"/>
                    <a:gd name="adj2" fmla="val 4126"/>
                    <a:gd name="adj3" fmla="val 4936"/>
                  </a:avLst>
                </a:prstGeom>
                <a:gradFill flip="none" rotWithShape="1">
                  <a:gsLst>
                    <a:gs pos="51000">
                      <a:srgbClr val="FFFFFF">
                        <a:lumMod val="50000"/>
                      </a:srgbClr>
                    </a:gs>
                    <a:gs pos="69000">
                      <a:srgbClr val="FFFFFF">
                        <a:lumMod val="65000"/>
                      </a:srgbClr>
                    </a:gs>
                    <a:gs pos="100000">
                      <a:sysClr val="window" lastClr="FFFFFF">
                        <a:lumMod val="85000"/>
                        <a:alpha val="63000"/>
                      </a:sysClr>
                    </a:gs>
                  </a:gsLst>
                  <a:lin ang="2700000" scaled="1"/>
                  <a:tileRect/>
                </a:gradFill>
                <a:ln w="25400" cap="flat" cmpd="sng" algn="ctr">
                  <a:noFill/>
                  <a:prstDash val="solid"/>
                </a:ln>
                <a:effectLst/>
              </p:spPr>
              <p:txBody>
                <a:bodyPr anchor="ctr"/>
                <a:lstStyle/>
                <a:p>
                  <a:pPr algn="ctr" fontAlgn="auto">
                    <a:spcBef>
                      <a:spcPts val="0"/>
                    </a:spcBef>
                    <a:spcAft>
                      <a:spcPts val="0"/>
                    </a:spcAft>
                    <a:defRPr/>
                  </a:pPr>
                  <a:endParaRPr lang="da-DK" kern="0" dirty="0" err="1">
                    <a:solidFill>
                      <a:sysClr val="window" lastClr="FFFFFF"/>
                    </a:solidFill>
                    <a:latin typeface="Calibri"/>
                  </a:endParaRPr>
                </a:p>
              </p:txBody>
            </p:sp>
            <p:sp>
              <p:nvSpPr>
                <p:cNvPr id="157" name="Rektangel 156"/>
                <p:cNvSpPr/>
                <p:nvPr/>
              </p:nvSpPr>
              <p:spPr>
                <a:xfrm rot="16200000">
                  <a:off x="1120401" y="2782074"/>
                  <a:ext cx="4137777" cy="1470385"/>
                </a:xfrm>
                <a:prstGeom prst="rect">
                  <a:avLst/>
                </a:prstGeom>
                <a:solidFill>
                  <a:schemeClr val="accent1">
                    <a:lumMod val="20000"/>
                    <a:lumOff val="80000"/>
                  </a:schemeClr>
                </a:solidFill>
                <a:ln w="9525" cap="flat" cmpd="sng" algn="ctr">
                  <a:solidFill>
                    <a:sysClr val="window" lastClr="FFFFFF">
                      <a:lumMod val="95000"/>
                    </a:sysClr>
                  </a:solidFill>
                  <a:prstDash val="solid"/>
                </a:ln>
                <a:effectLst/>
              </p:spPr>
              <p:txBody>
                <a:bodyPr anchor="ctr"/>
                <a:lstStyle/>
                <a:p>
                  <a:pPr algn="ctr" fontAlgn="auto">
                    <a:spcBef>
                      <a:spcPts val="0"/>
                    </a:spcBef>
                    <a:spcAft>
                      <a:spcPts val="0"/>
                    </a:spcAft>
                    <a:defRPr/>
                  </a:pPr>
                  <a:endParaRPr lang="da-DK" kern="0" dirty="0">
                    <a:solidFill>
                      <a:sysClr val="window" lastClr="FFFFFF"/>
                    </a:solidFill>
                    <a:latin typeface="Calibri"/>
                  </a:endParaRPr>
                </a:p>
              </p:txBody>
            </p:sp>
            <p:sp>
              <p:nvSpPr>
                <p:cNvPr id="158" name="Rektangel 157"/>
                <p:cNvSpPr/>
                <p:nvPr/>
              </p:nvSpPr>
              <p:spPr>
                <a:xfrm rot="16200000">
                  <a:off x="-354035" y="2846301"/>
                  <a:ext cx="4137778" cy="1341926"/>
                </a:xfrm>
                <a:prstGeom prst="rect">
                  <a:avLst/>
                </a:prstGeom>
                <a:solidFill>
                  <a:schemeClr val="accent1">
                    <a:lumMod val="20000"/>
                    <a:lumOff val="80000"/>
                  </a:schemeClr>
                </a:solidFill>
                <a:ln w="9525" cap="flat" cmpd="sng" algn="ctr">
                  <a:solidFill>
                    <a:sysClr val="window" lastClr="FFFFFF">
                      <a:lumMod val="95000"/>
                    </a:sysClr>
                  </a:solidFill>
                  <a:prstDash val="solid"/>
                </a:ln>
                <a:effectLst/>
              </p:spPr>
              <p:txBody>
                <a:bodyPr anchor="ctr"/>
                <a:lstStyle/>
                <a:p>
                  <a:pPr algn="ctr" fontAlgn="auto">
                    <a:spcBef>
                      <a:spcPts val="0"/>
                    </a:spcBef>
                    <a:spcAft>
                      <a:spcPts val="0"/>
                    </a:spcAft>
                    <a:defRPr/>
                  </a:pPr>
                  <a:endParaRPr lang="da-DK" kern="0" dirty="0">
                    <a:solidFill>
                      <a:sysClr val="window" lastClr="FFFFFF"/>
                    </a:solidFill>
                    <a:latin typeface="Calibri"/>
                  </a:endParaRPr>
                </a:p>
              </p:txBody>
            </p:sp>
          </p:grpSp>
          <p:grpSp>
            <p:nvGrpSpPr>
              <p:cNvPr id="25" name="Gruppe 55"/>
              <p:cNvGrpSpPr>
                <a:grpSpLocks/>
              </p:cNvGrpSpPr>
              <p:nvPr/>
            </p:nvGrpSpPr>
            <p:grpSpPr bwMode="auto">
              <a:xfrm>
                <a:off x="897966" y="2443540"/>
                <a:ext cx="4542950" cy="2150627"/>
                <a:chOff x="898000" y="2443540"/>
                <a:chExt cx="4263183" cy="2150627"/>
              </a:xfrm>
            </p:grpSpPr>
            <p:cxnSp>
              <p:nvCxnSpPr>
                <p:cNvPr id="152" name="Lige forbindelse 151"/>
                <p:cNvCxnSpPr/>
                <p:nvPr/>
              </p:nvCxnSpPr>
              <p:spPr bwMode="auto">
                <a:xfrm flipH="1" flipV="1">
                  <a:off x="898000" y="4592580"/>
                  <a:ext cx="4263183" cy="1587"/>
                </a:xfrm>
                <a:prstGeom prst="line">
                  <a:avLst/>
                </a:prstGeom>
                <a:noFill/>
                <a:ln w="6350" cap="flat" cmpd="sng" algn="ctr">
                  <a:solidFill>
                    <a:srgbClr val="FFFFFF">
                      <a:lumMod val="75000"/>
                    </a:srgbClr>
                  </a:solidFill>
                  <a:prstDash val="sysDash"/>
                </a:ln>
                <a:effectLst/>
              </p:spPr>
            </p:cxnSp>
            <p:cxnSp>
              <p:nvCxnSpPr>
                <p:cNvPr id="153" name="Lige forbindelse 152"/>
                <p:cNvCxnSpPr/>
                <p:nvPr/>
              </p:nvCxnSpPr>
              <p:spPr bwMode="auto">
                <a:xfrm flipH="1" flipV="1">
                  <a:off x="898000" y="3510124"/>
                  <a:ext cx="4263183" cy="1587"/>
                </a:xfrm>
                <a:prstGeom prst="line">
                  <a:avLst/>
                </a:prstGeom>
                <a:noFill/>
                <a:ln w="6350" cap="flat" cmpd="sng" algn="ctr">
                  <a:solidFill>
                    <a:srgbClr val="FFFFFF">
                      <a:lumMod val="75000"/>
                    </a:srgbClr>
                  </a:solidFill>
                  <a:prstDash val="sysDash"/>
                </a:ln>
                <a:effectLst/>
              </p:spPr>
            </p:cxnSp>
            <p:cxnSp>
              <p:nvCxnSpPr>
                <p:cNvPr id="154" name="Lige forbindelse 153"/>
                <p:cNvCxnSpPr/>
                <p:nvPr/>
              </p:nvCxnSpPr>
              <p:spPr bwMode="auto">
                <a:xfrm flipH="1" flipV="1">
                  <a:off x="898000" y="2443540"/>
                  <a:ext cx="4263183" cy="1587"/>
                </a:xfrm>
                <a:prstGeom prst="line">
                  <a:avLst/>
                </a:prstGeom>
                <a:noFill/>
                <a:ln w="6350" cap="flat" cmpd="sng" algn="ctr">
                  <a:solidFill>
                    <a:srgbClr val="FFFFFF">
                      <a:lumMod val="75000"/>
                    </a:srgbClr>
                  </a:solidFill>
                  <a:prstDash val="sysDash"/>
                </a:ln>
                <a:effectLst/>
              </p:spPr>
            </p:cxnSp>
          </p:grpSp>
        </p:grpSp>
        <p:sp>
          <p:nvSpPr>
            <p:cNvPr id="148" name="Kombinationstegning 147"/>
            <p:cNvSpPr/>
            <p:nvPr/>
          </p:nvSpPr>
          <p:spPr>
            <a:xfrm>
              <a:off x="1082673" y="1463675"/>
              <a:ext cx="3163106" cy="3900487"/>
            </a:xfrm>
            <a:custGeom>
              <a:avLst/>
              <a:gdLst>
                <a:gd name="connsiteX0" fmla="*/ 0 w 2804160"/>
                <a:gd name="connsiteY0" fmla="*/ 3901440 h 3901440"/>
                <a:gd name="connsiteX1" fmla="*/ 1844040 w 2804160"/>
                <a:gd name="connsiteY1" fmla="*/ 2453640 h 3901440"/>
                <a:gd name="connsiteX2" fmla="*/ 2804160 w 2804160"/>
                <a:gd name="connsiteY2" fmla="*/ 0 h 3901440"/>
              </a:gdLst>
              <a:ahLst/>
              <a:cxnLst>
                <a:cxn ang="0">
                  <a:pos x="connsiteX0" y="connsiteY0"/>
                </a:cxn>
                <a:cxn ang="0">
                  <a:pos x="connsiteX1" y="connsiteY1"/>
                </a:cxn>
                <a:cxn ang="0">
                  <a:pos x="connsiteX2" y="connsiteY2"/>
                </a:cxn>
              </a:cxnLst>
              <a:rect l="l" t="t" r="r" b="b"/>
              <a:pathLst>
                <a:path w="2804160" h="3901440">
                  <a:moveTo>
                    <a:pt x="0" y="3901440"/>
                  </a:moveTo>
                  <a:cubicBezTo>
                    <a:pt x="688340" y="3502660"/>
                    <a:pt x="1376680" y="3103880"/>
                    <a:pt x="1844040" y="2453640"/>
                  </a:cubicBezTo>
                  <a:cubicBezTo>
                    <a:pt x="2311400" y="1803400"/>
                    <a:pt x="2557780" y="901700"/>
                    <a:pt x="2804160" y="0"/>
                  </a:cubicBezTo>
                </a:path>
              </a:pathLst>
            </a:custGeom>
            <a:noFill/>
            <a:ln w="25400" cap="flat" cmpd="sng" algn="ctr">
              <a:solidFill>
                <a:srgbClr val="FF0000"/>
              </a:solidFill>
              <a:prstDash val="solid"/>
              <a:tailEnd type="triangle"/>
            </a:ln>
            <a:effectLst>
              <a:outerShdw blurRad="40000" dist="20000" dir="5400000" rotWithShape="0">
                <a:srgbClr val="000000">
                  <a:alpha val="38000"/>
                </a:srgbClr>
              </a:outerShdw>
            </a:effectLst>
          </p:spPr>
          <p:txBody>
            <a:bodyPr anchor="ctr"/>
            <a:lstStyle/>
            <a:p>
              <a:pPr algn="ctr" fontAlgn="auto">
                <a:spcBef>
                  <a:spcPts val="0"/>
                </a:spcBef>
                <a:spcAft>
                  <a:spcPts val="0"/>
                </a:spcAft>
                <a:defRPr/>
              </a:pPr>
              <a:endParaRPr lang="da-DK" kern="0">
                <a:solidFill>
                  <a:sysClr val="window" lastClr="FFFFFF"/>
                </a:solidFill>
                <a:latin typeface="Calibri"/>
              </a:endParaRPr>
            </a:p>
          </p:txBody>
        </p:sp>
        <p:sp>
          <p:nvSpPr>
            <p:cNvPr id="149" name="Kombinationstegning 148"/>
            <p:cNvSpPr/>
            <p:nvPr/>
          </p:nvSpPr>
          <p:spPr>
            <a:xfrm>
              <a:off x="1084263" y="1463675"/>
              <a:ext cx="4356100" cy="3930650"/>
            </a:xfrm>
            <a:custGeom>
              <a:avLst/>
              <a:gdLst>
                <a:gd name="connsiteX0" fmla="*/ 27940 w 4356100"/>
                <a:gd name="connsiteY0" fmla="*/ 3931920 h 3931920"/>
                <a:gd name="connsiteX1" fmla="*/ 378460 w 4356100"/>
                <a:gd name="connsiteY1" fmla="*/ 2712720 h 3931920"/>
                <a:gd name="connsiteX2" fmla="*/ 2298700 w 4356100"/>
                <a:gd name="connsiteY2" fmla="*/ 2133600 h 3931920"/>
                <a:gd name="connsiteX3" fmla="*/ 3548380 w 4356100"/>
                <a:gd name="connsiteY3" fmla="*/ 792480 h 3931920"/>
                <a:gd name="connsiteX4" fmla="*/ 4356100 w 4356100"/>
                <a:gd name="connsiteY4" fmla="*/ 0 h 393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6100" h="3931920">
                  <a:moveTo>
                    <a:pt x="27940" y="3931920"/>
                  </a:moveTo>
                  <a:cubicBezTo>
                    <a:pt x="13970" y="3472180"/>
                    <a:pt x="0" y="3012440"/>
                    <a:pt x="378460" y="2712720"/>
                  </a:cubicBezTo>
                  <a:cubicBezTo>
                    <a:pt x="756920" y="2413000"/>
                    <a:pt x="1770380" y="2453640"/>
                    <a:pt x="2298700" y="2133600"/>
                  </a:cubicBezTo>
                  <a:cubicBezTo>
                    <a:pt x="2827020" y="1813560"/>
                    <a:pt x="3205480" y="1148080"/>
                    <a:pt x="3548380" y="792480"/>
                  </a:cubicBezTo>
                  <a:cubicBezTo>
                    <a:pt x="3891280" y="436880"/>
                    <a:pt x="4123690" y="218440"/>
                    <a:pt x="4356100" y="0"/>
                  </a:cubicBezTo>
                </a:path>
              </a:pathLst>
            </a:custGeom>
            <a:noFill/>
            <a:ln w="25400" cap="flat" cmpd="sng" algn="ctr">
              <a:solidFill>
                <a:srgbClr val="FF0000"/>
              </a:solidFill>
              <a:prstDash val="sysDash"/>
              <a:tailEnd type="triangle"/>
            </a:ln>
            <a:effectLst>
              <a:outerShdw blurRad="40000" dist="20000" dir="5400000" rotWithShape="0">
                <a:srgbClr val="000000">
                  <a:alpha val="38000"/>
                </a:srgbClr>
              </a:outerShdw>
            </a:effectLst>
          </p:spPr>
          <p:txBody>
            <a:bodyPr anchor="ctr"/>
            <a:lstStyle/>
            <a:p>
              <a:pPr algn="ctr" fontAlgn="auto">
                <a:spcBef>
                  <a:spcPts val="0"/>
                </a:spcBef>
                <a:spcAft>
                  <a:spcPts val="0"/>
                </a:spcAft>
                <a:defRPr/>
              </a:pPr>
              <a:endParaRPr lang="da-DK" kern="0">
                <a:solidFill>
                  <a:sysClr val="window" lastClr="FFFFFF"/>
                </a:solidFill>
                <a:latin typeface="Calibri"/>
              </a:endParaRPr>
            </a:p>
          </p:txBody>
        </p:sp>
      </p:grpSp>
      <p:grpSp>
        <p:nvGrpSpPr>
          <p:cNvPr id="3097" name="Gruppe 311"/>
          <p:cNvGrpSpPr>
            <a:grpSpLocks/>
          </p:cNvGrpSpPr>
          <p:nvPr/>
        </p:nvGrpSpPr>
        <p:grpSpPr bwMode="auto">
          <a:xfrm>
            <a:off x="8380667" y="2868597"/>
            <a:ext cx="812800" cy="762000"/>
            <a:chOff x="1216932" y="1129784"/>
            <a:chExt cx="5031467" cy="4719019"/>
          </a:xfrm>
        </p:grpSpPr>
        <p:grpSp>
          <p:nvGrpSpPr>
            <p:cNvPr id="3346" name="Gruppe 179"/>
            <p:cNvGrpSpPr>
              <a:grpSpLocks/>
            </p:cNvGrpSpPr>
            <p:nvPr/>
          </p:nvGrpSpPr>
          <p:grpSpPr bwMode="auto">
            <a:xfrm>
              <a:off x="3034938" y="3361493"/>
              <a:ext cx="3213712" cy="2487311"/>
              <a:chOff x="4700923" y="3673354"/>
              <a:chExt cx="4275477" cy="3310059"/>
            </a:xfrm>
          </p:grpSpPr>
          <p:sp>
            <p:nvSpPr>
              <p:cNvPr id="87" name="Freeform 5"/>
              <p:cNvSpPr>
                <a:spLocks/>
              </p:cNvSpPr>
              <p:nvPr/>
            </p:nvSpPr>
            <p:spPr bwMode="auto">
              <a:xfrm>
                <a:off x="4700931" y="3673338"/>
                <a:ext cx="732133" cy="3310067"/>
              </a:xfrm>
              <a:custGeom>
                <a:avLst/>
                <a:gdLst/>
                <a:ahLst/>
                <a:cxnLst>
                  <a:cxn ang="0">
                    <a:pos x="305" y="5"/>
                  </a:cxn>
                  <a:cxn ang="0">
                    <a:pos x="298" y="12"/>
                  </a:cxn>
                  <a:cxn ang="0">
                    <a:pos x="293" y="28"/>
                  </a:cxn>
                  <a:cxn ang="0">
                    <a:pos x="289" y="54"/>
                  </a:cxn>
                  <a:cxn ang="0">
                    <a:pos x="288" y="164"/>
                  </a:cxn>
                  <a:cxn ang="0">
                    <a:pos x="278" y="344"/>
                  </a:cxn>
                  <a:cxn ang="0">
                    <a:pos x="261" y="523"/>
                  </a:cxn>
                  <a:cxn ang="0">
                    <a:pos x="238" y="701"/>
                  </a:cxn>
                  <a:cxn ang="0">
                    <a:pos x="223" y="824"/>
                  </a:cxn>
                  <a:cxn ang="0">
                    <a:pos x="218" y="910"/>
                  </a:cxn>
                  <a:cxn ang="0">
                    <a:pos x="211" y="1002"/>
                  </a:cxn>
                  <a:cxn ang="0">
                    <a:pos x="194" y="1083"/>
                  </a:cxn>
                  <a:cxn ang="0">
                    <a:pos x="156" y="1114"/>
                  </a:cxn>
                  <a:cxn ang="0">
                    <a:pos x="111" y="1103"/>
                  </a:cxn>
                  <a:cxn ang="0">
                    <a:pos x="69" y="1087"/>
                  </a:cxn>
                  <a:cxn ang="0">
                    <a:pos x="26" y="1071"/>
                  </a:cxn>
                  <a:cxn ang="0">
                    <a:pos x="0" y="1065"/>
                  </a:cxn>
                  <a:cxn ang="0">
                    <a:pos x="1" y="1070"/>
                  </a:cxn>
                  <a:cxn ang="0">
                    <a:pos x="11" y="1082"/>
                  </a:cxn>
                  <a:cxn ang="0">
                    <a:pos x="62" y="1126"/>
                  </a:cxn>
                  <a:cxn ang="0">
                    <a:pos x="119" y="1169"/>
                  </a:cxn>
                  <a:cxn ang="0">
                    <a:pos x="150" y="1196"/>
                  </a:cxn>
                  <a:cxn ang="0">
                    <a:pos x="165" y="1225"/>
                  </a:cxn>
                  <a:cxn ang="0">
                    <a:pos x="169" y="1279"/>
                  </a:cxn>
                  <a:cxn ang="0">
                    <a:pos x="152" y="1479"/>
                  </a:cxn>
                  <a:cxn ang="0">
                    <a:pos x="119" y="1758"/>
                  </a:cxn>
                  <a:cxn ang="0">
                    <a:pos x="85" y="1996"/>
                  </a:cxn>
                  <a:cxn ang="0">
                    <a:pos x="84" y="2076"/>
                  </a:cxn>
                  <a:cxn ang="0">
                    <a:pos x="118" y="2087"/>
                  </a:cxn>
                  <a:cxn ang="0">
                    <a:pos x="157" y="2079"/>
                  </a:cxn>
                  <a:cxn ang="0">
                    <a:pos x="192" y="2058"/>
                  </a:cxn>
                  <a:cxn ang="0">
                    <a:pos x="200" y="1951"/>
                  </a:cxn>
                  <a:cxn ang="0">
                    <a:pos x="199" y="1762"/>
                  </a:cxn>
                  <a:cxn ang="0">
                    <a:pos x="209" y="1572"/>
                  </a:cxn>
                  <a:cxn ang="0">
                    <a:pos x="235" y="1384"/>
                  </a:cxn>
                  <a:cxn ang="0">
                    <a:pos x="256" y="1245"/>
                  </a:cxn>
                  <a:cxn ang="0">
                    <a:pos x="256" y="1147"/>
                  </a:cxn>
                  <a:cxn ang="0">
                    <a:pos x="261" y="1047"/>
                  </a:cxn>
                  <a:cxn ang="0">
                    <a:pos x="279" y="949"/>
                  </a:cxn>
                  <a:cxn ang="0">
                    <a:pos x="316" y="870"/>
                  </a:cxn>
                  <a:cxn ang="0">
                    <a:pos x="353" y="825"/>
                  </a:cxn>
                  <a:cxn ang="0">
                    <a:pos x="390" y="788"/>
                  </a:cxn>
                  <a:cxn ang="0">
                    <a:pos x="436" y="747"/>
                  </a:cxn>
                  <a:cxn ang="0">
                    <a:pos x="463" y="712"/>
                  </a:cxn>
                  <a:cxn ang="0">
                    <a:pos x="461" y="705"/>
                  </a:cxn>
                  <a:cxn ang="0">
                    <a:pos x="432" y="719"/>
                  </a:cxn>
                  <a:cxn ang="0">
                    <a:pos x="386" y="751"/>
                  </a:cxn>
                  <a:cxn ang="0">
                    <a:pos x="350" y="781"/>
                  </a:cxn>
                  <a:cxn ang="0">
                    <a:pos x="316" y="804"/>
                  </a:cxn>
                  <a:cxn ang="0">
                    <a:pos x="296" y="785"/>
                  </a:cxn>
                  <a:cxn ang="0">
                    <a:pos x="298" y="727"/>
                  </a:cxn>
                  <a:cxn ang="0">
                    <a:pos x="304" y="667"/>
                  </a:cxn>
                  <a:cxn ang="0">
                    <a:pos x="311" y="607"/>
                  </a:cxn>
                  <a:cxn ang="0">
                    <a:pos x="322" y="508"/>
                  </a:cxn>
                  <a:cxn ang="0">
                    <a:pos x="337" y="366"/>
                  </a:cxn>
                  <a:cxn ang="0">
                    <a:pos x="350" y="224"/>
                  </a:cxn>
                  <a:cxn ang="0">
                    <a:pos x="365" y="81"/>
                  </a:cxn>
                  <a:cxn ang="0">
                    <a:pos x="373" y="8"/>
                  </a:cxn>
                  <a:cxn ang="0">
                    <a:pos x="365" y="3"/>
                  </a:cxn>
                  <a:cxn ang="0">
                    <a:pos x="351" y="0"/>
                  </a:cxn>
                  <a:cxn ang="0">
                    <a:pos x="325" y="1"/>
                  </a:cxn>
                </a:cxnLst>
                <a:rect l="0" t="0" r="r" b="b"/>
                <a:pathLst>
                  <a:path w="466" h="2087">
                    <a:moveTo>
                      <a:pt x="310" y="5"/>
                    </a:moveTo>
                    <a:lnTo>
                      <a:pt x="305" y="5"/>
                    </a:lnTo>
                    <a:lnTo>
                      <a:pt x="301" y="8"/>
                    </a:lnTo>
                    <a:lnTo>
                      <a:pt x="298" y="12"/>
                    </a:lnTo>
                    <a:lnTo>
                      <a:pt x="296" y="19"/>
                    </a:lnTo>
                    <a:lnTo>
                      <a:pt x="293" y="28"/>
                    </a:lnTo>
                    <a:lnTo>
                      <a:pt x="291" y="40"/>
                    </a:lnTo>
                    <a:lnTo>
                      <a:pt x="289" y="54"/>
                    </a:lnTo>
                    <a:lnTo>
                      <a:pt x="289" y="74"/>
                    </a:lnTo>
                    <a:lnTo>
                      <a:pt x="288" y="164"/>
                    </a:lnTo>
                    <a:lnTo>
                      <a:pt x="285" y="254"/>
                    </a:lnTo>
                    <a:lnTo>
                      <a:pt x="278" y="344"/>
                    </a:lnTo>
                    <a:lnTo>
                      <a:pt x="271" y="434"/>
                    </a:lnTo>
                    <a:lnTo>
                      <a:pt x="261" y="523"/>
                    </a:lnTo>
                    <a:lnTo>
                      <a:pt x="251" y="612"/>
                    </a:lnTo>
                    <a:lnTo>
                      <a:pt x="238" y="701"/>
                    </a:lnTo>
                    <a:lnTo>
                      <a:pt x="225" y="789"/>
                    </a:lnTo>
                    <a:lnTo>
                      <a:pt x="223" y="824"/>
                    </a:lnTo>
                    <a:lnTo>
                      <a:pt x="221" y="865"/>
                    </a:lnTo>
                    <a:lnTo>
                      <a:pt x="218" y="910"/>
                    </a:lnTo>
                    <a:lnTo>
                      <a:pt x="216" y="956"/>
                    </a:lnTo>
                    <a:lnTo>
                      <a:pt x="211" y="1002"/>
                    </a:lnTo>
                    <a:lnTo>
                      <a:pt x="204" y="1044"/>
                    </a:lnTo>
                    <a:lnTo>
                      <a:pt x="194" y="1083"/>
                    </a:lnTo>
                    <a:lnTo>
                      <a:pt x="182" y="1116"/>
                    </a:lnTo>
                    <a:lnTo>
                      <a:pt x="156" y="1114"/>
                    </a:lnTo>
                    <a:lnTo>
                      <a:pt x="133" y="1109"/>
                    </a:lnTo>
                    <a:lnTo>
                      <a:pt x="111" y="1103"/>
                    </a:lnTo>
                    <a:lnTo>
                      <a:pt x="91" y="1096"/>
                    </a:lnTo>
                    <a:lnTo>
                      <a:pt x="69" y="1087"/>
                    </a:lnTo>
                    <a:lnTo>
                      <a:pt x="48" y="1078"/>
                    </a:lnTo>
                    <a:lnTo>
                      <a:pt x="26" y="1071"/>
                    </a:lnTo>
                    <a:lnTo>
                      <a:pt x="3" y="1065"/>
                    </a:lnTo>
                    <a:lnTo>
                      <a:pt x="0" y="1065"/>
                    </a:lnTo>
                    <a:lnTo>
                      <a:pt x="0" y="1068"/>
                    </a:lnTo>
                    <a:lnTo>
                      <a:pt x="1" y="1070"/>
                    </a:lnTo>
                    <a:lnTo>
                      <a:pt x="5" y="1075"/>
                    </a:lnTo>
                    <a:lnTo>
                      <a:pt x="11" y="1082"/>
                    </a:lnTo>
                    <a:lnTo>
                      <a:pt x="23" y="1093"/>
                    </a:lnTo>
                    <a:lnTo>
                      <a:pt x="62" y="1126"/>
                    </a:lnTo>
                    <a:lnTo>
                      <a:pt x="95" y="1151"/>
                    </a:lnTo>
                    <a:lnTo>
                      <a:pt x="119" y="1169"/>
                    </a:lnTo>
                    <a:lnTo>
                      <a:pt x="138" y="1184"/>
                    </a:lnTo>
                    <a:lnTo>
                      <a:pt x="150" y="1196"/>
                    </a:lnTo>
                    <a:lnTo>
                      <a:pt x="160" y="1209"/>
                    </a:lnTo>
                    <a:lnTo>
                      <a:pt x="165" y="1225"/>
                    </a:lnTo>
                    <a:lnTo>
                      <a:pt x="169" y="1246"/>
                    </a:lnTo>
                    <a:lnTo>
                      <a:pt x="169" y="1279"/>
                    </a:lnTo>
                    <a:lnTo>
                      <a:pt x="163" y="1362"/>
                    </a:lnTo>
                    <a:lnTo>
                      <a:pt x="152" y="1479"/>
                    </a:lnTo>
                    <a:lnTo>
                      <a:pt x="137" y="1617"/>
                    </a:lnTo>
                    <a:lnTo>
                      <a:pt x="119" y="1758"/>
                    </a:lnTo>
                    <a:lnTo>
                      <a:pt x="101" y="1889"/>
                    </a:lnTo>
                    <a:lnTo>
                      <a:pt x="85" y="1996"/>
                    </a:lnTo>
                    <a:lnTo>
                      <a:pt x="71" y="2064"/>
                    </a:lnTo>
                    <a:lnTo>
                      <a:pt x="84" y="2076"/>
                    </a:lnTo>
                    <a:lnTo>
                      <a:pt x="100" y="2084"/>
                    </a:lnTo>
                    <a:lnTo>
                      <a:pt x="118" y="2087"/>
                    </a:lnTo>
                    <a:lnTo>
                      <a:pt x="138" y="2086"/>
                    </a:lnTo>
                    <a:lnTo>
                      <a:pt x="157" y="2079"/>
                    </a:lnTo>
                    <a:lnTo>
                      <a:pt x="175" y="2071"/>
                    </a:lnTo>
                    <a:lnTo>
                      <a:pt x="192" y="2058"/>
                    </a:lnTo>
                    <a:lnTo>
                      <a:pt x="205" y="2043"/>
                    </a:lnTo>
                    <a:lnTo>
                      <a:pt x="200" y="1951"/>
                    </a:lnTo>
                    <a:lnTo>
                      <a:pt x="198" y="1858"/>
                    </a:lnTo>
                    <a:lnTo>
                      <a:pt x="199" y="1762"/>
                    </a:lnTo>
                    <a:lnTo>
                      <a:pt x="203" y="1667"/>
                    </a:lnTo>
                    <a:lnTo>
                      <a:pt x="209" y="1572"/>
                    </a:lnTo>
                    <a:lnTo>
                      <a:pt x="221" y="1477"/>
                    </a:lnTo>
                    <a:lnTo>
                      <a:pt x="235" y="1384"/>
                    </a:lnTo>
                    <a:lnTo>
                      <a:pt x="256" y="1294"/>
                    </a:lnTo>
                    <a:lnTo>
                      <a:pt x="256" y="1245"/>
                    </a:lnTo>
                    <a:lnTo>
                      <a:pt x="256" y="1197"/>
                    </a:lnTo>
                    <a:lnTo>
                      <a:pt x="256" y="1147"/>
                    </a:lnTo>
                    <a:lnTo>
                      <a:pt x="258" y="1098"/>
                    </a:lnTo>
                    <a:lnTo>
                      <a:pt x="261" y="1047"/>
                    </a:lnTo>
                    <a:lnTo>
                      <a:pt x="268" y="998"/>
                    </a:lnTo>
                    <a:lnTo>
                      <a:pt x="279" y="949"/>
                    </a:lnTo>
                    <a:lnTo>
                      <a:pt x="294" y="901"/>
                    </a:lnTo>
                    <a:lnTo>
                      <a:pt x="316" y="870"/>
                    </a:lnTo>
                    <a:lnTo>
                      <a:pt x="336" y="846"/>
                    </a:lnTo>
                    <a:lnTo>
                      <a:pt x="353" y="825"/>
                    </a:lnTo>
                    <a:lnTo>
                      <a:pt x="372" y="807"/>
                    </a:lnTo>
                    <a:lnTo>
                      <a:pt x="390" y="788"/>
                    </a:lnTo>
                    <a:lnTo>
                      <a:pt x="412" y="769"/>
                    </a:lnTo>
                    <a:lnTo>
                      <a:pt x="436" y="747"/>
                    </a:lnTo>
                    <a:lnTo>
                      <a:pt x="466" y="720"/>
                    </a:lnTo>
                    <a:lnTo>
                      <a:pt x="463" y="712"/>
                    </a:lnTo>
                    <a:lnTo>
                      <a:pt x="463" y="708"/>
                    </a:lnTo>
                    <a:lnTo>
                      <a:pt x="461" y="705"/>
                    </a:lnTo>
                    <a:lnTo>
                      <a:pt x="460" y="704"/>
                    </a:lnTo>
                    <a:lnTo>
                      <a:pt x="432" y="719"/>
                    </a:lnTo>
                    <a:lnTo>
                      <a:pt x="409" y="735"/>
                    </a:lnTo>
                    <a:lnTo>
                      <a:pt x="386" y="751"/>
                    </a:lnTo>
                    <a:lnTo>
                      <a:pt x="368" y="767"/>
                    </a:lnTo>
                    <a:lnTo>
                      <a:pt x="350" y="781"/>
                    </a:lnTo>
                    <a:lnTo>
                      <a:pt x="332" y="794"/>
                    </a:lnTo>
                    <a:lnTo>
                      <a:pt x="316" y="804"/>
                    </a:lnTo>
                    <a:lnTo>
                      <a:pt x="299" y="812"/>
                    </a:lnTo>
                    <a:lnTo>
                      <a:pt x="296" y="785"/>
                    </a:lnTo>
                    <a:lnTo>
                      <a:pt x="297" y="757"/>
                    </a:lnTo>
                    <a:lnTo>
                      <a:pt x="298" y="727"/>
                    </a:lnTo>
                    <a:lnTo>
                      <a:pt x="301" y="698"/>
                    </a:lnTo>
                    <a:lnTo>
                      <a:pt x="304" y="667"/>
                    </a:lnTo>
                    <a:lnTo>
                      <a:pt x="308" y="637"/>
                    </a:lnTo>
                    <a:lnTo>
                      <a:pt x="311" y="607"/>
                    </a:lnTo>
                    <a:lnTo>
                      <a:pt x="315" y="579"/>
                    </a:lnTo>
                    <a:lnTo>
                      <a:pt x="322" y="508"/>
                    </a:lnTo>
                    <a:lnTo>
                      <a:pt x="330" y="437"/>
                    </a:lnTo>
                    <a:lnTo>
                      <a:pt x="337" y="366"/>
                    </a:lnTo>
                    <a:lnTo>
                      <a:pt x="344" y="296"/>
                    </a:lnTo>
                    <a:lnTo>
                      <a:pt x="350" y="224"/>
                    </a:lnTo>
                    <a:lnTo>
                      <a:pt x="357" y="153"/>
                    </a:lnTo>
                    <a:lnTo>
                      <a:pt x="365" y="81"/>
                    </a:lnTo>
                    <a:lnTo>
                      <a:pt x="374" y="10"/>
                    </a:lnTo>
                    <a:lnTo>
                      <a:pt x="373" y="8"/>
                    </a:lnTo>
                    <a:lnTo>
                      <a:pt x="370" y="6"/>
                    </a:lnTo>
                    <a:lnTo>
                      <a:pt x="365" y="3"/>
                    </a:lnTo>
                    <a:lnTo>
                      <a:pt x="359" y="2"/>
                    </a:lnTo>
                    <a:lnTo>
                      <a:pt x="351" y="0"/>
                    </a:lnTo>
                    <a:lnTo>
                      <a:pt x="340" y="0"/>
                    </a:lnTo>
                    <a:lnTo>
                      <a:pt x="325" y="1"/>
                    </a:lnTo>
                    <a:lnTo>
                      <a:pt x="310" y="5"/>
                    </a:lnTo>
                    <a:close/>
                  </a:path>
                </a:pathLst>
              </a:custGeom>
              <a:gradFill>
                <a:gsLst>
                  <a:gs pos="87000">
                    <a:srgbClr val="FFFCF9">
                      <a:lumMod val="10000"/>
                    </a:srgbClr>
                  </a:gs>
                  <a:gs pos="100000">
                    <a:srgbClr val="F9AF18">
                      <a:lumMod val="60000"/>
                      <a:lumOff val="40000"/>
                    </a:srgbClr>
                  </a:gs>
                  <a:gs pos="100000">
                    <a:srgbClr val="E6E6E6">
                      <a:lumMod val="10000"/>
                    </a:srgbClr>
                  </a:gs>
                </a:gsLst>
                <a:lin ang="13500000" scaled="1"/>
              </a:grad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ndParaRPr>
              </a:p>
            </p:txBody>
          </p:sp>
          <p:grpSp>
            <p:nvGrpSpPr>
              <p:cNvPr id="3358" name="Gruppe 153"/>
              <p:cNvGrpSpPr>
                <a:grpSpLocks/>
              </p:cNvGrpSpPr>
              <p:nvPr/>
            </p:nvGrpSpPr>
            <p:grpSpPr bwMode="auto">
              <a:xfrm rot="779215">
                <a:off x="5272464" y="4272241"/>
                <a:ext cx="3703936" cy="1466354"/>
                <a:chOff x="-666788" y="1440461"/>
                <a:chExt cx="10099831" cy="3998430"/>
              </a:xfrm>
            </p:grpSpPr>
            <p:grpSp>
              <p:nvGrpSpPr>
                <p:cNvPr id="3359" name="Gruppe 16"/>
                <p:cNvGrpSpPr>
                  <a:grpSpLocks/>
                </p:cNvGrpSpPr>
                <p:nvPr/>
              </p:nvGrpSpPr>
              <p:grpSpPr bwMode="auto">
                <a:xfrm>
                  <a:off x="-666788" y="1440461"/>
                  <a:ext cx="10099831" cy="3998430"/>
                  <a:chOff x="-2033984" y="-2884383"/>
                  <a:chExt cx="11257774" cy="5997643"/>
                </a:xfrm>
              </p:grpSpPr>
              <p:sp>
                <p:nvSpPr>
                  <p:cNvPr id="91" name="Freeform 6"/>
                  <p:cNvSpPr>
                    <a:spLocks/>
                  </p:cNvSpPr>
                  <p:nvPr/>
                </p:nvSpPr>
                <p:spPr bwMode="auto">
                  <a:xfrm>
                    <a:off x="-1981965" y="-2880233"/>
                    <a:ext cx="11205735" cy="5993429"/>
                  </a:xfrm>
                  <a:custGeom>
                    <a:avLst/>
                    <a:gdLst>
                      <a:gd name="T0" fmla="*/ 5438 w 7036"/>
                      <a:gd name="T1" fmla="*/ 1364 h 3760"/>
                      <a:gd name="T2" fmla="*/ 5644 w 7036"/>
                      <a:gd name="T3" fmla="*/ 1612 h 3760"/>
                      <a:gd name="T4" fmla="*/ 5850 w 7036"/>
                      <a:gd name="T5" fmla="*/ 1824 h 3760"/>
                      <a:gd name="T6" fmla="*/ 6160 w 7036"/>
                      <a:gd name="T7" fmla="*/ 2088 h 3760"/>
                      <a:gd name="T8" fmla="*/ 6584 w 7036"/>
                      <a:gd name="T9" fmla="*/ 2390 h 3760"/>
                      <a:gd name="T10" fmla="*/ 7036 w 7036"/>
                      <a:gd name="T11" fmla="*/ 2696 h 3760"/>
                      <a:gd name="T12" fmla="*/ 5784 w 7036"/>
                      <a:gd name="T13" fmla="*/ 3094 h 3760"/>
                      <a:gd name="T14" fmla="*/ 4056 w 7036"/>
                      <a:gd name="T15" fmla="*/ 3600 h 3760"/>
                      <a:gd name="T16" fmla="*/ 3546 w 7036"/>
                      <a:gd name="T17" fmla="*/ 3734 h 3760"/>
                      <a:gd name="T18" fmla="*/ 3242 w 7036"/>
                      <a:gd name="T19" fmla="*/ 3756 h 3760"/>
                      <a:gd name="T20" fmla="*/ 2782 w 7036"/>
                      <a:gd name="T21" fmla="*/ 3750 h 3760"/>
                      <a:gd name="T22" fmla="*/ 2492 w 7036"/>
                      <a:gd name="T23" fmla="*/ 3716 h 3760"/>
                      <a:gd name="T24" fmla="*/ 2210 w 7036"/>
                      <a:gd name="T25" fmla="*/ 3654 h 3760"/>
                      <a:gd name="T26" fmla="*/ 1960 w 7036"/>
                      <a:gd name="T27" fmla="*/ 3550 h 3760"/>
                      <a:gd name="T28" fmla="*/ 1832 w 7036"/>
                      <a:gd name="T29" fmla="*/ 3462 h 3760"/>
                      <a:gd name="T30" fmla="*/ 1750 w 7036"/>
                      <a:gd name="T31" fmla="*/ 3378 h 3760"/>
                      <a:gd name="T32" fmla="*/ 1638 w 7036"/>
                      <a:gd name="T33" fmla="*/ 3208 h 3760"/>
                      <a:gd name="T34" fmla="*/ 1508 w 7036"/>
                      <a:gd name="T35" fmla="*/ 2948 h 3760"/>
                      <a:gd name="T36" fmla="*/ 1434 w 7036"/>
                      <a:gd name="T37" fmla="*/ 2732 h 3760"/>
                      <a:gd name="T38" fmla="*/ 1382 w 7036"/>
                      <a:gd name="T39" fmla="*/ 2480 h 3760"/>
                      <a:gd name="T40" fmla="*/ 1344 w 7036"/>
                      <a:gd name="T41" fmla="*/ 2330 h 3760"/>
                      <a:gd name="T42" fmla="*/ 1284 w 7036"/>
                      <a:gd name="T43" fmla="*/ 2244 h 3760"/>
                      <a:gd name="T44" fmla="*/ 1176 w 7036"/>
                      <a:gd name="T45" fmla="*/ 2182 h 3760"/>
                      <a:gd name="T46" fmla="*/ 1048 w 7036"/>
                      <a:gd name="T47" fmla="*/ 2152 h 3760"/>
                      <a:gd name="T48" fmla="*/ 928 w 7036"/>
                      <a:gd name="T49" fmla="*/ 2168 h 3760"/>
                      <a:gd name="T50" fmla="*/ 784 w 7036"/>
                      <a:gd name="T51" fmla="*/ 2238 h 3760"/>
                      <a:gd name="T52" fmla="*/ 548 w 7036"/>
                      <a:gd name="T53" fmla="*/ 2406 h 3760"/>
                      <a:gd name="T54" fmla="*/ 206 w 7036"/>
                      <a:gd name="T55" fmla="*/ 2712 h 3760"/>
                      <a:gd name="T56" fmla="*/ 88 w 7036"/>
                      <a:gd name="T57" fmla="*/ 2816 h 3760"/>
                      <a:gd name="T58" fmla="*/ 34 w 7036"/>
                      <a:gd name="T59" fmla="*/ 2758 h 3760"/>
                      <a:gd name="T60" fmla="*/ 2 w 7036"/>
                      <a:gd name="T61" fmla="*/ 2676 h 3760"/>
                      <a:gd name="T62" fmla="*/ 10 w 7036"/>
                      <a:gd name="T63" fmla="*/ 2592 h 3760"/>
                      <a:gd name="T64" fmla="*/ 54 w 7036"/>
                      <a:gd name="T65" fmla="*/ 2506 h 3760"/>
                      <a:gd name="T66" fmla="*/ 150 w 7036"/>
                      <a:gd name="T67" fmla="*/ 2396 h 3760"/>
                      <a:gd name="T68" fmla="*/ 372 w 7036"/>
                      <a:gd name="T69" fmla="*/ 2222 h 3760"/>
                      <a:gd name="T70" fmla="*/ 648 w 7036"/>
                      <a:gd name="T71" fmla="*/ 2052 h 3760"/>
                      <a:gd name="T72" fmla="*/ 1240 w 7036"/>
                      <a:gd name="T73" fmla="*/ 1724 h 3760"/>
                      <a:gd name="T74" fmla="*/ 1396 w 7036"/>
                      <a:gd name="T75" fmla="*/ 1618 h 3760"/>
                      <a:gd name="T76" fmla="*/ 1506 w 7036"/>
                      <a:gd name="T77" fmla="*/ 1478 h 3760"/>
                      <a:gd name="T78" fmla="*/ 1662 w 7036"/>
                      <a:gd name="T79" fmla="*/ 1226 h 3760"/>
                      <a:gd name="T80" fmla="*/ 1912 w 7036"/>
                      <a:gd name="T81" fmla="*/ 776 h 3760"/>
                      <a:gd name="T82" fmla="*/ 2070 w 7036"/>
                      <a:gd name="T83" fmla="*/ 534 h 3760"/>
                      <a:gd name="T84" fmla="*/ 2264 w 7036"/>
                      <a:gd name="T85" fmla="*/ 322 h 3760"/>
                      <a:gd name="T86" fmla="*/ 2444 w 7036"/>
                      <a:gd name="T87" fmla="*/ 192 h 3760"/>
                      <a:gd name="T88" fmla="*/ 2584 w 7036"/>
                      <a:gd name="T89" fmla="*/ 120 h 3760"/>
                      <a:gd name="T90" fmla="*/ 2742 w 7036"/>
                      <a:gd name="T91" fmla="*/ 64 h 3760"/>
                      <a:gd name="T92" fmla="*/ 2922 w 7036"/>
                      <a:gd name="T93" fmla="*/ 24 h 3760"/>
                      <a:gd name="T94" fmla="*/ 3126 w 7036"/>
                      <a:gd name="T95" fmla="*/ 2 h 3760"/>
                      <a:gd name="T96" fmla="*/ 3288 w 7036"/>
                      <a:gd name="T97" fmla="*/ 2 h 3760"/>
                      <a:gd name="T98" fmla="*/ 3500 w 7036"/>
                      <a:gd name="T99" fmla="*/ 26 h 3760"/>
                      <a:gd name="T100" fmla="*/ 3706 w 7036"/>
                      <a:gd name="T101" fmla="*/ 74 h 3760"/>
                      <a:gd name="T102" fmla="*/ 3956 w 7036"/>
                      <a:gd name="T103" fmla="*/ 166 h 3760"/>
                      <a:gd name="T104" fmla="*/ 4330 w 7036"/>
                      <a:gd name="T105" fmla="*/ 360 h 3760"/>
                      <a:gd name="T106" fmla="*/ 4660 w 7036"/>
                      <a:gd name="T107" fmla="*/ 588 h 3760"/>
                      <a:gd name="T108" fmla="*/ 4938 w 7036"/>
                      <a:gd name="T109" fmla="*/ 820 h 3760"/>
                      <a:gd name="T110" fmla="*/ 5228 w 7036"/>
                      <a:gd name="T111" fmla="*/ 1104 h 376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036"/>
                      <a:gd name="T169" fmla="*/ 0 h 3760"/>
                      <a:gd name="T170" fmla="*/ 7036 w 7036"/>
                      <a:gd name="T171" fmla="*/ 3760 h 376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036" h="3760">
                        <a:moveTo>
                          <a:pt x="5332" y="1222"/>
                        </a:moveTo>
                        <a:lnTo>
                          <a:pt x="5332" y="1222"/>
                        </a:lnTo>
                        <a:lnTo>
                          <a:pt x="5386" y="1294"/>
                        </a:lnTo>
                        <a:lnTo>
                          <a:pt x="5438" y="1364"/>
                        </a:lnTo>
                        <a:lnTo>
                          <a:pt x="5490" y="1430"/>
                        </a:lnTo>
                        <a:lnTo>
                          <a:pt x="5542" y="1494"/>
                        </a:lnTo>
                        <a:lnTo>
                          <a:pt x="5594" y="1554"/>
                        </a:lnTo>
                        <a:lnTo>
                          <a:pt x="5644" y="1612"/>
                        </a:lnTo>
                        <a:lnTo>
                          <a:pt x="5696" y="1668"/>
                        </a:lnTo>
                        <a:lnTo>
                          <a:pt x="5748" y="1722"/>
                        </a:lnTo>
                        <a:lnTo>
                          <a:pt x="5800" y="1774"/>
                        </a:lnTo>
                        <a:lnTo>
                          <a:pt x="5850" y="1824"/>
                        </a:lnTo>
                        <a:lnTo>
                          <a:pt x="5902" y="1872"/>
                        </a:lnTo>
                        <a:lnTo>
                          <a:pt x="5954" y="1918"/>
                        </a:lnTo>
                        <a:lnTo>
                          <a:pt x="6056" y="2006"/>
                        </a:lnTo>
                        <a:lnTo>
                          <a:pt x="6160" y="2088"/>
                        </a:lnTo>
                        <a:lnTo>
                          <a:pt x="6264" y="2168"/>
                        </a:lnTo>
                        <a:lnTo>
                          <a:pt x="6370" y="2242"/>
                        </a:lnTo>
                        <a:lnTo>
                          <a:pt x="6476" y="2316"/>
                        </a:lnTo>
                        <a:lnTo>
                          <a:pt x="6584" y="2390"/>
                        </a:lnTo>
                        <a:lnTo>
                          <a:pt x="6806" y="2538"/>
                        </a:lnTo>
                        <a:lnTo>
                          <a:pt x="6920" y="2616"/>
                        </a:lnTo>
                        <a:lnTo>
                          <a:pt x="7036" y="2696"/>
                        </a:lnTo>
                        <a:lnTo>
                          <a:pt x="6882" y="2748"/>
                        </a:lnTo>
                        <a:lnTo>
                          <a:pt x="6700" y="2808"/>
                        </a:lnTo>
                        <a:lnTo>
                          <a:pt x="6272" y="2944"/>
                        </a:lnTo>
                        <a:lnTo>
                          <a:pt x="5784" y="3094"/>
                        </a:lnTo>
                        <a:lnTo>
                          <a:pt x="5266" y="3250"/>
                        </a:lnTo>
                        <a:lnTo>
                          <a:pt x="4752" y="3400"/>
                        </a:lnTo>
                        <a:lnTo>
                          <a:pt x="4272" y="3538"/>
                        </a:lnTo>
                        <a:lnTo>
                          <a:pt x="4056" y="3600"/>
                        </a:lnTo>
                        <a:lnTo>
                          <a:pt x="3860" y="3652"/>
                        </a:lnTo>
                        <a:lnTo>
                          <a:pt x="3690" y="3698"/>
                        </a:lnTo>
                        <a:lnTo>
                          <a:pt x="3546" y="3734"/>
                        </a:lnTo>
                        <a:lnTo>
                          <a:pt x="3502" y="3740"/>
                        </a:lnTo>
                        <a:lnTo>
                          <a:pt x="3434" y="3746"/>
                        </a:lnTo>
                        <a:lnTo>
                          <a:pt x="3346" y="3752"/>
                        </a:lnTo>
                        <a:lnTo>
                          <a:pt x="3242" y="3756"/>
                        </a:lnTo>
                        <a:lnTo>
                          <a:pt x="3122" y="3760"/>
                        </a:lnTo>
                        <a:lnTo>
                          <a:pt x="2992" y="3758"/>
                        </a:lnTo>
                        <a:lnTo>
                          <a:pt x="2854" y="3754"/>
                        </a:lnTo>
                        <a:lnTo>
                          <a:pt x="2782" y="3750"/>
                        </a:lnTo>
                        <a:lnTo>
                          <a:pt x="2710" y="3744"/>
                        </a:lnTo>
                        <a:lnTo>
                          <a:pt x="2638" y="3736"/>
                        </a:lnTo>
                        <a:lnTo>
                          <a:pt x="2564" y="3728"/>
                        </a:lnTo>
                        <a:lnTo>
                          <a:pt x="2492" y="3716"/>
                        </a:lnTo>
                        <a:lnTo>
                          <a:pt x="2420" y="3704"/>
                        </a:lnTo>
                        <a:lnTo>
                          <a:pt x="2348" y="3690"/>
                        </a:lnTo>
                        <a:lnTo>
                          <a:pt x="2278" y="3672"/>
                        </a:lnTo>
                        <a:lnTo>
                          <a:pt x="2210" y="3654"/>
                        </a:lnTo>
                        <a:lnTo>
                          <a:pt x="2144" y="3632"/>
                        </a:lnTo>
                        <a:lnTo>
                          <a:pt x="2080" y="3608"/>
                        </a:lnTo>
                        <a:lnTo>
                          <a:pt x="2018" y="3580"/>
                        </a:lnTo>
                        <a:lnTo>
                          <a:pt x="1960" y="3550"/>
                        </a:lnTo>
                        <a:lnTo>
                          <a:pt x="1906" y="3518"/>
                        </a:lnTo>
                        <a:lnTo>
                          <a:pt x="1880" y="3500"/>
                        </a:lnTo>
                        <a:lnTo>
                          <a:pt x="1856" y="3482"/>
                        </a:lnTo>
                        <a:lnTo>
                          <a:pt x="1832" y="3462"/>
                        </a:lnTo>
                        <a:lnTo>
                          <a:pt x="1810" y="3444"/>
                        </a:lnTo>
                        <a:lnTo>
                          <a:pt x="1788" y="3422"/>
                        </a:lnTo>
                        <a:lnTo>
                          <a:pt x="1768" y="3400"/>
                        </a:lnTo>
                        <a:lnTo>
                          <a:pt x="1750" y="3378"/>
                        </a:lnTo>
                        <a:lnTo>
                          <a:pt x="1732" y="3356"/>
                        </a:lnTo>
                        <a:lnTo>
                          <a:pt x="1682" y="3280"/>
                        </a:lnTo>
                        <a:lnTo>
                          <a:pt x="1638" y="3208"/>
                        </a:lnTo>
                        <a:lnTo>
                          <a:pt x="1600" y="3138"/>
                        </a:lnTo>
                        <a:lnTo>
                          <a:pt x="1564" y="3072"/>
                        </a:lnTo>
                        <a:lnTo>
                          <a:pt x="1534" y="3010"/>
                        </a:lnTo>
                        <a:lnTo>
                          <a:pt x="1508" y="2948"/>
                        </a:lnTo>
                        <a:lnTo>
                          <a:pt x="1484" y="2890"/>
                        </a:lnTo>
                        <a:lnTo>
                          <a:pt x="1466" y="2836"/>
                        </a:lnTo>
                        <a:lnTo>
                          <a:pt x="1448" y="2782"/>
                        </a:lnTo>
                        <a:lnTo>
                          <a:pt x="1434" y="2732"/>
                        </a:lnTo>
                        <a:lnTo>
                          <a:pt x="1422" y="2684"/>
                        </a:lnTo>
                        <a:lnTo>
                          <a:pt x="1412" y="2640"/>
                        </a:lnTo>
                        <a:lnTo>
                          <a:pt x="1396" y="2556"/>
                        </a:lnTo>
                        <a:lnTo>
                          <a:pt x="1382" y="2480"/>
                        </a:lnTo>
                        <a:lnTo>
                          <a:pt x="1368" y="2414"/>
                        </a:lnTo>
                        <a:lnTo>
                          <a:pt x="1362" y="2384"/>
                        </a:lnTo>
                        <a:lnTo>
                          <a:pt x="1354" y="2356"/>
                        </a:lnTo>
                        <a:lnTo>
                          <a:pt x="1344" y="2330"/>
                        </a:lnTo>
                        <a:lnTo>
                          <a:pt x="1332" y="2306"/>
                        </a:lnTo>
                        <a:lnTo>
                          <a:pt x="1318" y="2284"/>
                        </a:lnTo>
                        <a:lnTo>
                          <a:pt x="1302" y="2264"/>
                        </a:lnTo>
                        <a:lnTo>
                          <a:pt x="1284" y="2244"/>
                        </a:lnTo>
                        <a:lnTo>
                          <a:pt x="1262" y="2226"/>
                        </a:lnTo>
                        <a:lnTo>
                          <a:pt x="1238" y="2210"/>
                        </a:lnTo>
                        <a:lnTo>
                          <a:pt x="1208" y="2196"/>
                        </a:lnTo>
                        <a:lnTo>
                          <a:pt x="1176" y="2182"/>
                        </a:lnTo>
                        <a:lnTo>
                          <a:pt x="1138" y="2172"/>
                        </a:lnTo>
                        <a:lnTo>
                          <a:pt x="1096" y="2160"/>
                        </a:lnTo>
                        <a:lnTo>
                          <a:pt x="1048" y="2152"/>
                        </a:lnTo>
                        <a:lnTo>
                          <a:pt x="1020" y="2150"/>
                        </a:lnTo>
                        <a:lnTo>
                          <a:pt x="992" y="2152"/>
                        </a:lnTo>
                        <a:lnTo>
                          <a:pt x="962" y="2158"/>
                        </a:lnTo>
                        <a:lnTo>
                          <a:pt x="928" y="2168"/>
                        </a:lnTo>
                        <a:lnTo>
                          <a:pt x="894" y="2180"/>
                        </a:lnTo>
                        <a:lnTo>
                          <a:pt x="858" y="2198"/>
                        </a:lnTo>
                        <a:lnTo>
                          <a:pt x="822" y="2216"/>
                        </a:lnTo>
                        <a:lnTo>
                          <a:pt x="784" y="2238"/>
                        </a:lnTo>
                        <a:lnTo>
                          <a:pt x="746" y="2262"/>
                        </a:lnTo>
                        <a:lnTo>
                          <a:pt x="706" y="2288"/>
                        </a:lnTo>
                        <a:lnTo>
                          <a:pt x="628" y="2346"/>
                        </a:lnTo>
                        <a:lnTo>
                          <a:pt x="548" y="2406"/>
                        </a:lnTo>
                        <a:lnTo>
                          <a:pt x="470" y="2472"/>
                        </a:lnTo>
                        <a:lnTo>
                          <a:pt x="396" y="2536"/>
                        </a:lnTo>
                        <a:lnTo>
                          <a:pt x="326" y="2600"/>
                        </a:lnTo>
                        <a:lnTo>
                          <a:pt x="206" y="2712"/>
                        </a:lnTo>
                        <a:lnTo>
                          <a:pt x="122" y="2790"/>
                        </a:lnTo>
                        <a:lnTo>
                          <a:pt x="98" y="2810"/>
                        </a:lnTo>
                        <a:lnTo>
                          <a:pt x="90" y="2816"/>
                        </a:lnTo>
                        <a:lnTo>
                          <a:pt x="88" y="2816"/>
                        </a:lnTo>
                        <a:lnTo>
                          <a:pt x="66" y="2798"/>
                        </a:lnTo>
                        <a:lnTo>
                          <a:pt x="50" y="2778"/>
                        </a:lnTo>
                        <a:lnTo>
                          <a:pt x="34" y="2758"/>
                        </a:lnTo>
                        <a:lnTo>
                          <a:pt x="22" y="2738"/>
                        </a:lnTo>
                        <a:lnTo>
                          <a:pt x="14" y="2718"/>
                        </a:lnTo>
                        <a:lnTo>
                          <a:pt x="6" y="2698"/>
                        </a:lnTo>
                        <a:lnTo>
                          <a:pt x="2" y="2676"/>
                        </a:lnTo>
                        <a:lnTo>
                          <a:pt x="0" y="2656"/>
                        </a:lnTo>
                        <a:lnTo>
                          <a:pt x="2" y="2634"/>
                        </a:lnTo>
                        <a:lnTo>
                          <a:pt x="6" y="2614"/>
                        </a:lnTo>
                        <a:lnTo>
                          <a:pt x="10" y="2592"/>
                        </a:lnTo>
                        <a:lnTo>
                          <a:pt x="18" y="2570"/>
                        </a:lnTo>
                        <a:lnTo>
                          <a:pt x="28" y="2550"/>
                        </a:lnTo>
                        <a:lnTo>
                          <a:pt x="40" y="2528"/>
                        </a:lnTo>
                        <a:lnTo>
                          <a:pt x="54" y="2506"/>
                        </a:lnTo>
                        <a:lnTo>
                          <a:pt x="70" y="2484"/>
                        </a:lnTo>
                        <a:lnTo>
                          <a:pt x="86" y="2462"/>
                        </a:lnTo>
                        <a:lnTo>
                          <a:pt x="106" y="2440"/>
                        </a:lnTo>
                        <a:lnTo>
                          <a:pt x="150" y="2396"/>
                        </a:lnTo>
                        <a:lnTo>
                          <a:pt x="198" y="2352"/>
                        </a:lnTo>
                        <a:lnTo>
                          <a:pt x="252" y="2308"/>
                        </a:lnTo>
                        <a:lnTo>
                          <a:pt x="310" y="2264"/>
                        </a:lnTo>
                        <a:lnTo>
                          <a:pt x="372" y="2222"/>
                        </a:lnTo>
                        <a:lnTo>
                          <a:pt x="438" y="2178"/>
                        </a:lnTo>
                        <a:lnTo>
                          <a:pt x="506" y="2136"/>
                        </a:lnTo>
                        <a:lnTo>
                          <a:pt x="576" y="2092"/>
                        </a:lnTo>
                        <a:lnTo>
                          <a:pt x="648" y="2052"/>
                        </a:lnTo>
                        <a:lnTo>
                          <a:pt x="792" y="1970"/>
                        </a:lnTo>
                        <a:lnTo>
                          <a:pt x="1066" y="1822"/>
                        </a:lnTo>
                        <a:lnTo>
                          <a:pt x="1186" y="1754"/>
                        </a:lnTo>
                        <a:lnTo>
                          <a:pt x="1240" y="1724"/>
                        </a:lnTo>
                        <a:lnTo>
                          <a:pt x="1288" y="1694"/>
                        </a:lnTo>
                        <a:lnTo>
                          <a:pt x="1332" y="1666"/>
                        </a:lnTo>
                        <a:lnTo>
                          <a:pt x="1368" y="1640"/>
                        </a:lnTo>
                        <a:lnTo>
                          <a:pt x="1396" y="1618"/>
                        </a:lnTo>
                        <a:lnTo>
                          <a:pt x="1418" y="1596"/>
                        </a:lnTo>
                        <a:lnTo>
                          <a:pt x="1462" y="1538"/>
                        </a:lnTo>
                        <a:lnTo>
                          <a:pt x="1506" y="1478"/>
                        </a:lnTo>
                        <a:lnTo>
                          <a:pt x="1548" y="1416"/>
                        </a:lnTo>
                        <a:lnTo>
                          <a:pt x="1588" y="1354"/>
                        </a:lnTo>
                        <a:lnTo>
                          <a:pt x="1626" y="1290"/>
                        </a:lnTo>
                        <a:lnTo>
                          <a:pt x="1662" y="1226"/>
                        </a:lnTo>
                        <a:lnTo>
                          <a:pt x="1734" y="1096"/>
                        </a:lnTo>
                        <a:lnTo>
                          <a:pt x="1804" y="966"/>
                        </a:lnTo>
                        <a:lnTo>
                          <a:pt x="1874" y="838"/>
                        </a:lnTo>
                        <a:lnTo>
                          <a:pt x="1912" y="776"/>
                        </a:lnTo>
                        <a:lnTo>
                          <a:pt x="1948" y="714"/>
                        </a:lnTo>
                        <a:lnTo>
                          <a:pt x="1988" y="652"/>
                        </a:lnTo>
                        <a:lnTo>
                          <a:pt x="2028" y="592"/>
                        </a:lnTo>
                        <a:lnTo>
                          <a:pt x="2070" y="534"/>
                        </a:lnTo>
                        <a:lnTo>
                          <a:pt x="2116" y="478"/>
                        </a:lnTo>
                        <a:lnTo>
                          <a:pt x="2162" y="424"/>
                        </a:lnTo>
                        <a:lnTo>
                          <a:pt x="2212" y="372"/>
                        </a:lnTo>
                        <a:lnTo>
                          <a:pt x="2264" y="322"/>
                        </a:lnTo>
                        <a:lnTo>
                          <a:pt x="2320" y="276"/>
                        </a:lnTo>
                        <a:lnTo>
                          <a:pt x="2380" y="232"/>
                        </a:lnTo>
                        <a:lnTo>
                          <a:pt x="2412" y="212"/>
                        </a:lnTo>
                        <a:lnTo>
                          <a:pt x="2444" y="192"/>
                        </a:lnTo>
                        <a:lnTo>
                          <a:pt x="2478" y="172"/>
                        </a:lnTo>
                        <a:lnTo>
                          <a:pt x="2512" y="154"/>
                        </a:lnTo>
                        <a:lnTo>
                          <a:pt x="2548" y="136"/>
                        </a:lnTo>
                        <a:lnTo>
                          <a:pt x="2584" y="120"/>
                        </a:lnTo>
                        <a:lnTo>
                          <a:pt x="2622" y="104"/>
                        </a:lnTo>
                        <a:lnTo>
                          <a:pt x="2662" y="90"/>
                        </a:lnTo>
                        <a:lnTo>
                          <a:pt x="2702" y="76"/>
                        </a:lnTo>
                        <a:lnTo>
                          <a:pt x="2742" y="64"/>
                        </a:lnTo>
                        <a:lnTo>
                          <a:pt x="2786" y="52"/>
                        </a:lnTo>
                        <a:lnTo>
                          <a:pt x="2830" y="42"/>
                        </a:lnTo>
                        <a:lnTo>
                          <a:pt x="2876" y="32"/>
                        </a:lnTo>
                        <a:lnTo>
                          <a:pt x="2922" y="24"/>
                        </a:lnTo>
                        <a:lnTo>
                          <a:pt x="2972" y="16"/>
                        </a:lnTo>
                        <a:lnTo>
                          <a:pt x="3022" y="10"/>
                        </a:lnTo>
                        <a:lnTo>
                          <a:pt x="3074" y="6"/>
                        </a:lnTo>
                        <a:lnTo>
                          <a:pt x="3126" y="2"/>
                        </a:lnTo>
                        <a:lnTo>
                          <a:pt x="3180" y="0"/>
                        </a:lnTo>
                        <a:lnTo>
                          <a:pt x="3234" y="0"/>
                        </a:lnTo>
                        <a:lnTo>
                          <a:pt x="3288" y="2"/>
                        </a:lnTo>
                        <a:lnTo>
                          <a:pt x="3340" y="4"/>
                        </a:lnTo>
                        <a:lnTo>
                          <a:pt x="3394" y="10"/>
                        </a:lnTo>
                        <a:lnTo>
                          <a:pt x="3446" y="18"/>
                        </a:lnTo>
                        <a:lnTo>
                          <a:pt x="3500" y="26"/>
                        </a:lnTo>
                        <a:lnTo>
                          <a:pt x="3552" y="36"/>
                        </a:lnTo>
                        <a:lnTo>
                          <a:pt x="3604" y="48"/>
                        </a:lnTo>
                        <a:lnTo>
                          <a:pt x="3654" y="60"/>
                        </a:lnTo>
                        <a:lnTo>
                          <a:pt x="3706" y="74"/>
                        </a:lnTo>
                        <a:lnTo>
                          <a:pt x="3758" y="90"/>
                        </a:lnTo>
                        <a:lnTo>
                          <a:pt x="3808" y="108"/>
                        </a:lnTo>
                        <a:lnTo>
                          <a:pt x="3858" y="126"/>
                        </a:lnTo>
                        <a:lnTo>
                          <a:pt x="3956" y="166"/>
                        </a:lnTo>
                        <a:lnTo>
                          <a:pt x="4054" y="210"/>
                        </a:lnTo>
                        <a:lnTo>
                          <a:pt x="4148" y="256"/>
                        </a:lnTo>
                        <a:lnTo>
                          <a:pt x="4240" y="306"/>
                        </a:lnTo>
                        <a:lnTo>
                          <a:pt x="4330" y="360"/>
                        </a:lnTo>
                        <a:lnTo>
                          <a:pt x="4418" y="414"/>
                        </a:lnTo>
                        <a:lnTo>
                          <a:pt x="4502" y="472"/>
                        </a:lnTo>
                        <a:lnTo>
                          <a:pt x="4582" y="530"/>
                        </a:lnTo>
                        <a:lnTo>
                          <a:pt x="4660" y="588"/>
                        </a:lnTo>
                        <a:lnTo>
                          <a:pt x="4736" y="646"/>
                        </a:lnTo>
                        <a:lnTo>
                          <a:pt x="4806" y="706"/>
                        </a:lnTo>
                        <a:lnTo>
                          <a:pt x="4874" y="762"/>
                        </a:lnTo>
                        <a:lnTo>
                          <a:pt x="4938" y="820"/>
                        </a:lnTo>
                        <a:lnTo>
                          <a:pt x="4998" y="874"/>
                        </a:lnTo>
                        <a:lnTo>
                          <a:pt x="5052" y="926"/>
                        </a:lnTo>
                        <a:lnTo>
                          <a:pt x="5150" y="1022"/>
                        </a:lnTo>
                        <a:lnTo>
                          <a:pt x="5228" y="1104"/>
                        </a:lnTo>
                        <a:lnTo>
                          <a:pt x="5284" y="1166"/>
                        </a:lnTo>
                        <a:lnTo>
                          <a:pt x="5332" y="1222"/>
                        </a:lnTo>
                        <a:close/>
                      </a:path>
                    </a:pathLst>
                  </a:custGeom>
                  <a:gradFill rotWithShape="1">
                    <a:gsLst>
                      <a:gs pos="0">
                        <a:srgbClr val="006D2A"/>
                      </a:gs>
                      <a:gs pos="50000">
                        <a:srgbClr val="009E41"/>
                      </a:gs>
                      <a:gs pos="100000">
                        <a:srgbClr val="00BD4F"/>
                      </a:gs>
                    </a:gsLst>
                    <a:lin ang="13500000" scaled="1"/>
                  </a:grad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ndParaRPr>
                  </a:p>
                </p:txBody>
              </p:sp>
              <p:sp>
                <p:nvSpPr>
                  <p:cNvPr id="92" name="Freeform 7"/>
                  <p:cNvSpPr>
                    <a:spLocks/>
                  </p:cNvSpPr>
                  <p:nvPr/>
                </p:nvSpPr>
                <p:spPr bwMode="auto">
                  <a:xfrm>
                    <a:off x="-2034007" y="-2884437"/>
                    <a:ext cx="11205735" cy="4441576"/>
                  </a:xfrm>
                  <a:custGeom>
                    <a:avLst/>
                    <a:gdLst>
                      <a:gd name="T0" fmla="*/ 2382 w 7034"/>
                      <a:gd name="T1" fmla="*/ 1714 h 2792"/>
                      <a:gd name="T2" fmla="*/ 2542 w 7034"/>
                      <a:gd name="T3" fmla="*/ 1702 h 2792"/>
                      <a:gd name="T4" fmla="*/ 2734 w 7034"/>
                      <a:gd name="T5" fmla="*/ 1704 h 2792"/>
                      <a:gd name="T6" fmla="*/ 2954 w 7034"/>
                      <a:gd name="T7" fmla="*/ 1722 h 2792"/>
                      <a:gd name="T8" fmla="*/ 3462 w 7034"/>
                      <a:gd name="T9" fmla="*/ 1794 h 2792"/>
                      <a:gd name="T10" fmla="*/ 4032 w 7034"/>
                      <a:gd name="T11" fmla="*/ 1902 h 2792"/>
                      <a:gd name="T12" fmla="*/ 4632 w 7034"/>
                      <a:gd name="T13" fmla="*/ 2038 h 2792"/>
                      <a:gd name="T14" fmla="*/ 5422 w 7034"/>
                      <a:gd name="T15" fmla="*/ 2238 h 2792"/>
                      <a:gd name="T16" fmla="*/ 6430 w 7034"/>
                      <a:gd name="T17" fmla="*/ 2518 h 2792"/>
                      <a:gd name="T18" fmla="*/ 7034 w 7034"/>
                      <a:gd name="T19" fmla="*/ 2696 h 2792"/>
                      <a:gd name="T20" fmla="*/ 6804 w 7034"/>
                      <a:gd name="T21" fmla="*/ 2538 h 2792"/>
                      <a:gd name="T22" fmla="*/ 6368 w 7034"/>
                      <a:gd name="T23" fmla="*/ 2242 h 2792"/>
                      <a:gd name="T24" fmla="*/ 6054 w 7034"/>
                      <a:gd name="T25" fmla="*/ 2006 h 2792"/>
                      <a:gd name="T26" fmla="*/ 5848 w 7034"/>
                      <a:gd name="T27" fmla="*/ 1824 h 2792"/>
                      <a:gd name="T28" fmla="*/ 5694 w 7034"/>
                      <a:gd name="T29" fmla="*/ 1668 h 2792"/>
                      <a:gd name="T30" fmla="*/ 5540 w 7034"/>
                      <a:gd name="T31" fmla="*/ 1494 h 2792"/>
                      <a:gd name="T32" fmla="*/ 5384 w 7034"/>
                      <a:gd name="T33" fmla="*/ 1294 h 2792"/>
                      <a:gd name="T34" fmla="*/ 5282 w 7034"/>
                      <a:gd name="T35" fmla="*/ 1166 h 2792"/>
                      <a:gd name="T36" fmla="*/ 5050 w 7034"/>
                      <a:gd name="T37" fmla="*/ 926 h 2792"/>
                      <a:gd name="T38" fmla="*/ 4872 w 7034"/>
                      <a:gd name="T39" fmla="*/ 762 h 2792"/>
                      <a:gd name="T40" fmla="*/ 4658 w 7034"/>
                      <a:gd name="T41" fmla="*/ 588 h 2792"/>
                      <a:gd name="T42" fmla="*/ 4416 w 7034"/>
                      <a:gd name="T43" fmla="*/ 414 h 2792"/>
                      <a:gd name="T44" fmla="*/ 4146 w 7034"/>
                      <a:gd name="T45" fmla="*/ 256 h 2792"/>
                      <a:gd name="T46" fmla="*/ 3856 w 7034"/>
                      <a:gd name="T47" fmla="*/ 126 h 2792"/>
                      <a:gd name="T48" fmla="*/ 3704 w 7034"/>
                      <a:gd name="T49" fmla="*/ 74 h 2792"/>
                      <a:gd name="T50" fmla="*/ 3550 w 7034"/>
                      <a:gd name="T51" fmla="*/ 36 h 2792"/>
                      <a:gd name="T52" fmla="*/ 3392 w 7034"/>
                      <a:gd name="T53" fmla="*/ 10 h 2792"/>
                      <a:gd name="T54" fmla="*/ 3232 w 7034"/>
                      <a:gd name="T55" fmla="*/ 0 h 2792"/>
                      <a:gd name="T56" fmla="*/ 3124 w 7034"/>
                      <a:gd name="T57" fmla="*/ 2 h 2792"/>
                      <a:gd name="T58" fmla="*/ 2970 w 7034"/>
                      <a:gd name="T59" fmla="*/ 16 h 2792"/>
                      <a:gd name="T60" fmla="*/ 2828 w 7034"/>
                      <a:gd name="T61" fmla="*/ 42 h 2792"/>
                      <a:gd name="T62" fmla="*/ 2700 w 7034"/>
                      <a:gd name="T63" fmla="*/ 76 h 2792"/>
                      <a:gd name="T64" fmla="*/ 2582 w 7034"/>
                      <a:gd name="T65" fmla="*/ 120 h 2792"/>
                      <a:gd name="T66" fmla="*/ 2476 w 7034"/>
                      <a:gd name="T67" fmla="*/ 172 h 2792"/>
                      <a:gd name="T68" fmla="*/ 2378 w 7034"/>
                      <a:gd name="T69" fmla="*/ 232 h 2792"/>
                      <a:gd name="T70" fmla="*/ 2210 w 7034"/>
                      <a:gd name="T71" fmla="*/ 372 h 2792"/>
                      <a:gd name="T72" fmla="*/ 2068 w 7034"/>
                      <a:gd name="T73" fmla="*/ 534 h 2792"/>
                      <a:gd name="T74" fmla="*/ 1946 w 7034"/>
                      <a:gd name="T75" fmla="*/ 714 h 2792"/>
                      <a:gd name="T76" fmla="*/ 1802 w 7034"/>
                      <a:gd name="T77" fmla="*/ 966 h 2792"/>
                      <a:gd name="T78" fmla="*/ 1624 w 7034"/>
                      <a:gd name="T79" fmla="*/ 1290 h 2792"/>
                      <a:gd name="T80" fmla="*/ 1504 w 7034"/>
                      <a:gd name="T81" fmla="*/ 1478 h 2792"/>
                      <a:gd name="T82" fmla="*/ 1416 w 7034"/>
                      <a:gd name="T83" fmla="*/ 1596 h 2792"/>
                      <a:gd name="T84" fmla="*/ 1332 w 7034"/>
                      <a:gd name="T85" fmla="*/ 1666 h 2792"/>
                      <a:gd name="T86" fmla="*/ 1192 w 7034"/>
                      <a:gd name="T87" fmla="*/ 1752 h 2792"/>
                      <a:gd name="T88" fmla="*/ 666 w 7034"/>
                      <a:gd name="T89" fmla="*/ 2040 h 2792"/>
                      <a:gd name="T90" fmla="*/ 394 w 7034"/>
                      <a:gd name="T91" fmla="*/ 2206 h 2792"/>
                      <a:gd name="T92" fmla="*/ 218 w 7034"/>
                      <a:gd name="T93" fmla="*/ 2334 h 2792"/>
                      <a:gd name="T94" fmla="*/ 84 w 7034"/>
                      <a:gd name="T95" fmla="*/ 2464 h 2792"/>
                      <a:gd name="T96" fmla="*/ 38 w 7034"/>
                      <a:gd name="T97" fmla="*/ 2528 h 2792"/>
                      <a:gd name="T98" fmla="*/ 10 w 7034"/>
                      <a:gd name="T99" fmla="*/ 2592 h 2792"/>
                      <a:gd name="T100" fmla="*/ 0 w 7034"/>
                      <a:gd name="T101" fmla="*/ 2654 h 2792"/>
                      <a:gd name="T102" fmla="*/ 10 w 7034"/>
                      <a:gd name="T103" fmla="*/ 2714 h 2792"/>
                      <a:gd name="T104" fmla="*/ 44 w 7034"/>
                      <a:gd name="T105" fmla="*/ 2774 h 2792"/>
                      <a:gd name="T106" fmla="*/ 80 w 7034"/>
                      <a:gd name="T107" fmla="*/ 2746 h 2792"/>
                      <a:gd name="T108" fmla="*/ 242 w 7034"/>
                      <a:gd name="T109" fmla="*/ 2532 h 2792"/>
                      <a:gd name="T110" fmla="*/ 416 w 7034"/>
                      <a:gd name="T111" fmla="*/ 2358 h 2792"/>
                      <a:gd name="T112" fmla="*/ 600 w 7034"/>
                      <a:gd name="T113" fmla="*/ 2218 h 2792"/>
                      <a:gd name="T114" fmla="*/ 796 w 7034"/>
                      <a:gd name="T115" fmla="*/ 2106 h 2792"/>
                      <a:gd name="T116" fmla="*/ 1000 w 7034"/>
                      <a:gd name="T117" fmla="*/ 2018 h 2792"/>
                      <a:gd name="T118" fmla="*/ 1214 w 7034"/>
                      <a:gd name="T119" fmla="*/ 1950 h 2792"/>
                      <a:gd name="T120" fmla="*/ 1438 w 7034"/>
                      <a:gd name="T121" fmla="*/ 1894 h 2792"/>
                      <a:gd name="T122" fmla="*/ 1832 w 7034"/>
                      <a:gd name="T123" fmla="*/ 1816 h 2792"/>
                      <a:gd name="T124" fmla="*/ 2336 w 7034"/>
                      <a:gd name="T125" fmla="*/ 1722 h 27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7034"/>
                      <a:gd name="T190" fmla="*/ 0 h 2792"/>
                      <a:gd name="T191" fmla="*/ 7034 w 7034"/>
                      <a:gd name="T192" fmla="*/ 2792 h 279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7034" h="2792">
                        <a:moveTo>
                          <a:pt x="2336" y="1722"/>
                        </a:moveTo>
                        <a:lnTo>
                          <a:pt x="2336" y="1722"/>
                        </a:lnTo>
                        <a:lnTo>
                          <a:pt x="2382" y="1714"/>
                        </a:lnTo>
                        <a:lnTo>
                          <a:pt x="2432" y="1708"/>
                        </a:lnTo>
                        <a:lnTo>
                          <a:pt x="2484" y="1704"/>
                        </a:lnTo>
                        <a:lnTo>
                          <a:pt x="2542" y="1702"/>
                        </a:lnTo>
                        <a:lnTo>
                          <a:pt x="2602" y="1700"/>
                        </a:lnTo>
                        <a:lnTo>
                          <a:pt x="2666" y="1702"/>
                        </a:lnTo>
                        <a:lnTo>
                          <a:pt x="2734" y="1704"/>
                        </a:lnTo>
                        <a:lnTo>
                          <a:pt x="2804" y="1708"/>
                        </a:lnTo>
                        <a:lnTo>
                          <a:pt x="2878" y="1714"/>
                        </a:lnTo>
                        <a:lnTo>
                          <a:pt x="2954" y="1722"/>
                        </a:lnTo>
                        <a:lnTo>
                          <a:pt x="3114" y="1740"/>
                        </a:lnTo>
                        <a:lnTo>
                          <a:pt x="3284" y="1764"/>
                        </a:lnTo>
                        <a:lnTo>
                          <a:pt x="3462" y="1794"/>
                        </a:lnTo>
                        <a:lnTo>
                          <a:pt x="3646" y="1826"/>
                        </a:lnTo>
                        <a:lnTo>
                          <a:pt x="3836" y="1862"/>
                        </a:lnTo>
                        <a:lnTo>
                          <a:pt x="4032" y="1902"/>
                        </a:lnTo>
                        <a:lnTo>
                          <a:pt x="4230" y="1946"/>
                        </a:lnTo>
                        <a:lnTo>
                          <a:pt x="4430" y="1992"/>
                        </a:lnTo>
                        <a:lnTo>
                          <a:pt x="4632" y="2038"/>
                        </a:lnTo>
                        <a:lnTo>
                          <a:pt x="4834" y="2088"/>
                        </a:lnTo>
                        <a:lnTo>
                          <a:pt x="5032" y="2138"/>
                        </a:lnTo>
                        <a:lnTo>
                          <a:pt x="5422" y="2238"/>
                        </a:lnTo>
                        <a:lnTo>
                          <a:pt x="5792" y="2338"/>
                        </a:lnTo>
                        <a:lnTo>
                          <a:pt x="6132" y="2432"/>
                        </a:lnTo>
                        <a:lnTo>
                          <a:pt x="6430" y="2518"/>
                        </a:lnTo>
                        <a:lnTo>
                          <a:pt x="6680" y="2590"/>
                        </a:lnTo>
                        <a:lnTo>
                          <a:pt x="6870" y="2648"/>
                        </a:lnTo>
                        <a:lnTo>
                          <a:pt x="7034" y="2696"/>
                        </a:lnTo>
                        <a:lnTo>
                          <a:pt x="6918" y="2616"/>
                        </a:lnTo>
                        <a:lnTo>
                          <a:pt x="6804" y="2538"/>
                        </a:lnTo>
                        <a:lnTo>
                          <a:pt x="6582" y="2390"/>
                        </a:lnTo>
                        <a:lnTo>
                          <a:pt x="6474" y="2316"/>
                        </a:lnTo>
                        <a:lnTo>
                          <a:pt x="6368" y="2242"/>
                        </a:lnTo>
                        <a:lnTo>
                          <a:pt x="6262" y="2168"/>
                        </a:lnTo>
                        <a:lnTo>
                          <a:pt x="6158" y="2088"/>
                        </a:lnTo>
                        <a:lnTo>
                          <a:pt x="6054" y="2006"/>
                        </a:lnTo>
                        <a:lnTo>
                          <a:pt x="5952" y="1918"/>
                        </a:lnTo>
                        <a:lnTo>
                          <a:pt x="5900" y="1872"/>
                        </a:lnTo>
                        <a:lnTo>
                          <a:pt x="5848" y="1824"/>
                        </a:lnTo>
                        <a:lnTo>
                          <a:pt x="5798" y="1774"/>
                        </a:lnTo>
                        <a:lnTo>
                          <a:pt x="5746" y="1722"/>
                        </a:lnTo>
                        <a:lnTo>
                          <a:pt x="5694" y="1668"/>
                        </a:lnTo>
                        <a:lnTo>
                          <a:pt x="5642" y="1612"/>
                        </a:lnTo>
                        <a:lnTo>
                          <a:pt x="5592" y="1554"/>
                        </a:lnTo>
                        <a:lnTo>
                          <a:pt x="5540" y="1494"/>
                        </a:lnTo>
                        <a:lnTo>
                          <a:pt x="5488" y="1430"/>
                        </a:lnTo>
                        <a:lnTo>
                          <a:pt x="5436" y="1364"/>
                        </a:lnTo>
                        <a:lnTo>
                          <a:pt x="5384" y="1294"/>
                        </a:lnTo>
                        <a:lnTo>
                          <a:pt x="5330" y="1222"/>
                        </a:lnTo>
                        <a:lnTo>
                          <a:pt x="5282" y="1166"/>
                        </a:lnTo>
                        <a:lnTo>
                          <a:pt x="5226" y="1104"/>
                        </a:lnTo>
                        <a:lnTo>
                          <a:pt x="5148" y="1022"/>
                        </a:lnTo>
                        <a:lnTo>
                          <a:pt x="5050" y="926"/>
                        </a:lnTo>
                        <a:lnTo>
                          <a:pt x="4996" y="874"/>
                        </a:lnTo>
                        <a:lnTo>
                          <a:pt x="4936" y="820"/>
                        </a:lnTo>
                        <a:lnTo>
                          <a:pt x="4872" y="762"/>
                        </a:lnTo>
                        <a:lnTo>
                          <a:pt x="4804" y="706"/>
                        </a:lnTo>
                        <a:lnTo>
                          <a:pt x="4734" y="646"/>
                        </a:lnTo>
                        <a:lnTo>
                          <a:pt x="4658" y="588"/>
                        </a:lnTo>
                        <a:lnTo>
                          <a:pt x="4580" y="530"/>
                        </a:lnTo>
                        <a:lnTo>
                          <a:pt x="4500" y="472"/>
                        </a:lnTo>
                        <a:lnTo>
                          <a:pt x="4416" y="414"/>
                        </a:lnTo>
                        <a:lnTo>
                          <a:pt x="4328" y="360"/>
                        </a:lnTo>
                        <a:lnTo>
                          <a:pt x="4238" y="306"/>
                        </a:lnTo>
                        <a:lnTo>
                          <a:pt x="4146" y="256"/>
                        </a:lnTo>
                        <a:lnTo>
                          <a:pt x="4052" y="210"/>
                        </a:lnTo>
                        <a:lnTo>
                          <a:pt x="3954" y="166"/>
                        </a:lnTo>
                        <a:lnTo>
                          <a:pt x="3856" y="126"/>
                        </a:lnTo>
                        <a:lnTo>
                          <a:pt x="3806" y="108"/>
                        </a:lnTo>
                        <a:lnTo>
                          <a:pt x="3756" y="90"/>
                        </a:lnTo>
                        <a:lnTo>
                          <a:pt x="3704" y="74"/>
                        </a:lnTo>
                        <a:lnTo>
                          <a:pt x="3652" y="60"/>
                        </a:lnTo>
                        <a:lnTo>
                          <a:pt x="3602" y="48"/>
                        </a:lnTo>
                        <a:lnTo>
                          <a:pt x="3550" y="36"/>
                        </a:lnTo>
                        <a:lnTo>
                          <a:pt x="3498" y="26"/>
                        </a:lnTo>
                        <a:lnTo>
                          <a:pt x="3444" y="18"/>
                        </a:lnTo>
                        <a:lnTo>
                          <a:pt x="3392" y="10"/>
                        </a:lnTo>
                        <a:lnTo>
                          <a:pt x="3338" y="4"/>
                        </a:lnTo>
                        <a:lnTo>
                          <a:pt x="3286" y="2"/>
                        </a:lnTo>
                        <a:lnTo>
                          <a:pt x="3232" y="0"/>
                        </a:lnTo>
                        <a:lnTo>
                          <a:pt x="3178" y="0"/>
                        </a:lnTo>
                        <a:lnTo>
                          <a:pt x="3124" y="2"/>
                        </a:lnTo>
                        <a:lnTo>
                          <a:pt x="3072" y="6"/>
                        </a:lnTo>
                        <a:lnTo>
                          <a:pt x="3020" y="10"/>
                        </a:lnTo>
                        <a:lnTo>
                          <a:pt x="2970" y="16"/>
                        </a:lnTo>
                        <a:lnTo>
                          <a:pt x="2920" y="24"/>
                        </a:lnTo>
                        <a:lnTo>
                          <a:pt x="2874" y="32"/>
                        </a:lnTo>
                        <a:lnTo>
                          <a:pt x="2828" y="42"/>
                        </a:lnTo>
                        <a:lnTo>
                          <a:pt x="2784" y="52"/>
                        </a:lnTo>
                        <a:lnTo>
                          <a:pt x="2740" y="64"/>
                        </a:lnTo>
                        <a:lnTo>
                          <a:pt x="2700" y="76"/>
                        </a:lnTo>
                        <a:lnTo>
                          <a:pt x="2660" y="90"/>
                        </a:lnTo>
                        <a:lnTo>
                          <a:pt x="2620" y="104"/>
                        </a:lnTo>
                        <a:lnTo>
                          <a:pt x="2582" y="120"/>
                        </a:lnTo>
                        <a:lnTo>
                          <a:pt x="2546" y="136"/>
                        </a:lnTo>
                        <a:lnTo>
                          <a:pt x="2510" y="154"/>
                        </a:lnTo>
                        <a:lnTo>
                          <a:pt x="2476" y="172"/>
                        </a:lnTo>
                        <a:lnTo>
                          <a:pt x="2442" y="192"/>
                        </a:lnTo>
                        <a:lnTo>
                          <a:pt x="2410" y="212"/>
                        </a:lnTo>
                        <a:lnTo>
                          <a:pt x="2378" y="232"/>
                        </a:lnTo>
                        <a:lnTo>
                          <a:pt x="2318" y="276"/>
                        </a:lnTo>
                        <a:lnTo>
                          <a:pt x="2262" y="322"/>
                        </a:lnTo>
                        <a:lnTo>
                          <a:pt x="2210" y="372"/>
                        </a:lnTo>
                        <a:lnTo>
                          <a:pt x="2160" y="424"/>
                        </a:lnTo>
                        <a:lnTo>
                          <a:pt x="2114" y="478"/>
                        </a:lnTo>
                        <a:lnTo>
                          <a:pt x="2068" y="534"/>
                        </a:lnTo>
                        <a:lnTo>
                          <a:pt x="2026" y="592"/>
                        </a:lnTo>
                        <a:lnTo>
                          <a:pt x="1986" y="652"/>
                        </a:lnTo>
                        <a:lnTo>
                          <a:pt x="1946" y="714"/>
                        </a:lnTo>
                        <a:lnTo>
                          <a:pt x="1910" y="776"/>
                        </a:lnTo>
                        <a:lnTo>
                          <a:pt x="1872" y="838"/>
                        </a:lnTo>
                        <a:lnTo>
                          <a:pt x="1802" y="966"/>
                        </a:lnTo>
                        <a:lnTo>
                          <a:pt x="1732" y="1096"/>
                        </a:lnTo>
                        <a:lnTo>
                          <a:pt x="1660" y="1226"/>
                        </a:lnTo>
                        <a:lnTo>
                          <a:pt x="1624" y="1290"/>
                        </a:lnTo>
                        <a:lnTo>
                          <a:pt x="1586" y="1354"/>
                        </a:lnTo>
                        <a:lnTo>
                          <a:pt x="1546" y="1416"/>
                        </a:lnTo>
                        <a:lnTo>
                          <a:pt x="1504" y="1478"/>
                        </a:lnTo>
                        <a:lnTo>
                          <a:pt x="1460" y="1538"/>
                        </a:lnTo>
                        <a:lnTo>
                          <a:pt x="1416" y="1596"/>
                        </a:lnTo>
                        <a:lnTo>
                          <a:pt x="1394" y="1616"/>
                        </a:lnTo>
                        <a:lnTo>
                          <a:pt x="1366" y="1640"/>
                        </a:lnTo>
                        <a:lnTo>
                          <a:pt x="1332" y="1666"/>
                        </a:lnTo>
                        <a:lnTo>
                          <a:pt x="1290" y="1692"/>
                        </a:lnTo>
                        <a:lnTo>
                          <a:pt x="1244" y="1720"/>
                        </a:lnTo>
                        <a:lnTo>
                          <a:pt x="1192" y="1752"/>
                        </a:lnTo>
                        <a:lnTo>
                          <a:pt x="1074" y="1816"/>
                        </a:lnTo>
                        <a:lnTo>
                          <a:pt x="806" y="1962"/>
                        </a:lnTo>
                        <a:lnTo>
                          <a:pt x="666" y="2040"/>
                        </a:lnTo>
                        <a:lnTo>
                          <a:pt x="526" y="2122"/>
                        </a:lnTo>
                        <a:lnTo>
                          <a:pt x="458" y="2164"/>
                        </a:lnTo>
                        <a:lnTo>
                          <a:pt x="394" y="2206"/>
                        </a:lnTo>
                        <a:lnTo>
                          <a:pt x="330" y="2248"/>
                        </a:lnTo>
                        <a:lnTo>
                          <a:pt x="272" y="2292"/>
                        </a:lnTo>
                        <a:lnTo>
                          <a:pt x="218" y="2334"/>
                        </a:lnTo>
                        <a:lnTo>
                          <a:pt x="168" y="2378"/>
                        </a:lnTo>
                        <a:lnTo>
                          <a:pt x="122" y="2420"/>
                        </a:lnTo>
                        <a:lnTo>
                          <a:pt x="84" y="2464"/>
                        </a:lnTo>
                        <a:lnTo>
                          <a:pt x="66" y="2486"/>
                        </a:lnTo>
                        <a:lnTo>
                          <a:pt x="52" y="2506"/>
                        </a:lnTo>
                        <a:lnTo>
                          <a:pt x="38" y="2528"/>
                        </a:lnTo>
                        <a:lnTo>
                          <a:pt x="26" y="2550"/>
                        </a:lnTo>
                        <a:lnTo>
                          <a:pt x="16" y="2570"/>
                        </a:lnTo>
                        <a:lnTo>
                          <a:pt x="10" y="2592"/>
                        </a:lnTo>
                        <a:lnTo>
                          <a:pt x="4" y="2612"/>
                        </a:lnTo>
                        <a:lnTo>
                          <a:pt x="0" y="2632"/>
                        </a:lnTo>
                        <a:lnTo>
                          <a:pt x="0" y="2654"/>
                        </a:lnTo>
                        <a:lnTo>
                          <a:pt x="0" y="2674"/>
                        </a:lnTo>
                        <a:lnTo>
                          <a:pt x="4" y="2694"/>
                        </a:lnTo>
                        <a:lnTo>
                          <a:pt x="10" y="2714"/>
                        </a:lnTo>
                        <a:lnTo>
                          <a:pt x="18" y="2734"/>
                        </a:lnTo>
                        <a:lnTo>
                          <a:pt x="30" y="2754"/>
                        </a:lnTo>
                        <a:lnTo>
                          <a:pt x="44" y="2774"/>
                        </a:lnTo>
                        <a:lnTo>
                          <a:pt x="60" y="2792"/>
                        </a:lnTo>
                        <a:lnTo>
                          <a:pt x="80" y="2746"/>
                        </a:lnTo>
                        <a:lnTo>
                          <a:pt x="134" y="2670"/>
                        </a:lnTo>
                        <a:lnTo>
                          <a:pt x="188" y="2600"/>
                        </a:lnTo>
                        <a:lnTo>
                          <a:pt x="242" y="2532"/>
                        </a:lnTo>
                        <a:lnTo>
                          <a:pt x="300" y="2470"/>
                        </a:lnTo>
                        <a:lnTo>
                          <a:pt x="358" y="2412"/>
                        </a:lnTo>
                        <a:lnTo>
                          <a:pt x="416" y="2358"/>
                        </a:lnTo>
                        <a:lnTo>
                          <a:pt x="476" y="2308"/>
                        </a:lnTo>
                        <a:lnTo>
                          <a:pt x="538" y="2262"/>
                        </a:lnTo>
                        <a:lnTo>
                          <a:pt x="600" y="2218"/>
                        </a:lnTo>
                        <a:lnTo>
                          <a:pt x="664" y="2178"/>
                        </a:lnTo>
                        <a:lnTo>
                          <a:pt x="730" y="2142"/>
                        </a:lnTo>
                        <a:lnTo>
                          <a:pt x="796" y="2106"/>
                        </a:lnTo>
                        <a:lnTo>
                          <a:pt x="862" y="2076"/>
                        </a:lnTo>
                        <a:lnTo>
                          <a:pt x="930" y="2046"/>
                        </a:lnTo>
                        <a:lnTo>
                          <a:pt x="1000" y="2018"/>
                        </a:lnTo>
                        <a:lnTo>
                          <a:pt x="1070" y="1994"/>
                        </a:lnTo>
                        <a:lnTo>
                          <a:pt x="1142" y="1970"/>
                        </a:lnTo>
                        <a:lnTo>
                          <a:pt x="1214" y="1950"/>
                        </a:lnTo>
                        <a:lnTo>
                          <a:pt x="1288" y="1930"/>
                        </a:lnTo>
                        <a:lnTo>
                          <a:pt x="1362" y="1910"/>
                        </a:lnTo>
                        <a:lnTo>
                          <a:pt x="1438" y="1894"/>
                        </a:lnTo>
                        <a:lnTo>
                          <a:pt x="1514" y="1876"/>
                        </a:lnTo>
                        <a:lnTo>
                          <a:pt x="1670" y="1846"/>
                        </a:lnTo>
                        <a:lnTo>
                          <a:pt x="1832" y="1816"/>
                        </a:lnTo>
                        <a:lnTo>
                          <a:pt x="1996" y="1786"/>
                        </a:lnTo>
                        <a:lnTo>
                          <a:pt x="2164" y="1756"/>
                        </a:lnTo>
                        <a:lnTo>
                          <a:pt x="2336" y="1722"/>
                        </a:lnTo>
                        <a:close/>
                      </a:path>
                    </a:pathLst>
                  </a:custGeom>
                  <a:gradFill rotWithShape="1">
                    <a:gsLst>
                      <a:gs pos="0">
                        <a:srgbClr val="92D050"/>
                      </a:gs>
                      <a:gs pos="50000">
                        <a:srgbClr val="92D050"/>
                      </a:gs>
                      <a:gs pos="100000">
                        <a:srgbClr val="00BD4F"/>
                      </a:gs>
                    </a:gsLst>
                    <a:lin ang="13500000" scaled="1"/>
                  </a:grad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ndParaRPr>
                  </a:p>
                </p:txBody>
              </p:sp>
            </p:grpSp>
            <p:sp>
              <p:nvSpPr>
                <p:cNvPr id="90" name="Freeform 20"/>
                <p:cNvSpPr>
                  <a:spLocks/>
                </p:cNvSpPr>
                <p:nvPr/>
              </p:nvSpPr>
              <p:spPr bwMode="auto">
                <a:xfrm>
                  <a:off x="-628596" y="3172845"/>
                  <a:ext cx="9981845" cy="1105942"/>
                </a:xfrm>
                <a:custGeom>
                  <a:avLst/>
                  <a:gdLst>
                    <a:gd name="T0" fmla="*/ 2292 w 6888"/>
                    <a:gd name="T1" fmla="*/ 112 h 1108"/>
                    <a:gd name="T2" fmla="*/ 2376 w 6888"/>
                    <a:gd name="T3" fmla="*/ 106 h 1108"/>
                    <a:gd name="T4" fmla="*/ 2472 w 6888"/>
                    <a:gd name="T5" fmla="*/ 104 h 1108"/>
                    <a:gd name="T6" fmla="*/ 2694 w 6888"/>
                    <a:gd name="T7" fmla="*/ 114 h 1108"/>
                    <a:gd name="T8" fmla="*/ 2956 w 6888"/>
                    <a:gd name="T9" fmla="*/ 142 h 1108"/>
                    <a:gd name="T10" fmla="*/ 3246 w 6888"/>
                    <a:gd name="T11" fmla="*/ 184 h 1108"/>
                    <a:gd name="T12" fmla="*/ 3564 w 6888"/>
                    <a:gd name="T13" fmla="*/ 238 h 1108"/>
                    <a:gd name="T14" fmla="*/ 3898 w 6888"/>
                    <a:gd name="T15" fmla="*/ 302 h 1108"/>
                    <a:gd name="T16" fmla="*/ 4244 w 6888"/>
                    <a:gd name="T17" fmla="*/ 376 h 1108"/>
                    <a:gd name="T18" fmla="*/ 4944 w 6888"/>
                    <a:gd name="T19" fmla="*/ 536 h 1108"/>
                    <a:gd name="T20" fmla="*/ 5616 w 6888"/>
                    <a:gd name="T21" fmla="*/ 704 h 1108"/>
                    <a:gd name="T22" fmla="*/ 6206 w 6888"/>
                    <a:gd name="T23" fmla="*/ 862 h 1108"/>
                    <a:gd name="T24" fmla="*/ 6664 w 6888"/>
                    <a:gd name="T25" fmla="*/ 990 h 1108"/>
                    <a:gd name="T26" fmla="*/ 6826 w 6888"/>
                    <a:gd name="T27" fmla="*/ 1038 h 1108"/>
                    <a:gd name="T28" fmla="*/ 6888 w 6888"/>
                    <a:gd name="T29" fmla="*/ 1016 h 1108"/>
                    <a:gd name="T30" fmla="*/ 6744 w 6888"/>
                    <a:gd name="T31" fmla="*/ 918 h 1108"/>
                    <a:gd name="T32" fmla="*/ 6346 w 6888"/>
                    <a:gd name="T33" fmla="*/ 802 h 1108"/>
                    <a:gd name="T34" fmla="*/ 5808 w 6888"/>
                    <a:gd name="T35" fmla="*/ 656 h 1108"/>
                    <a:gd name="T36" fmla="*/ 5176 w 6888"/>
                    <a:gd name="T37" fmla="*/ 492 h 1108"/>
                    <a:gd name="T38" fmla="*/ 4498 w 6888"/>
                    <a:gd name="T39" fmla="*/ 328 h 1108"/>
                    <a:gd name="T40" fmla="*/ 3988 w 6888"/>
                    <a:gd name="T41" fmla="*/ 216 h 1108"/>
                    <a:gd name="T42" fmla="*/ 3658 w 6888"/>
                    <a:gd name="T43" fmla="*/ 150 h 1108"/>
                    <a:gd name="T44" fmla="*/ 3344 w 6888"/>
                    <a:gd name="T45" fmla="*/ 94 h 1108"/>
                    <a:gd name="T46" fmla="*/ 3050 w 6888"/>
                    <a:gd name="T47" fmla="*/ 50 h 1108"/>
                    <a:gd name="T48" fmla="*/ 2784 w 6888"/>
                    <a:gd name="T49" fmla="*/ 18 h 1108"/>
                    <a:gd name="T50" fmla="*/ 2550 w 6888"/>
                    <a:gd name="T51" fmla="*/ 2 h 1108"/>
                    <a:gd name="T52" fmla="*/ 2402 w 6888"/>
                    <a:gd name="T53" fmla="*/ 2 h 1108"/>
                    <a:gd name="T54" fmla="*/ 2314 w 6888"/>
                    <a:gd name="T55" fmla="*/ 8 h 1108"/>
                    <a:gd name="T56" fmla="*/ 2276 w 6888"/>
                    <a:gd name="T57" fmla="*/ 12 h 1108"/>
                    <a:gd name="T58" fmla="*/ 1774 w 6888"/>
                    <a:gd name="T59" fmla="*/ 86 h 1108"/>
                    <a:gd name="T60" fmla="*/ 1458 w 6888"/>
                    <a:gd name="T61" fmla="*/ 142 h 1108"/>
                    <a:gd name="T62" fmla="*/ 1306 w 6888"/>
                    <a:gd name="T63" fmla="*/ 176 h 1108"/>
                    <a:gd name="T64" fmla="*/ 1158 w 6888"/>
                    <a:gd name="T65" fmla="*/ 216 h 1108"/>
                    <a:gd name="T66" fmla="*/ 1014 w 6888"/>
                    <a:gd name="T67" fmla="*/ 262 h 1108"/>
                    <a:gd name="T68" fmla="*/ 874 w 6888"/>
                    <a:gd name="T69" fmla="*/ 318 h 1108"/>
                    <a:gd name="T70" fmla="*/ 738 w 6888"/>
                    <a:gd name="T71" fmla="*/ 382 h 1108"/>
                    <a:gd name="T72" fmla="*/ 606 w 6888"/>
                    <a:gd name="T73" fmla="*/ 458 h 1108"/>
                    <a:gd name="T74" fmla="*/ 480 w 6888"/>
                    <a:gd name="T75" fmla="*/ 544 h 1108"/>
                    <a:gd name="T76" fmla="*/ 358 w 6888"/>
                    <a:gd name="T77" fmla="*/ 644 h 1108"/>
                    <a:gd name="T78" fmla="*/ 240 w 6888"/>
                    <a:gd name="T79" fmla="*/ 758 h 1108"/>
                    <a:gd name="T80" fmla="*/ 128 w 6888"/>
                    <a:gd name="T81" fmla="*/ 890 h 1108"/>
                    <a:gd name="T82" fmla="*/ 20 w 6888"/>
                    <a:gd name="T83" fmla="*/ 1036 h 1108"/>
                    <a:gd name="T84" fmla="*/ 0 w 6888"/>
                    <a:gd name="T85" fmla="*/ 1084 h 1108"/>
                    <a:gd name="T86" fmla="*/ 26 w 6888"/>
                    <a:gd name="T87" fmla="*/ 1108 h 1108"/>
                    <a:gd name="T88" fmla="*/ 32 w 6888"/>
                    <a:gd name="T89" fmla="*/ 1104 h 1108"/>
                    <a:gd name="T90" fmla="*/ 108 w 6888"/>
                    <a:gd name="T91" fmla="*/ 1034 h 1108"/>
                    <a:gd name="T92" fmla="*/ 160 w 6888"/>
                    <a:gd name="T93" fmla="*/ 968 h 1108"/>
                    <a:gd name="T94" fmla="*/ 268 w 6888"/>
                    <a:gd name="T95" fmla="*/ 846 h 1108"/>
                    <a:gd name="T96" fmla="*/ 380 w 6888"/>
                    <a:gd name="T97" fmla="*/ 738 h 1108"/>
                    <a:gd name="T98" fmla="*/ 496 w 6888"/>
                    <a:gd name="T99" fmla="*/ 640 h 1108"/>
                    <a:gd name="T100" fmla="*/ 616 w 6888"/>
                    <a:gd name="T101" fmla="*/ 556 h 1108"/>
                    <a:gd name="T102" fmla="*/ 740 w 6888"/>
                    <a:gd name="T103" fmla="*/ 482 h 1108"/>
                    <a:gd name="T104" fmla="*/ 870 w 6888"/>
                    <a:gd name="T105" fmla="*/ 420 h 1108"/>
                    <a:gd name="T106" fmla="*/ 1002 w 6888"/>
                    <a:gd name="T107" fmla="*/ 364 h 1108"/>
                    <a:gd name="T108" fmla="*/ 1138 w 6888"/>
                    <a:gd name="T109" fmla="*/ 316 h 1108"/>
                    <a:gd name="T110" fmla="*/ 1278 w 6888"/>
                    <a:gd name="T111" fmla="*/ 276 h 1108"/>
                    <a:gd name="T112" fmla="*/ 1424 w 6888"/>
                    <a:gd name="T113" fmla="*/ 242 h 1108"/>
                    <a:gd name="T114" fmla="*/ 1648 w 6888"/>
                    <a:gd name="T115" fmla="*/ 198 h 1108"/>
                    <a:gd name="T116" fmla="*/ 1962 w 6888"/>
                    <a:gd name="T117" fmla="*/ 152 h 1108"/>
                    <a:gd name="T118" fmla="*/ 2292 w 6888"/>
                    <a:gd name="T119" fmla="*/ 112 h 110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6888"/>
                    <a:gd name="T181" fmla="*/ 0 h 1108"/>
                    <a:gd name="T182" fmla="*/ 6888 w 6888"/>
                    <a:gd name="T183" fmla="*/ 1108 h 110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6888" h="1108">
                      <a:moveTo>
                        <a:pt x="2292" y="112"/>
                      </a:moveTo>
                      <a:lnTo>
                        <a:pt x="2292" y="112"/>
                      </a:lnTo>
                      <a:lnTo>
                        <a:pt x="2332" y="108"/>
                      </a:lnTo>
                      <a:lnTo>
                        <a:pt x="2376" y="106"/>
                      </a:lnTo>
                      <a:lnTo>
                        <a:pt x="2422" y="104"/>
                      </a:lnTo>
                      <a:lnTo>
                        <a:pt x="2472" y="104"/>
                      </a:lnTo>
                      <a:lnTo>
                        <a:pt x="2578" y="106"/>
                      </a:lnTo>
                      <a:lnTo>
                        <a:pt x="2694" y="114"/>
                      </a:lnTo>
                      <a:lnTo>
                        <a:pt x="2820" y="126"/>
                      </a:lnTo>
                      <a:lnTo>
                        <a:pt x="2956" y="142"/>
                      </a:lnTo>
                      <a:lnTo>
                        <a:pt x="3098" y="160"/>
                      </a:lnTo>
                      <a:lnTo>
                        <a:pt x="3246" y="184"/>
                      </a:lnTo>
                      <a:lnTo>
                        <a:pt x="3402" y="210"/>
                      </a:lnTo>
                      <a:lnTo>
                        <a:pt x="3564" y="238"/>
                      </a:lnTo>
                      <a:lnTo>
                        <a:pt x="3728" y="270"/>
                      </a:lnTo>
                      <a:lnTo>
                        <a:pt x="3898" y="302"/>
                      </a:lnTo>
                      <a:lnTo>
                        <a:pt x="4070" y="338"/>
                      </a:lnTo>
                      <a:lnTo>
                        <a:pt x="4244" y="376"/>
                      </a:lnTo>
                      <a:lnTo>
                        <a:pt x="4594" y="454"/>
                      </a:lnTo>
                      <a:lnTo>
                        <a:pt x="4944" y="536"/>
                      </a:lnTo>
                      <a:lnTo>
                        <a:pt x="5288" y="622"/>
                      </a:lnTo>
                      <a:lnTo>
                        <a:pt x="5616" y="704"/>
                      </a:lnTo>
                      <a:lnTo>
                        <a:pt x="5924" y="786"/>
                      </a:lnTo>
                      <a:lnTo>
                        <a:pt x="6206" y="862"/>
                      </a:lnTo>
                      <a:lnTo>
                        <a:pt x="6454" y="930"/>
                      </a:lnTo>
                      <a:lnTo>
                        <a:pt x="6664" y="990"/>
                      </a:lnTo>
                      <a:lnTo>
                        <a:pt x="6826" y="1038"/>
                      </a:lnTo>
                      <a:lnTo>
                        <a:pt x="6888" y="1016"/>
                      </a:lnTo>
                      <a:lnTo>
                        <a:pt x="6744" y="918"/>
                      </a:lnTo>
                      <a:lnTo>
                        <a:pt x="6566" y="866"/>
                      </a:lnTo>
                      <a:lnTo>
                        <a:pt x="6346" y="802"/>
                      </a:lnTo>
                      <a:lnTo>
                        <a:pt x="6092" y="732"/>
                      </a:lnTo>
                      <a:lnTo>
                        <a:pt x="5808" y="656"/>
                      </a:lnTo>
                      <a:lnTo>
                        <a:pt x="5500" y="574"/>
                      </a:lnTo>
                      <a:lnTo>
                        <a:pt x="5176" y="492"/>
                      </a:lnTo>
                      <a:lnTo>
                        <a:pt x="4840" y="410"/>
                      </a:lnTo>
                      <a:lnTo>
                        <a:pt x="4498" y="328"/>
                      </a:lnTo>
                      <a:lnTo>
                        <a:pt x="4156" y="252"/>
                      </a:lnTo>
                      <a:lnTo>
                        <a:pt x="3988" y="216"/>
                      </a:lnTo>
                      <a:lnTo>
                        <a:pt x="3822" y="182"/>
                      </a:lnTo>
                      <a:lnTo>
                        <a:pt x="3658" y="150"/>
                      </a:lnTo>
                      <a:lnTo>
                        <a:pt x="3498" y="122"/>
                      </a:lnTo>
                      <a:lnTo>
                        <a:pt x="3344" y="94"/>
                      </a:lnTo>
                      <a:lnTo>
                        <a:pt x="3194" y="70"/>
                      </a:lnTo>
                      <a:lnTo>
                        <a:pt x="3050" y="50"/>
                      </a:lnTo>
                      <a:lnTo>
                        <a:pt x="2914" y="32"/>
                      </a:lnTo>
                      <a:lnTo>
                        <a:pt x="2784" y="18"/>
                      </a:lnTo>
                      <a:lnTo>
                        <a:pt x="2662" y="8"/>
                      </a:lnTo>
                      <a:lnTo>
                        <a:pt x="2550" y="2"/>
                      </a:lnTo>
                      <a:lnTo>
                        <a:pt x="2448" y="0"/>
                      </a:lnTo>
                      <a:lnTo>
                        <a:pt x="2402" y="2"/>
                      </a:lnTo>
                      <a:lnTo>
                        <a:pt x="2356" y="4"/>
                      </a:lnTo>
                      <a:lnTo>
                        <a:pt x="2314" y="8"/>
                      </a:lnTo>
                      <a:lnTo>
                        <a:pt x="2276" y="12"/>
                      </a:lnTo>
                      <a:lnTo>
                        <a:pt x="1938" y="60"/>
                      </a:lnTo>
                      <a:lnTo>
                        <a:pt x="1774" y="86"/>
                      </a:lnTo>
                      <a:lnTo>
                        <a:pt x="1614" y="112"/>
                      </a:lnTo>
                      <a:lnTo>
                        <a:pt x="1458" y="142"/>
                      </a:lnTo>
                      <a:lnTo>
                        <a:pt x="1382" y="158"/>
                      </a:lnTo>
                      <a:lnTo>
                        <a:pt x="1306" y="176"/>
                      </a:lnTo>
                      <a:lnTo>
                        <a:pt x="1232" y="194"/>
                      </a:lnTo>
                      <a:lnTo>
                        <a:pt x="1158" y="216"/>
                      </a:lnTo>
                      <a:lnTo>
                        <a:pt x="1086" y="238"/>
                      </a:lnTo>
                      <a:lnTo>
                        <a:pt x="1014" y="262"/>
                      </a:lnTo>
                      <a:lnTo>
                        <a:pt x="942" y="288"/>
                      </a:lnTo>
                      <a:lnTo>
                        <a:pt x="874" y="318"/>
                      </a:lnTo>
                      <a:lnTo>
                        <a:pt x="804" y="348"/>
                      </a:lnTo>
                      <a:lnTo>
                        <a:pt x="738" y="382"/>
                      </a:lnTo>
                      <a:lnTo>
                        <a:pt x="672" y="418"/>
                      </a:lnTo>
                      <a:lnTo>
                        <a:pt x="606" y="458"/>
                      </a:lnTo>
                      <a:lnTo>
                        <a:pt x="542" y="500"/>
                      </a:lnTo>
                      <a:lnTo>
                        <a:pt x="480" y="544"/>
                      </a:lnTo>
                      <a:lnTo>
                        <a:pt x="418" y="592"/>
                      </a:lnTo>
                      <a:lnTo>
                        <a:pt x="358" y="644"/>
                      </a:lnTo>
                      <a:lnTo>
                        <a:pt x="298" y="700"/>
                      </a:lnTo>
                      <a:lnTo>
                        <a:pt x="240" y="758"/>
                      </a:lnTo>
                      <a:lnTo>
                        <a:pt x="184" y="822"/>
                      </a:lnTo>
                      <a:lnTo>
                        <a:pt x="128" y="890"/>
                      </a:lnTo>
                      <a:lnTo>
                        <a:pt x="74" y="960"/>
                      </a:lnTo>
                      <a:lnTo>
                        <a:pt x="20" y="1036"/>
                      </a:lnTo>
                      <a:lnTo>
                        <a:pt x="0" y="1084"/>
                      </a:lnTo>
                      <a:lnTo>
                        <a:pt x="26" y="1108"/>
                      </a:lnTo>
                      <a:lnTo>
                        <a:pt x="28" y="1106"/>
                      </a:lnTo>
                      <a:lnTo>
                        <a:pt x="32" y="1104"/>
                      </a:lnTo>
                      <a:lnTo>
                        <a:pt x="50" y="1090"/>
                      </a:lnTo>
                      <a:lnTo>
                        <a:pt x="108" y="1034"/>
                      </a:lnTo>
                      <a:lnTo>
                        <a:pt x="160" y="968"/>
                      </a:lnTo>
                      <a:lnTo>
                        <a:pt x="214" y="906"/>
                      </a:lnTo>
                      <a:lnTo>
                        <a:pt x="268" y="846"/>
                      </a:lnTo>
                      <a:lnTo>
                        <a:pt x="324" y="790"/>
                      </a:lnTo>
                      <a:lnTo>
                        <a:pt x="380" y="738"/>
                      </a:lnTo>
                      <a:lnTo>
                        <a:pt x="438" y="688"/>
                      </a:lnTo>
                      <a:lnTo>
                        <a:pt x="496" y="640"/>
                      </a:lnTo>
                      <a:lnTo>
                        <a:pt x="556" y="598"/>
                      </a:lnTo>
                      <a:lnTo>
                        <a:pt x="616" y="556"/>
                      </a:lnTo>
                      <a:lnTo>
                        <a:pt x="678" y="518"/>
                      </a:lnTo>
                      <a:lnTo>
                        <a:pt x="740" y="482"/>
                      </a:lnTo>
                      <a:lnTo>
                        <a:pt x="804" y="450"/>
                      </a:lnTo>
                      <a:lnTo>
                        <a:pt x="870" y="420"/>
                      </a:lnTo>
                      <a:lnTo>
                        <a:pt x="934" y="390"/>
                      </a:lnTo>
                      <a:lnTo>
                        <a:pt x="1002" y="364"/>
                      </a:lnTo>
                      <a:lnTo>
                        <a:pt x="1070" y="340"/>
                      </a:lnTo>
                      <a:lnTo>
                        <a:pt x="1138" y="316"/>
                      </a:lnTo>
                      <a:lnTo>
                        <a:pt x="1208" y="296"/>
                      </a:lnTo>
                      <a:lnTo>
                        <a:pt x="1278" y="276"/>
                      </a:lnTo>
                      <a:lnTo>
                        <a:pt x="1350" y="258"/>
                      </a:lnTo>
                      <a:lnTo>
                        <a:pt x="1424" y="242"/>
                      </a:lnTo>
                      <a:lnTo>
                        <a:pt x="1498" y="226"/>
                      </a:lnTo>
                      <a:lnTo>
                        <a:pt x="1648" y="198"/>
                      </a:lnTo>
                      <a:lnTo>
                        <a:pt x="1804" y="174"/>
                      </a:lnTo>
                      <a:lnTo>
                        <a:pt x="1962" y="152"/>
                      </a:lnTo>
                      <a:lnTo>
                        <a:pt x="2126" y="132"/>
                      </a:lnTo>
                      <a:lnTo>
                        <a:pt x="2292" y="112"/>
                      </a:lnTo>
                      <a:close/>
                    </a:path>
                  </a:pathLst>
                </a:custGeom>
                <a:gradFill rotWithShape="1">
                  <a:gsLst>
                    <a:gs pos="0">
                      <a:srgbClr val="006D2A"/>
                    </a:gs>
                    <a:gs pos="92999">
                      <a:srgbClr val="008E39"/>
                    </a:gs>
                    <a:gs pos="100000">
                      <a:srgbClr val="007432"/>
                    </a:gs>
                  </a:gsLst>
                  <a:lin ang="13500000" scaled="1"/>
                </a:grad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ndParaRPr>
                </a:p>
              </p:txBody>
            </p:sp>
          </p:grpSp>
        </p:grpSp>
        <p:grpSp>
          <p:nvGrpSpPr>
            <p:cNvPr id="3347" name="Gruppe 10"/>
            <p:cNvGrpSpPr>
              <a:grpSpLocks/>
            </p:cNvGrpSpPr>
            <p:nvPr/>
          </p:nvGrpSpPr>
          <p:grpSpPr bwMode="auto">
            <a:xfrm rot="-3512246">
              <a:off x="2626766" y="1569941"/>
              <a:ext cx="2304908" cy="1355550"/>
              <a:chOff x="-497029" y="1374038"/>
              <a:chExt cx="10044197" cy="3999616"/>
            </a:xfrm>
          </p:grpSpPr>
          <p:grpSp>
            <p:nvGrpSpPr>
              <p:cNvPr id="3353" name="Gruppe 16"/>
              <p:cNvGrpSpPr>
                <a:grpSpLocks/>
              </p:cNvGrpSpPr>
              <p:nvPr/>
            </p:nvGrpSpPr>
            <p:grpSpPr bwMode="auto">
              <a:xfrm>
                <a:off x="-497029" y="1374038"/>
                <a:ext cx="9958234" cy="3999616"/>
                <a:chOff x="-1844763" y="-2984019"/>
                <a:chExt cx="11099942" cy="5999424"/>
              </a:xfrm>
            </p:grpSpPr>
            <p:sp>
              <p:nvSpPr>
                <p:cNvPr id="85" name="Freeform 6"/>
                <p:cNvSpPr>
                  <a:spLocks/>
                </p:cNvSpPr>
                <p:nvPr/>
              </p:nvSpPr>
              <p:spPr bwMode="auto">
                <a:xfrm>
                  <a:off x="-1860893" y="-3062734"/>
                  <a:ext cx="11174453" cy="5958547"/>
                </a:xfrm>
                <a:custGeom>
                  <a:avLst/>
                  <a:gdLst>
                    <a:gd name="T0" fmla="*/ 5438 w 7036"/>
                    <a:gd name="T1" fmla="*/ 1364 h 3760"/>
                    <a:gd name="T2" fmla="*/ 5644 w 7036"/>
                    <a:gd name="T3" fmla="*/ 1612 h 3760"/>
                    <a:gd name="T4" fmla="*/ 5850 w 7036"/>
                    <a:gd name="T5" fmla="*/ 1824 h 3760"/>
                    <a:gd name="T6" fmla="*/ 6160 w 7036"/>
                    <a:gd name="T7" fmla="*/ 2088 h 3760"/>
                    <a:gd name="T8" fmla="*/ 6584 w 7036"/>
                    <a:gd name="T9" fmla="*/ 2390 h 3760"/>
                    <a:gd name="T10" fmla="*/ 7036 w 7036"/>
                    <a:gd name="T11" fmla="*/ 2696 h 3760"/>
                    <a:gd name="T12" fmla="*/ 5784 w 7036"/>
                    <a:gd name="T13" fmla="*/ 3094 h 3760"/>
                    <a:gd name="T14" fmla="*/ 4056 w 7036"/>
                    <a:gd name="T15" fmla="*/ 3600 h 3760"/>
                    <a:gd name="T16" fmla="*/ 3546 w 7036"/>
                    <a:gd name="T17" fmla="*/ 3734 h 3760"/>
                    <a:gd name="T18" fmla="*/ 3242 w 7036"/>
                    <a:gd name="T19" fmla="*/ 3756 h 3760"/>
                    <a:gd name="T20" fmla="*/ 2782 w 7036"/>
                    <a:gd name="T21" fmla="*/ 3750 h 3760"/>
                    <a:gd name="T22" fmla="*/ 2492 w 7036"/>
                    <a:gd name="T23" fmla="*/ 3716 h 3760"/>
                    <a:gd name="T24" fmla="*/ 2210 w 7036"/>
                    <a:gd name="T25" fmla="*/ 3654 h 3760"/>
                    <a:gd name="T26" fmla="*/ 1960 w 7036"/>
                    <a:gd name="T27" fmla="*/ 3550 h 3760"/>
                    <a:gd name="T28" fmla="*/ 1832 w 7036"/>
                    <a:gd name="T29" fmla="*/ 3462 h 3760"/>
                    <a:gd name="T30" fmla="*/ 1750 w 7036"/>
                    <a:gd name="T31" fmla="*/ 3378 h 3760"/>
                    <a:gd name="T32" fmla="*/ 1638 w 7036"/>
                    <a:gd name="T33" fmla="*/ 3208 h 3760"/>
                    <a:gd name="T34" fmla="*/ 1508 w 7036"/>
                    <a:gd name="T35" fmla="*/ 2948 h 3760"/>
                    <a:gd name="T36" fmla="*/ 1434 w 7036"/>
                    <a:gd name="T37" fmla="*/ 2732 h 3760"/>
                    <a:gd name="T38" fmla="*/ 1382 w 7036"/>
                    <a:gd name="T39" fmla="*/ 2480 h 3760"/>
                    <a:gd name="T40" fmla="*/ 1344 w 7036"/>
                    <a:gd name="T41" fmla="*/ 2330 h 3760"/>
                    <a:gd name="T42" fmla="*/ 1284 w 7036"/>
                    <a:gd name="T43" fmla="*/ 2244 h 3760"/>
                    <a:gd name="T44" fmla="*/ 1176 w 7036"/>
                    <a:gd name="T45" fmla="*/ 2182 h 3760"/>
                    <a:gd name="T46" fmla="*/ 1048 w 7036"/>
                    <a:gd name="T47" fmla="*/ 2152 h 3760"/>
                    <a:gd name="T48" fmla="*/ 928 w 7036"/>
                    <a:gd name="T49" fmla="*/ 2168 h 3760"/>
                    <a:gd name="T50" fmla="*/ 784 w 7036"/>
                    <a:gd name="T51" fmla="*/ 2238 h 3760"/>
                    <a:gd name="T52" fmla="*/ 548 w 7036"/>
                    <a:gd name="T53" fmla="*/ 2406 h 3760"/>
                    <a:gd name="T54" fmla="*/ 206 w 7036"/>
                    <a:gd name="T55" fmla="*/ 2712 h 3760"/>
                    <a:gd name="T56" fmla="*/ 88 w 7036"/>
                    <a:gd name="T57" fmla="*/ 2816 h 3760"/>
                    <a:gd name="T58" fmla="*/ 34 w 7036"/>
                    <a:gd name="T59" fmla="*/ 2758 h 3760"/>
                    <a:gd name="T60" fmla="*/ 2 w 7036"/>
                    <a:gd name="T61" fmla="*/ 2676 h 3760"/>
                    <a:gd name="T62" fmla="*/ 10 w 7036"/>
                    <a:gd name="T63" fmla="*/ 2592 h 3760"/>
                    <a:gd name="T64" fmla="*/ 54 w 7036"/>
                    <a:gd name="T65" fmla="*/ 2506 h 3760"/>
                    <a:gd name="T66" fmla="*/ 150 w 7036"/>
                    <a:gd name="T67" fmla="*/ 2396 h 3760"/>
                    <a:gd name="T68" fmla="*/ 372 w 7036"/>
                    <a:gd name="T69" fmla="*/ 2222 h 3760"/>
                    <a:gd name="T70" fmla="*/ 648 w 7036"/>
                    <a:gd name="T71" fmla="*/ 2052 h 3760"/>
                    <a:gd name="T72" fmla="*/ 1240 w 7036"/>
                    <a:gd name="T73" fmla="*/ 1724 h 3760"/>
                    <a:gd name="T74" fmla="*/ 1396 w 7036"/>
                    <a:gd name="T75" fmla="*/ 1618 h 3760"/>
                    <a:gd name="T76" fmla="*/ 1506 w 7036"/>
                    <a:gd name="T77" fmla="*/ 1478 h 3760"/>
                    <a:gd name="T78" fmla="*/ 1662 w 7036"/>
                    <a:gd name="T79" fmla="*/ 1226 h 3760"/>
                    <a:gd name="T80" fmla="*/ 1912 w 7036"/>
                    <a:gd name="T81" fmla="*/ 776 h 3760"/>
                    <a:gd name="T82" fmla="*/ 2070 w 7036"/>
                    <a:gd name="T83" fmla="*/ 534 h 3760"/>
                    <a:gd name="T84" fmla="*/ 2264 w 7036"/>
                    <a:gd name="T85" fmla="*/ 322 h 3760"/>
                    <a:gd name="T86" fmla="*/ 2444 w 7036"/>
                    <a:gd name="T87" fmla="*/ 192 h 3760"/>
                    <a:gd name="T88" fmla="*/ 2584 w 7036"/>
                    <a:gd name="T89" fmla="*/ 120 h 3760"/>
                    <a:gd name="T90" fmla="*/ 2742 w 7036"/>
                    <a:gd name="T91" fmla="*/ 64 h 3760"/>
                    <a:gd name="T92" fmla="*/ 2922 w 7036"/>
                    <a:gd name="T93" fmla="*/ 24 h 3760"/>
                    <a:gd name="T94" fmla="*/ 3126 w 7036"/>
                    <a:gd name="T95" fmla="*/ 2 h 3760"/>
                    <a:gd name="T96" fmla="*/ 3288 w 7036"/>
                    <a:gd name="T97" fmla="*/ 2 h 3760"/>
                    <a:gd name="T98" fmla="*/ 3500 w 7036"/>
                    <a:gd name="T99" fmla="*/ 26 h 3760"/>
                    <a:gd name="T100" fmla="*/ 3706 w 7036"/>
                    <a:gd name="T101" fmla="*/ 74 h 3760"/>
                    <a:gd name="T102" fmla="*/ 3956 w 7036"/>
                    <a:gd name="T103" fmla="*/ 166 h 3760"/>
                    <a:gd name="T104" fmla="*/ 4330 w 7036"/>
                    <a:gd name="T105" fmla="*/ 360 h 3760"/>
                    <a:gd name="T106" fmla="*/ 4660 w 7036"/>
                    <a:gd name="T107" fmla="*/ 588 h 3760"/>
                    <a:gd name="T108" fmla="*/ 4938 w 7036"/>
                    <a:gd name="T109" fmla="*/ 820 h 3760"/>
                    <a:gd name="T110" fmla="*/ 5228 w 7036"/>
                    <a:gd name="T111" fmla="*/ 1104 h 376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036"/>
                    <a:gd name="T169" fmla="*/ 0 h 3760"/>
                    <a:gd name="T170" fmla="*/ 7036 w 7036"/>
                    <a:gd name="T171" fmla="*/ 3760 h 376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036" h="3760">
                      <a:moveTo>
                        <a:pt x="5332" y="1222"/>
                      </a:moveTo>
                      <a:lnTo>
                        <a:pt x="5332" y="1222"/>
                      </a:lnTo>
                      <a:lnTo>
                        <a:pt x="5386" y="1294"/>
                      </a:lnTo>
                      <a:lnTo>
                        <a:pt x="5438" y="1364"/>
                      </a:lnTo>
                      <a:lnTo>
                        <a:pt x="5490" y="1430"/>
                      </a:lnTo>
                      <a:lnTo>
                        <a:pt x="5542" y="1494"/>
                      </a:lnTo>
                      <a:lnTo>
                        <a:pt x="5594" y="1554"/>
                      </a:lnTo>
                      <a:lnTo>
                        <a:pt x="5644" y="1612"/>
                      </a:lnTo>
                      <a:lnTo>
                        <a:pt x="5696" y="1668"/>
                      </a:lnTo>
                      <a:lnTo>
                        <a:pt x="5748" y="1722"/>
                      </a:lnTo>
                      <a:lnTo>
                        <a:pt x="5800" y="1774"/>
                      </a:lnTo>
                      <a:lnTo>
                        <a:pt x="5850" y="1824"/>
                      </a:lnTo>
                      <a:lnTo>
                        <a:pt x="5902" y="1872"/>
                      </a:lnTo>
                      <a:lnTo>
                        <a:pt x="5954" y="1918"/>
                      </a:lnTo>
                      <a:lnTo>
                        <a:pt x="6056" y="2006"/>
                      </a:lnTo>
                      <a:lnTo>
                        <a:pt x="6160" y="2088"/>
                      </a:lnTo>
                      <a:lnTo>
                        <a:pt x="6264" y="2168"/>
                      </a:lnTo>
                      <a:lnTo>
                        <a:pt x="6370" y="2242"/>
                      </a:lnTo>
                      <a:lnTo>
                        <a:pt x="6476" y="2316"/>
                      </a:lnTo>
                      <a:lnTo>
                        <a:pt x="6584" y="2390"/>
                      </a:lnTo>
                      <a:lnTo>
                        <a:pt x="6806" y="2538"/>
                      </a:lnTo>
                      <a:lnTo>
                        <a:pt x="6920" y="2616"/>
                      </a:lnTo>
                      <a:lnTo>
                        <a:pt x="7036" y="2696"/>
                      </a:lnTo>
                      <a:lnTo>
                        <a:pt x="6882" y="2748"/>
                      </a:lnTo>
                      <a:lnTo>
                        <a:pt x="6700" y="2808"/>
                      </a:lnTo>
                      <a:lnTo>
                        <a:pt x="6272" y="2944"/>
                      </a:lnTo>
                      <a:lnTo>
                        <a:pt x="5784" y="3094"/>
                      </a:lnTo>
                      <a:lnTo>
                        <a:pt x="5266" y="3250"/>
                      </a:lnTo>
                      <a:lnTo>
                        <a:pt x="4752" y="3400"/>
                      </a:lnTo>
                      <a:lnTo>
                        <a:pt x="4272" y="3538"/>
                      </a:lnTo>
                      <a:lnTo>
                        <a:pt x="4056" y="3600"/>
                      </a:lnTo>
                      <a:lnTo>
                        <a:pt x="3860" y="3652"/>
                      </a:lnTo>
                      <a:lnTo>
                        <a:pt x="3690" y="3698"/>
                      </a:lnTo>
                      <a:lnTo>
                        <a:pt x="3546" y="3734"/>
                      </a:lnTo>
                      <a:lnTo>
                        <a:pt x="3502" y="3740"/>
                      </a:lnTo>
                      <a:lnTo>
                        <a:pt x="3434" y="3746"/>
                      </a:lnTo>
                      <a:lnTo>
                        <a:pt x="3346" y="3752"/>
                      </a:lnTo>
                      <a:lnTo>
                        <a:pt x="3242" y="3756"/>
                      </a:lnTo>
                      <a:lnTo>
                        <a:pt x="3122" y="3760"/>
                      </a:lnTo>
                      <a:lnTo>
                        <a:pt x="2992" y="3758"/>
                      </a:lnTo>
                      <a:lnTo>
                        <a:pt x="2854" y="3754"/>
                      </a:lnTo>
                      <a:lnTo>
                        <a:pt x="2782" y="3750"/>
                      </a:lnTo>
                      <a:lnTo>
                        <a:pt x="2710" y="3744"/>
                      </a:lnTo>
                      <a:lnTo>
                        <a:pt x="2638" y="3736"/>
                      </a:lnTo>
                      <a:lnTo>
                        <a:pt x="2564" y="3728"/>
                      </a:lnTo>
                      <a:lnTo>
                        <a:pt x="2492" y="3716"/>
                      </a:lnTo>
                      <a:lnTo>
                        <a:pt x="2420" y="3704"/>
                      </a:lnTo>
                      <a:lnTo>
                        <a:pt x="2348" y="3690"/>
                      </a:lnTo>
                      <a:lnTo>
                        <a:pt x="2278" y="3672"/>
                      </a:lnTo>
                      <a:lnTo>
                        <a:pt x="2210" y="3654"/>
                      </a:lnTo>
                      <a:lnTo>
                        <a:pt x="2144" y="3632"/>
                      </a:lnTo>
                      <a:lnTo>
                        <a:pt x="2080" y="3608"/>
                      </a:lnTo>
                      <a:lnTo>
                        <a:pt x="2018" y="3580"/>
                      </a:lnTo>
                      <a:lnTo>
                        <a:pt x="1960" y="3550"/>
                      </a:lnTo>
                      <a:lnTo>
                        <a:pt x="1906" y="3518"/>
                      </a:lnTo>
                      <a:lnTo>
                        <a:pt x="1880" y="3500"/>
                      </a:lnTo>
                      <a:lnTo>
                        <a:pt x="1856" y="3482"/>
                      </a:lnTo>
                      <a:lnTo>
                        <a:pt x="1832" y="3462"/>
                      </a:lnTo>
                      <a:lnTo>
                        <a:pt x="1810" y="3444"/>
                      </a:lnTo>
                      <a:lnTo>
                        <a:pt x="1788" y="3422"/>
                      </a:lnTo>
                      <a:lnTo>
                        <a:pt x="1768" y="3400"/>
                      </a:lnTo>
                      <a:lnTo>
                        <a:pt x="1750" y="3378"/>
                      </a:lnTo>
                      <a:lnTo>
                        <a:pt x="1732" y="3356"/>
                      </a:lnTo>
                      <a:lnTo>
                        <a:pt x="1682" y="3280"/>
                      </a:lnTo>
                      <a:lnTo>
                        <a:pt x="1638" y="3208"/>
                      </a:lnTo>
                      <a:lnTo>
                        <a:pt x="1600" y="3138"/>
                      </a:lnTo>
                      <a:lnTo>
                        <a:pt x="1564" y="3072"/>
                      </a:lnTo>
                      <a:lnTo>
                        <a:pt x="1534" y="3010"/>
                      </a:lnTo>
                      <a:lnTo>
                        <a:pt x="1508" y="2948"/>
                      </a:lnTo>
                      <a:lnTo>
                        <a:pt x="1484" y="2890"/>
                      </a:lnTo>
                      <a:lnTo>
                        <a:pt x="1466" y="2836"/>
                      </a:lnTo>
                      <a:lnTo>
                        <a:pt x="1448" y="2782"/>
                      </a:lnTo>
                      <a:lnTo>
                        <a:pt x="1434" y="2732"/>
                      </a:lnTo>
                      <a:lnTo>
                        <a:pt x="1422" y="2684"/>
                      </a:lnTo>
                      <a:lnTo>
                        <a:pt x="1412" y="2640"/>
                      </a:lnTo>
                      <a:lnTo>
                        <a:pt x="1396" y="2556"/>
                      </a:lnTo>
                      <a:lnTo>
                        <a:pt x="1382" y="2480"/>
                      </a:lnTo>
                      <a:lnTo>
                        <a:pt x="1368" y="2414"/>
                      </a:lnTo>
                      <a:lnTo>
                        <a:pt x="1362" y="2384"/>
                      </a:lnTo>
                      <a:lnTo>
                        <a:pt x="1354" y="2356"/>
                      </a:lnTo>
                      <a:lnTo>
                        <a:pt x="1344" y="2330"/>
                      </a:lnTo>
                      <a:lnTo>
                        <a:pt x="1332" y="2306"/>
                      </a:lnTo>
                      <a:lnTo>
                        <a:pt x="1318" y="2284"/>
                      </a:lnTo>
                      <a:lnTo>
                        <a:pt x="1302" y="2264"/>
                      </a:lnTo>
                      <a:lnTo>
                        <a:pt x="1284" y="2244"/>
                      </a:lnTo>
                      <a:lnTo>
                        <a:pt x="1262" y="2226"/>
                      </a:lnTo>
                      <a:lnTo>
                        <a:pt x="1238" y="2210"/>
                      </a:lnTo>
                      <a:lnTo>
                        <a:pt x="1208" y="2196"/>
                      </a:lnTo>
                      <a:lnTo>
                        <a:pt x="1176" y="2182"/>
                      </a:lnTo>
                      <a:lnTo>
                        <a:pt x="1138" y="2172"/>
                      </a:lnTo>
                      <a:lnTo>
                        <a:pt x="1096" y="2160"/>
                      </a:lnTo>
                      <a:lnTo>
                        <a:pt x="1048" y="2152"/>
                      </a:lnTo>
                      <a:lnTo>
                        <a:pt x="1020" y="2150"/>
                      </a:lnTo>
                      <a:lnTo>
                        <a:pt x="992" y="2152"/>
                      </a:lnTo>
                      <a:lnTo>
                        <a:pt x="962" y="2158"/>
                      </a:lnTo>
                      <a:lnTo>
                        <a:pt x="928" y="2168"/>
                      </a:lnTo>
                      <a:lnTo>
                        <a:pt x="894" y="2180"/>
                      </a:lnTo>
                      <a:lnTo>
                        <a:pt x="858" y="2198"/>
                      </a:lnTo>
                      <a:lnTo>
                        <a:pt x="822" y="2216"/>
                      </a:lnTo>
                      <a:lnTo>
                        <a:pt x="784" y="2238"/>
                      </a:lnTo>
                      <a:lnTo>
                        <a:pt x="746" y="2262"/>
                      </a:lnTo>
                      <a:lnTo>
                        <a:pt x="706" y="2288"/>
                      </a:lnTo>
                      <a:lnTo>
                        <a:pt x="628" y="2346"/>
                      </a:lnTo>
                      <a:lnTo>
                        <a:pt x="548" y="2406"/>
                      </a:lnTo>
                      <a:lnTo>
                        <a:pt x="470" y="2472"/>
                      </a:lnTo>
                      <a:lnTo>
                        <a:pt x="396" y="2536"/>
                      </a:lnTo>
                      <a:lnTo>
                        <a:pt x="326" y="2600"/>
                      </a:lnTo>
                      <a:lnTo>
                        <a:pt x="206" y="2712"/>
                      </a:lnTo>
                      <a:lnTo>
                        <a:pt x="122" y="2790"/>
                      </a:lnTo>
                      <a:lnTo>
                        <a:pt x="98" y="2810"/>
                      </a:lnTo>
                      <a:lnTo>
                        <a:pt x="90" y="2816"/>
                      </a:lnTo>
                      <a:lnTo>
                        <a:pt x="88" y="2816"/>
                      </a:lnTo>
                      <a:lnTo>
                        <a:pt x="66" y="2798"/>
                      </a:lnTo>
                      <a:lnTo>
                        <a:pt x="50" y="2778"/>
                      </a:lnTo>
                      <a:lnTo>
                        <a:pt x="34" y="2758"/>
                      </a:lnTo>
                      <a:lnTo>
                        <a:pt x="22" y="2738"/>
                      </a:lnTo>
                      <a:lnTo>
                        <a:pt x="14" y="2718"/>
                      </a:lnTo>
                      <a:lnTo>
                        <a:pt x="6" y="2698"/>
                      </a:lnTo>
                      <a:lnTo>
                        <a:pt x="2" y="2676"/>
                      </a:lnTo>
                      <a:lnTo>
                        <a:pt x="0" y="2656"/>
                      </a:lnTo>
                      <a:lnTo>
                        <a:pt x="2" y="2634"/>
                      </a:lnTo>
                      <a:lnTo>
                        <a:pt x="6" y="2614"/>
                      </a:lnTo>
                      <a:lnTo>
                        <a:pt x="10" y="2592"/>
                      </a:lnTo>
                      <a:lnTo>
                        <a:pt x="18" y="2570"/>
                      </a:lnTo>
                      <a:lnTo>
                        <a:pt x="28" y="2550"/>
                      </a:lnTo>
                      <a:lnTo>
                        <a:pt x="40" y="2528"/>
                      </a:lnTo>
                      <a:lnTo>
                        <a:pt x="54" y="2506"/>
                      </a:lnTo>
                      <a:lnTo>
                        <a:pt x="70" y="2484"/>
                      </a:lnTo>
                      <a:lnTo>
                        <a:pt x="86" y="2462"/>
                      </a:lnTo>
                      <a:lnTo>
                        <a:pt x="106" y="2440"/>
                      </a:lnTo>
                      <a:lnTo>
                        <a:pt x="150" y="2396"/>
                      </a:lnTo>
                      <a:lnTo>
                        <a:pt x="198" y="2352"/>
                      </a:lnTo>
                      <a:lnTo>
                        <a:pt x="252" y="2308"/>
                      </a:lnTo>
                      <a:lnTo>
                        <a:pt x="310" y="2264"/>
                      </a:lnTo>
                      <a:lnTo>
                        <a:pt x="372" y="2222"/>
                      </a:lnTo>
                      <a:lnTo>
                        <a:pt x="438" y="2178"/>
                      </a:lnTo>
                      <a:lnTo>
                        <a:pt x="506" y="2136"/>
                      </a:lnTo>
                      <a:lnTo>
                        <a:pt x="576" y="2092"/>
                      </a:lnTo>
                      <a:lnTo>
                        <a:pt x="648" y="2052"/>
                      </a:lnTo>
                      <a:lnTo>
                        <a:pt x="792" y="1970"/>
                      </a:lnTo>
                      <a:lnTo>
                        <a:pt x="1066" y="1822"/>
                      </a:lnTo>
                      <a:lnTo>
                        <a:pt x="1186" y="1754"/>
                      </a:lnTo>
                      <a:lnTo>
                        <a:pt x="1240" y="1724"/>
                      </a:lnTo>
                      <a:lnTo>
                        <a:pt x="1288" y="1694"/>
                      </a:lnTo>
                      <a:lnTo>
                        <a:pt x="1332" y="1666"/>
                      </a:lnTo>
                      <a:lnTo>
                        <a:pt x="1368" y="1640"/>
                      </a:lnTo>
                      <a:lnTo>
                        <a:pt x="1396" y="1618"/>
                      </a:lnTo>
                      <a:lnTo>
                        <a:pt x="1418" y="1596"/>
                      </a:lnTo>
                      <a:lnTo>
                        <a:pt x="1462" y="1538"/>
                      </a:lnTo>
                      <a:lnTo>
                        <a:pt x="1506" y="1478"/>
                      </a:lnTo>
                      <a:lnTo>
                        <a:pt x="1548" y="1416"/>
                      </a:lnTo>
                      <a:lnTo>
                        <a:pt x="1588" y="1354"/>
                      </a:lnTo>
                      <a:lnTo>
                        <a:pt x="1626" y="1290"/>
                      </a:lnTo>
                      <a:lnTo>
                        <a:pt x="1662" y="1226"/>
                      </a:lnTo>
                      <a:lnTo>
                        <a:pt x="1734" y="1096"/>
                      </a:lnTo>
                      <a:lnTo>
                        <a:pt x="1804" y="966"/>
                      </a:lnTo>
                      <a:lnTo>
                        <a:pt x="1874" y="838"/>
                      </a:lnTo>
                      <a:lnTo>
                        <a:pt x="1912" y="776"/>
                      </a:lnTo>
                      <a:lnTo>
                        <a:pt x="1948" y="714"/>
                      </a:lnTo>
                      <a:lnTo>
                        <a:pt x="1988" y="652"/>
                      </a:lnTo>
                      <a:lnTo>
                        <a:pt x="2028" y="592"/>
                      </a:lnTo>
                      <a:lnTo>
                        <a:pt x="2070" y="534"/>
                      </a:lnTo>
                      <a:lnTo>
                        <a:pt x="2116" y="478"/>
                      </a:lnTo>
                      <a:lnTo>
                        <a:pt x="2162" y="424"/>
                      </a:lnTo>
                      <a:lnTo>
                        <a:pt x="2212" y="372"/>
                      </a:lnTo>
                      <a:lnTo>
                        <a:pt x="2264" y="322"/>
                      </a:lnTo>
                      <a:lnTo>
                        <a:pt x="2320" y="276"/>
                      </a:lnTo>
                      <a:lnTo>
                        <a:pt x="2380" y="232"/>
                      </a:lnTo>
                      <a:lnTo>
                        <a:pt x="2412" y="212"/>
                      </a:lnTo>
                      <a:lnTo>
                        <a:pt x="2444" y="192"/>
                      </a:lnTo>
                      <a:lnTo>
                        <a:pt x="2478" y="172"/>
                      </a:lnTo>
                      <a:lnTo>
                        <a:pt x="2512" y="154"/>
                      </a:lnTo>
                      <a:lnTo>
                        <a:pt x="2548" y="136"/>
                      </a:lnTo>
                      <a:lnTo>
                        <a:pt x="2584" y="120"/>
                      </a:lnTo>
                      <a:lnTo>
                        <a:pt x="2622" y="104"/>
                      </a:lnTo>
                      <a:lnTo>
                        <a:pt x="2662" y="90"/>
                      </a:lnTo>
                      <a:lnTo>
                        <a:pt x="2702" y="76"/>
                      </a:lnTo>
                      <a:lnTo>
                        <a:pt x="2742" y="64"/>
                      </a:lnTo>
                      <a:lnTo>
                        <a:pt x="2786" y="52"/>
                      </a:lnTo>
                      <a:lnTo>
                        <a:pt x="2830" y="42"/>
                      </a:lnTo>
                      <a:lnTo>
                        <a:pt x="2876" y="32"/>
                      </a:lnTo>
                      <a:lnTo>
                        <a:pt x="2922" y="24"/>
                      </a:lnTo>
                      <a:lnTo>
                        <a:pt x="2972" y="16"/>
                      </a:lnTo>
                      <a:lnTo>
                        <a:pt x="3022" y="10"/>
                      </a:lnTo>
                      <a:lnTo>
                        <a:pt x="3074" y="6"/>
                      </a:lnTo>
                      <a:lnTo>
                        <a:pt x="3126" y="2"/>
                      </a:lnTo>
                      <a:lnTo>
                        <a:pt x="3180" y="0"/>
                      </a:lnTo>
                      <a:lnTo>
                        <a:pt x="3234" y="0"/>
                      </a:lnTo>
                      <a:lnTo>
                        <a:pt x="3288" y="2"/>
                      </a:lnTo>
                      <a:lnTo>
                        <a:pt x="3340" y="4"/>
                      </a:lnTo>
                      <a:lnTo>
                        <a:pt x="3394" y="10"/>
                      </a:lnTo>
                      <a:lnTo>
                        <a:pt x="3446" y="18"/>
                      </a:lnTo>
                      <a:lnTo>
                        <a:pt x="3500" y="26"/>
                      </a:lnTo>
                      <a:lnTo>
                        <a:pt x="3552" y="36"/>
                      </a:lnTo>
                      <a:lnTo>
                        <a:pt x="3604" y="48"/>
                      </a:lnTo>
                      <a:lnTo>
                        <a:pt x="3654" y="60"/>
                      </a:lnTo>
                      <a:lnTo>
                        <a:pt x="3706" y="74"/>
                      </a:lnTo>
                      <a:lnTo>
                        <a:pt x="3758" y="90"/>
                      </a:lnTo>
                      <a:lnTo>
                        <a:pt x="3808" y="108"/>
                      </a:lnTo>
                      <a:lnTo>
                        <a:pt x="3858" y="126"/>
                      </a:lnTo>
                      <a:lnTo>
                        <a:pt x="3956" y="166"/>
                      </a:lnTo>
                      <a:lnTo>
                        <a:pt x="4054" y="210"/>
                      </a:lnTo>
                      <a:lnTo>
                        <a:pt x="4148" y="256"/>
                      </a:lnTo>
                      <a:lnTo>
                        <a:pt x="4240" y="306"/>
                      </a:lnTo>
                      <a:lnTo>
                        <a:pt x="4330" y="360"/>
                      </a:lnTo>
                      <a:lnTo>
                        <a:pt x="4418" y="414"/>
                      </a:lnTo>
                      <a:lnTo>
                        <a:pt x="4502" y="472"/>
                      </a:lnTo>
                      <a:lnTo>
                        <a:pt x="4582" y="530"/>
                      </a:lnTo>
                      <a:lnTo>
                        <a:pt x="4660" y="588"/>
                      </a:lnTo>
                      <a:lnTo>
                        <a:pt x="4736" y="646"/>
                      </a:lnTo>
                      <a:lnTo>
                        <a:pt x="4806" y="706"/>
                      </a:lnTo>
                      <a:lnTo>
                        <a:pt x="4874" y="762"/>
                      </a:lnTo>
                      <a:lnTo>
                        <a:pt x="4938" y="820"/>
                      </a:lnTo>
                      <a:lnTo>
                        <a:pt x="4998" y="874"/>
                      </a:lnTo>
                      <a:lnTo>
                        <a:pt x="5052" y="926"/>
                      </a:lnTo>
                      <a:lnTo>
                        <a:pt x="5150" y="1022"/>
                      </a:lnTo>
                      <a:lnTo>
                        <a:pt x="5228" y="1104"/>
                      </a:lnTo>
                      <a:lnTo>
                        <a:pt x="5284" y="1166"/>
                      </a:lnTo>
                      <a:lnTo>
                        <a:pt x="5332" y="1222"/>
                      </a:lnTo>
                      <a:close/>
                    </a:path>
                  </a:pathLst>
                </a:custGeom>
                <a:gradFill rotWithShape="1">
                  <a:gsLst>
                    <a:gs pos="0">
                      <a:srgbClr val="006D2A"/>
                    </a:gs>
                    <a:gs pos="50000">
                      <a:srgbClr val="009E41"/>
                    </a:gs>
                    <a:gs pos="100000">
                      <a:srgbClr val="00BD4F"/>
                    </a:gs>
                  </a:gsLst>
                  <a:lin ang="13500000" scaled="1"/>
                </a:grad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ndParaRPr>
                </a:p>
              </p:txBody>
            </p:sp>
            <p:sp>
              <p:nvSpPr>
                <p:cNvPr id="86" name="Freeform 7"/>
                <p:cNvSpPr>
                  <a:spLocks/>
                </p:cNvSpPr>
                <p:nvPr/>
              </p:nvSpPr>
              <p:spPr bwMode="auto">
                <a:xfrm>
                  <a:off x="-1754881" y="-3137690"/>
                  <a:ext cx="11126714" cy="4436281"/>
                </a:xfrm>
                <a:custGeom>
                  <a:avLst/>
                  <a:gdLst>
                    <a:gd name="T0" fmla="*/ 2382 w 7034"/>
                    <a:gd name="T1" fmla="*/ 1714 h 2792"/>
                    <a:gd name="T2" fmla="*/ 2542 w 7034"/>
                    <a:gd name="T3" fmla="*/ 1702 h 2792"/>
                    <a:gd name="T4" fmla="*/ 2734 w 7034"/>
                    <a:gd name="T5" fmla="*/ 1704 h 2792"/>
                    <a:gd name="T6" fmla="*/ 2954 w 7034"/>
                    <a:gd name="T7" fmla="*/ 1722 h 2792"/>
                    <a:gd name="T8" fmla="*/ 3462 w 7034"/>
                    <a:gd name="T9" fmla="*/ 1794 h 2792"/>
                    <a:gd name="T10" fmla="*/ 4032 w 7034"/>
                    <a:gd name="T11" fmla="*/ 1902 h 2792"/>
                    <a:gd name="T12" fmla="*/ 4632 w 7034"/>
                    <a:gd name="T13" fmla="*/ 2038 h 2792"/>
                    <a:gd name="T14" fmla="*/ 5422 w 7034"/>
                    <a:gd name="T15" fmla="*/ 2238 h 2792"/>
                    <a:gd name="T16" fmla="*/ 6430 w 7034"/>
                    <a:gd name="T17" fmla="*/ 2518 h 2792"/>
                    <a:gd name="T18" fmla="*/ 7034 w 7034"/>
                    <a:gd name="T19" fmla="*/ 2696 h 2792"/>
                    <a:gd name="T20" fmla="*/ 6804 w 7034"/>
                    <a:gd name="T21" fmla="*/ 2538 h 2792"/>
                    <a:gd name="T22" fmla="*/ 6368 w 7034"/>
                    <a:gd name="T23" fmla="*/ 2242 h 2792"/>
                    <a:gd name="T24" fmla="*/ 6054 w 7034"/>
                    <a:gd name="T25" fmla="*/ 2006 h 2792"/>
                    <a:gd name="T26" fmla="*/ 5848 w 7034"/>
                    <a:gd name="T27" fmla="*/ 1824 h 2792"/>
                    <a:gd name="T28" fmla="*/ 5694 w 7034"/>
                    <a:gd name="T29" fmla="*/ 1668 h 2792"/>
                    <a:gd name="T30" fmla="*/ 5540 w 7034"/>
                    <a:gd name="T31" fmla="*/ 1494 h 2792"/>
                    <a:gd name="T32" fmla="*/ 5384 w 7034"/>
                    <a:gd name="T33" fmla="*/ 1294 h 2792"/>
                    <a:gd name="T34" fmla="*/ 5282 w 7034"/>
                    <a:gd name="T35" fmla="*/ 1166 h 2792"/>
                    <a:gd name="T36" fmla="*/ 5050 w 7034"/>
                    <a:gd name="T37" fmla="*/ 926 h 2792"/>
                    <a:gd name="T38" fmla="*/ 4872 w 7034"/>
                    <a:gd name="T39" fmla="*/ 762 h 2792"/>
                    <a:gd name="T40" fmla="*/ 4658 w 7034"/>
                    <a:gd name="T41" fmla="*/ 588 h 2792"/>
                    <a:gd name="T42" fmla="*/ 4416 w 7034"/>
                    <a:gd name="T43" fmla="*/ 414 h 2792"/>
                    <a:gd name="T44" fmla="*/ 4146 w 7034"/>
                    <a:gd name="T45" fmla="*/ 256 h 2792"/>
                    <a:gd name="T46" fmla="*/ 3856 w 7034"/>
                    <a:gd name="T47" fmla="*/ 126 h 2792"/>
                    <a:gd name="T48" fmla="*/ 3704 w 7034"/>
                    <a:gd name="T49" fmla="*/ 74 h 2792"/>
                    <a:gd name="T50" fmla="*/ 3550 w 7034"/>
                    <a:gd name="T51" fmla="*/ 36 h 2792"/>
                    <a:gd name="T52" fmla="*/ 3392 w 7034"/>
                    <a:gd name="T53" fmla="*/ 10 h 2792"/>
                    <a:gd name="T54" fmla="*/ 3232 w 7034"/>
                    <a:gd name="T55" fmla="*/ 0 h 2792"/>
                    <a:gd name="T56" fmla="*/ 3124 w 7034"/>
                    <a:gd name="T57" fmla="*/ 2 h 2792"/>
                    <a:gd name="T58" fmla="*/ 2970 w 7034"/>
                    <a:gd name="T59" fmla="*/ 16 h 2792"/>
                    <a:gd name="T60" fmla="*/ 2828 w 7034"/>
                    <a:gd name="T61" fmla="*/ 42 h 2792"/>
                    <a:gd name="T62" fmla="*/ 2700 w 7034"/>
                    <a:gd name="T63" fmla="*/ 76 h 2792"/>
                    <a:gd name="T64" fmla="*/ 2582 w 7034"/>
                    <a:gd name="T65" fmla="*/ 120 h 2792"/>
                    <a:gd name="T66" fmla="*/ 2476 w 7034"/>
                    <a:gd name="T67" fmla="*/ 172 h 2792"/>
                    <a:gd name="T68" fmla="*/ 2378 w 7034"/>
                    <a:gd name="T69" fmla="*/ 232 h 2792"/>
                    <a:gd name="T70" fmla="*/ 2210 w 7034"/>
                    <a:gd name="T71" fmla="*/ 372 h 2792"/>
                    <a:gd name="T72" fmla="*/ 2068 w 7034"/>
                    <a:gd name="T73" fmla="*/ 534 h 2792"/>
                    <a:gd name="T74" fmla="*/ 1946 w 7034"/>
                    <a:gd name="T75" fmla="*/ 714 h 2792"/>
                    <a:gd name="T76" fmla="*/ 1802 w 7034"/>
                    <a:gd name="T77" fmla="*/ 966 h 2792"/>
                    <a:gd name="T78" fmla="*/ 1624 w 7034"/>
                    <a:gd name="T79" fmla="*/ 1290 h 2792"/>
                    <a:gd name="T80" fmla="*/ 1504 w 7034"/>
                    <a:gd name="T81" fmla="*/ 1478 h 2792"/>
                    <a:gd name="T82" fmla="*/ 1416 w 7034"/>
                    <a:gd name="T83" fmla="*/ 1596 h 2792"/>
                    <a:gd name="T84" fmla="*/ 1332 w 7034"/>
                    <a:gd name="T85" fmla="*/ 1666 h 2792"/>
                    <a:gd name="T86" fmla="*/ 1192 w 7034"/>
                    <a:gd name="T87" fmla="*/ 1752 h 2792"/>
                    <a:gd name="T88" fmla="*/ 666 w 7034"/>
                    <a:gd name="T89" fmla="*/ 2040 h 2792"/>
                    <a:gd name="T90" fmla="*/ 394 w 7034"/>
                    <a:gd name="T91" fmla="*/ 2206 h 2792"/>
                    <a:gd name="T92" fmla="*/ 218 w 7034"/>
                    <a:gd name="T93" fmla="*/ 2334 h 2792"/>
                    <a:gd name="T94" fmla="*/ 84 w 7034"/>
                    <a:gd name="T95" fmla="*/ 2464 h 2792"/>
                    <a:gd name="T96" fmla="*/ 38 w 7034"/>
                    <a:gd name="T97" fmla="*/ 2528 h 2792"/>
                    <a:gd name="T98" fmla="*/ 10 w 7034"/>
                    <a:gd name="T99" fmla="*/ 2592 h 2792"/>
                    <a:gd name="T100" fmla="*/ 0 w 7034"/>
                    <a:gd name="T101" fmla="*/ 2654 h 2792"/>
                    <a:gd name="T102" fmla="*/ 10 w 7034"/>
                    <a:gd name="T103" fmla="*/ 2714 h 2792"/>
                    <a:gd name="T104" fmla="*/ 44 w 7034"/>
                    <a:gd name="T105" fmla="*/ 2774 h 2792"/>
                    <a:gd name="T106" fmla="*/ 80 w 7034"/>
                    <a:gd name="T107" fmla="*/ 2746 h 2792"/>
                    <a:gd name="T108" fmla="*/ 242 w 7034"/>
                    <a:gd name="T109" fmla="*/ 2532 h 2792"/>
                    <a:gd name="T110" fmla="*/ 416 w 7034"/>
                    <a:gd name="T111" fmla="*/ 2358 h 2792"/>
                    <a:gd name="T112" fmla="*/ 600 w 7034"/>
                    <a:gd name="T113" fmla="*/ 2218 h 2792"/>
                    <a:gd name="T114" fmla="*/ 796 w 7034"/>
                    <a:gd name="T115" fmla="*/ 2106 h 2792"/>
                    <a:gd name="T116" fmla="*/ 1000 w 7034"/>
                    <a:gd name="T117" fmla="*/ 2018 h 2792"/>
                    <a:gd name="T118" fmla="*/ 1214 w 7034"/>
                    <a:gd name="T119" fmla="*/ 1950 h 2792"/>
                    <a:gd name="T120" fmla="*/ 1438 w 7034"/>
                    <a:gd name="T121" fmla="*/ 1894 h 2792"/>
                    <a:gd name="T122" fmla="*/ 1832 w 7034"/>
                    <a:gd name="T123" fmla="*/ 1816 h 2792"/>
                    <a:gd name="T124" fmla="*/ 2336 w 7034"/>
                    <a:gd name="T125" fmla="*/ 1722 h 27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7034"/>
                    <a:gd name="T190" fmla="*/ 0 h 2792"/>
                    <a:gd name="T191" fmla="*/ 7034 w 7034"/>
                    <a:gd name="T192" fmla="*/ 2792 h 279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7034" h="2792">
                      <a:moveTo>
                        <a:pt x="2336" y="1722"/>
                      </a:moveTo>
                      <a:lnTo>
                        <a:pt x="2336" y="1722"/>
                      </a:lnTo>
                      <a:lnTo>
                        <a:pt x="2382" y="1714"/>
                      </a:lnTo>
                      <a:lnTo>
                        <a:pt x="2432" y="1708"/>
                      </a:lnTo>
                      <a:lnTo>
                        <a:pt x="2484" y="1704"/>
                      </a:lnTo>
                      <a:lnTo>
                        <a:pt x="2542" y="1702"/>
                      </a:lnTo>
                      <a:lnTo>
                        <a:pt x="2602" y="1700"/>
                      </a:lnTo>
                      <a:lnTo>
                        <a:pt x="2666" y="1702"/>
                      </a:lnTo>
                      <a:lnTo>
                        <a:pt x="2734" y="1704"/>
                      </a:lnTo>
                      <a:lnTo>
                        <a:pt x="2804" y="1708"/>
                      </a:lnTo>
                      <a:lnTo>
                        <a:pt x="2878" y="1714"/>
                      </a:lnTo>
                      <a:lnTo>
                        <a:pt x="2954" y="1722"/>
                      </a:lnTo>
                      <a:lnTo>
                        <a:pt x="3114" y="1740"/>
                      </a:lnTo>
                      <a:lnTo>
                        <a:pt x="3284" y="1764"/>
                      </a:lnTo>
                      <a:lnTo>
                        <a:pt x="3462" y="1794"/>
                      </a:lnTo>
                      <a:lnTo>
                        <a:pt x="3646" y="1826"/>
                      </a:lnTo>
                      <a:lnTo>
                        <a:pt x="3836" y="1862"/>
                      </a:lnTo>
                      <a:lnTo>
                        <a:pt x="4032" y="1902"/>
                      </a:lnTo>
                      <a:lnTo>
                        <a:pt x="4230" y="1946"/>
                      </a:lnTo>
                      <a:lnTo>
                        <a:pt x="4430" y="1992"/>
                      </a:lnTo>
                      <a:lnTo>
                        <a:pt x="4632" y="2038"/>
                      </a:lnTo>
                      <a:lnTo>
                        <a:pt x="4834" y="2088"/>
                      </a:lnTo>
                      <a:lnTo>
                        <a:pt x="5032" y="2138"/>
                      </a:lnTo>
                      <a:lnTo>
                        <a:pt x="5422" y="2238"/>
                      </a:lnTo>
                      <a:lnTo>
                        <a:pt x="5792" y="2338"/>
                      </a:lnTo>
                      <a:lnTo>
                        <a:pt x="6132" y="2432"/>
                      </a:lnTo>
                      <a:lnTo>
                        <a:pt x="6430" y="2518"/>
                      </a:lnTo>
                      <a:lnTo>
                        <a:pt x="6680" y="2590"/>
                      </a:lnTo>
                      <a:lnTo>
                        <a:pt x="6870" y="2648"/>
                      </a:lnTo>
                      <a:lnTo>
                        <a:pt x="7034" y="2696"/>
                      </a:lnTo>
                      <a:lnTo>
                        <a:pt x="6918" y="2616"/>
                      </a:lnTo>
                      <a:lnTo>
                        <a:pt x="6804" y="2538"/>
                      </a:lnTo>
                      <a:lnTo>
                        <a:pt x="6582" y="2390"/>
                      </a:lnTo>
                      <a:lnTo>
                        <a:pt x="6474" y="2316"/>
                      </a:lnTo>
                      <a:lnTo>
                        <a:pt x="6368" y="2242"/>
                      </a:lnTo>
                      <a:lnTo>
                        <a:pt x="6262" y="2168"/>
                      </a:lnTo>
                      <a:lnTo>
                        <a:pt x="6158" y="2088"/>
                      </a:lnTo>
                      <a:lnTo>
                        <a:pt x="6054" y="2006"/>
                      </a:lnTo>
                      <a:lnTo>
                        <a:pt x="5952" y="1918"/>
                      </a:lnTo>
                      <a:lnTo>
                        <a:pt x="5900" y="1872"/>
                      </a:lnTo>
                      <a:lnTo>
                        <a:pt x="5848" y="1824"/>
                      </a:lnTo>
                      <a:lnTo>
                        <a:pt x="5798" y="1774"/>
                      </a:lnTo>
                      <a:lnTo>
                        <a:pt x="5746" y="1722"/>
                      </a:lnTo>
                      <a:lnTo>
                        <a:pt x="5694" y="1668"/>
                      </a:lnTo>
                      <a:lnTo>
                        <a:pt x="5642" y="1612"/>
                      </a:lnTo>
                      <a:lnTo>
                        <a:pt x="5592" y="1554"/>
                      </a:lnTo>
                      <a:lnTo>
                        <a:pt x="5540" y="1494"/>
                      </a:lnTo>
                      <a:lnTo>
                        <a:pt x="5488" y="1430"/>
                      </a:lnTo>
                      <a:lnTo>
                        <a:pt x="5436" y="1364"/>
                      </a:lnTo>
                      <a:lnTo>
                        <a:pt x="5384" y="1294"/>
                      </a:lnTo>
                      <a:lnTo>
                        <a:pt x="5330" y="1222"/>
                      </a:lnTo>
                      <a:lnTo>
                        <a:pt x="5282" y="1166"/>
                      </a:lnTo>
                      <a:lnTo>
                        <a:pt x="5226" y="1104"/>
                      </a:lnTo>
                      <a:lnTo>
                        <a:pt x="5148" y="1022"/>
                      </a:lnTo>
                      <a:lnTo>
                        <a:pt x="5050" y="926"/>
                      </a:lnTo>
                      <a:lnTo>
                        <a:pt x="4996" y="874"/>
                      </a:lnTo>
                      <a:lnTo>
                        <a:pt x="4936" y="820"/>
                      </a:lnTo>
                      <a:lnTo>
                        <a:pt x="4872" y="762"/>
                      </a:lnTo>
                      <a:lnTo>
                        <a:pt x="4804" y="706"/>
                      </a:lnTo>
                      <a:lnTo>
                        <a:pt x="4734" y="646"/>
                      </a:lnTo>
                      <a:lnTo>
                        <a:pt x="4658" y="588"/>
                      </a:lnTo>
                      <a:lnTo>
                        <a:pt x="4580" y="530"/>
                      </a:lnTo>
                      <a:lnTo>
                        <a:pt x="4500" y="472"/>
                      </a:lnTo>
                      <a:lnTo>
                        <a:pt x="4416" y="414"/>
                      </a:lnTo>
                      <a:lnTo>
                        <a:pt x="4328" y="360"/>
                      </a:lnTo>
                      <a:lnTo>
                        <a:pt x="4238" y="306"/>
                      </a:lnTo>
                      <a:lnTo>
                        <a:pt x="4146" y="256"/>
                      </a:lnTo>
                      <a:lnTo>
                        <a:pt x="4052" y="210"/>
                      </a:lnTo>
                      <a:lnTo>
                        <a:pt x="3954" y="166"/>
                      </a:lnTo>
                      <a:lnTo>
                        <a:pt x="3856" y="126"/>
                      </a:lnTo>
                      <a:lnTo>
                        <a:pt x="3806" y="108"/>
                      </a:lnTo>
                      <a:lnTo>
                        <a:pt x="3756" y="90"/>
                      </a:lnTo>
                      <a:lnTo>
                        <a:pt x="3704" y="74"/>
                      </a:lnTo>
                      <a:lnTo>
                        <a:pt x="3652" y="60"/>
                      </a:lnTo>
                      <a:lnTo>
                        <a:pt x="3602" y="48"/>
                      </a:lnTo>
                      <a:lnTo>
                        <a:pt x="3550" y="36"/>
                      </a:lnTo>
                      <a:lnTo>
                        <a:pt x="3498" y="26"/>
                      </a:lnTo>
                      <a:lnTo>
                        <a:pt x="3444" y="18"/>
                      </a:lnTo>
                      <a:lnTo>
                        <a:pt x="3392" y="10"/>
                      </a:lnTo>
                      <a:lnTo>
                        <a:pt x="3338" y="4"/>
                      </a:lnTo>
                      <a:lnTo>
                        <a:pt x="3286" y="2"/>
                      </a:lnTo>
                      <a:lnTo>
                        <a:pt x="3232" y="0"/>
                      </a:lnTo>
                      <a:lnTo>
                        <a:pt x="3178" y="0"/>
                      </a:lnTo>
                      <a:lnTo>
                        <a:pt x="3124" y="2"/>
                      </a:lnTo>
                      <a:lnTo>
                        <a:pt x="3072" y="6"/>
                      </a:lnTo>
                      <a:lnTo>
                        <a:pt x="3020" y="10"/>
                      </a:lnTo>
                      <a:lnTo>
                        <a:pt x="2970" y="16"/>
                      </a:lnTo>
                      <a:lnTo>
                        <a:pt x="2920" y="24"/>
                      </a:lnTo>
                      <a:lnTo>
                        <a:pt x="2874" y="32"/>
                      </a:lnTo>
                      <a:lnTo>
                        <a:pt x="2828" y="42"/>
                      </a:lnTo>
                      <a:lnTo>
                        <a:pt x="2784" y="52"/>
                      </a:lnTo>
                      <a:lnTo>
                        <a:pt x="2740" y="64"/>
                      </a:lnTo>
                      <a:lnTo>
                        <a:pt x="2700" y="76"/>
                      </a:lnTo>
                      <a:lnTo>
                        <a:pt x="2660" y="90"/>
                      </a:lnTo>
                      <a:lnTo>
                        <a:pt x="2620" y="104"/>
                      </a:lnTo>
                      <a:lnTo>
                        <a:pt x="2582" y="120"/>
                      </a:lnTo>
                      <a:lnTo>
                        <a:pt x="2546" y="136"/>
                      </a:lnTo>
                      <a:lnTo>
                        <a:pt x="2510" y="154"/>
                      </a:lnTo>
                      <a:lnTo>
                        <a:pt x="2476" y="172"/>
                      </a:lnTo>
                      <a:lnTo>
                        <a:pt x="2442" y="192"/>
                      </a:lnTo>
                      <a:lnTo>
                        <a:pt x="2410" y="212"/>
                      </a:lnTo>
                      <a:lnTo>
                        <a:pt x="2378" y="232"/>
                      </a:lnTo>
                      <a:lnTo>
                        <a:pt x="2318" y="276"/>
                      </a:lnTo>
                      <a:lnTo>
                        <a:pt x="2262" y="322"/>
                      </a:lnTo>
                      <a:lnTo>
                        <a:pt x="2210" y="372"/>
                      </a:lnTo>
                      <a:lnTo>
                        <a:pt x="2160" y="424"/>
                      </a:lnTo>
                      <a:lnTo>
                        <a:pt x="2114" y="478"/>
                      </a:lnTo>
                      <a:lnTo>
                        <a:pt x="2068" y="534"/>
                      </a:lnTo>
                      <a:lnTo>
                        <a:pt x="2026" y="592"/>
                      </a:lnTo>
                      <a:lnTo>
                        <a:pt x="1986" y="652"/>
                      </a:lnTo>
                      <a:lnTo>
                        <a:pt x="1946" y="714"/>
                      </a:lnTo>
                      <a:lnTo>
                        <a:pt x="1910" y="776"/>
                      </a:lnTo>
                      <a:lnTo>
                        <a:pt x="1872" y="838"/>
                      </a:lnTo>
                      <a:lnTo>
                        <a:pt x="1802" y="966"/>
                      </a:lnTo>
                      <a:lnTo>
                        <a:pt x="1732" y="1096"/>
                      </a:lnTo>
                      <a:lnTo>
                        <a:pt x="1660" y="1226"/>
                      </a:lnTo>
                      <a:lnTo>
                        <a:pt x="1624" y="1290"/>
                      </a:lnTo>
                      <a:lnTo>
                        <a:pt x="1586" y="1354"/>
                      </a:lnTo>
                      <a:lnTo>
                        <a:pt x="1546" y="1416"/>
                      </a:lnTo>
                      <a:lnTo>
                        <a:pt x="1504" y="1478"/>
                      </a:lnTo>
                      <a:lnTo>
                        <a:pt x="1460" y="1538"/>
                      </a:lnTo>
                      <a:lnTo>
                        <a:pt x="1416" y="1596"/>
                      </a:lnTo>
                      <a:lnTo>
                        <a:pt x="1394" y="1616"/>
                      </a:lnTo>
                      <a:lnTo>
                        <a:pt x="1366" y="1640"/>
                      </a:lnTo>
                      <a:lnTo>
                        <a:pt x="1332" y="1666"/>
                      </a:lnTo>
                      <a:lnTo>
                        <a:pt x="1290" y="1692"/>
                      </a:lnTo>
                      <a:lnTo>
                        <a:pt x="1244" y="1720"/>
                      </a:lnTo>
                      <a:lnTo>
                        <a:pt x="1192" y="1752"/>
                      </a:lnTo>
                      <a:lnTo>
                        <a:pt x="1074" y="1816"/>
                      </a:lnTo>
                      <a:lnTo>
                        <a:pt x="806" y="1962"/>
                      </a:lnTo>
                      <a:lnTo>
                        <a:pt x="666" y="2040"/>
                      </a:lnTo>
                      <a:lnTo>
                        <a:pt x="526" y="2122"/>
                      </a:lnTo>
                      <a:lnTo>
                        <a:pt x="458" y="2164"/>
                      </a:lnTo>
                      <a:lnTo>
                        <a:pt x="394" y="2206"/>
                      </a:lnTo>
                      <a:lnTo>
                        <a:pt x="330" y="2248"/>
                      </a:lnTo>
                      <a:lnTo>
                        <a:pt x="272" y="2292"/>
                      </a:lnTo>
                      <a:lnTo>
                        <a:pt x="218" y="2334"/>
                      </a:lnTo>
                      <a:lnTo>
                        <a:pt x="168" y="2378"/>
                      </a:lnTo>
                      <a:lnTo>
                        <a:pt x="122" y="2420"/>
                      </a:lnTo>
                      <a:lnTo>
                        <a:pt x="84" y="2464"/>
                      </a:lnTo>
                      <a:lnTo>
                        <a:pt x="66" y="2486"/>
                      </a:lnTo>
                      <a:lnTo>
                        <a:pt x="52" y="2506"/>
                      </a:lnTo>
                      <a:lnTo>
                        <a:pt x="38" y="2528"/>
                      </a:lnTo>
                      <a:lnTo>
                        <a:pt x="26" y="2550"/>
                      </a:lnTo>
                      <a:lnTo>
                        <a:pt x="16" y="2570"/>
                      </a:lnTo>
                      <a:lnTo>
                        <a:pt x="10" y="2592"/>
                      </a:lnTo>
                      <a:lnTo>
                        <a:pt x="4" y="2612"/>
                      </a:lnTo>
                      <a:lnTo>
                        <a:pt x="0" y="2632"/>
                      </a:lnTo>
                      <a:lnTo>
                        <a:pt x="0" y="2654"/>
                      </a:lnTo>
                      <a:lnTo>
                        <a:pt x="0" y="2674"/>
                      </a:lnTo>
                      <a:lnTo>
                        <a:pt x="4" y="2694"/>
                      </a:lnTo>
                      <a:lnTo>
                        <a:pt x="10" y="2714"/>
                      </a:lnTo>
                      <a:lnTo>
                        <a:pt x="18" y="2734"/>
                      </a:lnTo>
                      <a:lnTo>
                        <a:pt x="30" y="2754"/>
                      </a:lnTo>
                      <a:lnTo>
                        <a:pt x="44" y="2774"/>
                      </a:lnTo>
                      <a:lnTo>
                        <a:pt x="60" y="2792"/>
                      </a:lnTo>
                      <a:lnTo>
                        <a:pt x="80" y="2746"/>
                      </a:lnTo>
                      <a:lnTo>
                        <a:pt x="134" y="2670"/>
                      </a:lnTo>
                      <a:lnTo>
                        <a:pt x="188" y="2600"/>
                      </a:lnTo>
                      <a:lnTo>
                        <a:pt x="242" y="2532"/>
                      </a:lnTo>
                      <a:lnTo>
                        <a:pt x="300" y="2470"/>
                      </a:lnTo>
                      <a:lnTo>
                        <a:pt x="358" y="2412"/>
                      </a:lnTo>
                      <a:lnTo>
                        <a:pt x="416" y="2358"/>
                      </a:lnTo>
                      <a:lnTo>
                        <a:pt x="476" y="2308"/>
                      </a:lnTo>
                      <a:lnTo>
                        <a:pt x="538" y="2262"/>
                      </a:lnTo>
                      <a:lnTo>
                        <a:pt x="600" y="2218"/>
                      </a:lnTo>
                      <a:lnTo>
                        <a:pt x="664" y="2178"/>
                      </a:lnTo>
                      <a:lnTo>
                        <a:pt x="730" y="2142"/>
                      </a:lnTo>
                      <a:lnTo>
                        <a:pt x="796" y="2106"/>
                      </a:lnTo>
                      <a:lnTo>
                        <a:pt x="862" y="2076"/>
                      </a:lnTo>
                      <a:lnTo>
                        <a:pt x="930" y="2046"/>
                      </a:lnTo>
                      <a:lnTo>
                        <a:pt x="1000" y="2018"/>
                      </a:lnTo>
                      <a:lnTo>
                        <a:pt x="1070" y="1994"/>
                      </a:lnTo>
                      <a:lnTo>
                        <a:pt x="1142" y="1970"/>
                      </a:lnTo>
                      <a:lnTo>
                        <a:pt x="1214" y="1950"/>
                      </a:lnTo>
                      <a:lnTo>
                        <a:pt x="1288" y="1930"/>
                      </a:lnTo>
                      <a:lnTo>
                        <a:pt x="1362" y="1910"/>
                      </a:lnTo>
                      <a:lnTo>
                        <a:pt x="1438" y="1894"/>
                      </a:lnTo>
                      <a:lnTo>
                        <a:pt x="1514" y="1876"/>
                      </a:lnTo>
                      <a:lnTo>
                        <a:pt x="1670" y="1846"/>
                      </a:lnTo>
                      <a:lnTo>
                        <a:pt x="1832" y="1816"/>
                      </a:lnTo>
                      <a:lnTo>
                        <a:pt x="1996" y="1786"/>
                      </a:lnTo>
                      <a:lnTo>
                        <a:pt x="2164" y="1756"/>
                      </a:lnTo>
                      <a:lnTo>
                        <a:pt x="2336" y="1722"/>
                      </a:lnTo>
                      <a:close/>
                    </a:path>
                  </a:pathLst>
                </a:custGeom>
                <a:gradFill rotWithShape="1">
                  <a:gsLst>
                    <a:gs pos="0">
                      <a:srgbClr val="92D050"/>
                    </a:gs>
                    <a:gs pos="50000">
                      <a:srgbClr val="92D050"/>
                    </a:gs>
                    <a:gs pos="100000">
                      <a:srgbClr val="00BD4F"/>
                    </a:gs>
                  </a:gsLst>
                  <a:lin ang="13500000" scaled="1"/>
                </a:grad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ndParaRPr>
                </a:p>
              </p:txBody>
            </p:sp>
          </p:grpSp>
          <p:sp>
            <p:nvSpPr>
              <p:cNvPr id="84" name="Freeform 20"/>
              <p:cNvSpPr>
                <a:spLocks/>
              </p:cNvSpPr>
              <p:nvPr/>
            </p:nvSpPr>
            <p:spPr bwMode="auto">
              <a:xfrm>
                <a:off x="-414558" y="3186966"/>
                <a:ext cx="9982261" cy="1130807"/>
              </a:xfrm>
              <a:custGeom>
                <a:avLst/>
                <a:gdLst>
                  <a:gd name="T0" fmla="*/ 2292 w 6888"/>
                  <a:gd name="T1" fmla="*/ 112 h 1108"/>
                  <a:gd name="T2" fmla="*/ 2376 w 6888"/>
                  <a:gd name="T3" fmla="*/ 106 h 1108"/>
                  <a:gd name="T4" fmla="*/ 2472 w 6888"/>
                  <a:gd name="T5" fmla="*/ 104 h 1108"/>
                  <a:gd name="T6" fmla="*/ 2694 w 6888"/>
                  <a:gd name="T7" fmla="*/ 114 h 1108"/>
                  <a:gd name="T8" fmla="*/ 2956 w 6888"/>
                  <a:gd name="T9" fmla="*/ 142 h 1108"/>
                  <a:gd name="T10" fmla="*/ 3246 w 6888"/>
                  <a:gd name="T11" fmla="*/ 184 h 1108"/>
                  <a:gd name="T12" fmla="*/ 3564 w 6888"/>
                  <a:gd name="T13" fmla="*/ 238 h 1108"/>
                  <a:gd name="T14" fmla="*/ 3898 w 6888"/>
                  <a:gd name="T15" fmla="*/ 302 h 1108"/>
                  <a:gd name="T16" fmla="*/ 4244 w 6888"/>
                  <a:gd name="T17" fmla="*/ 376 h 1108"/>
                  <a:gd name="T18" fmla="*/ 4944 w 6888"/>
                  <a:gd name="T19" fmla="*/ 536 h 1108"/>
                  <a:gd name="T20" fmla="*/ 5616 w 6888"/>
                  <a:gd name="T21" fmla="*/ 704 h 1108"/>
                  <a:gd name="T22" fmla="*/ 6206 w 6888"/>
                  <a:gd name="T23" fmla="*/ 862 h 1108"/>
                  <a:gd name="T24" fmla="*/ 6664 w 6888"/>
                  <a:gd name="T25" fmla="*/ 990 h 1108"/>
                  <a:gd name="T26" fmla="*/ 6826 w 6888"/>
                  <a:gd name="T27" fmla="*/ 1038 h 1108"/>
                  <a:gd name="T28" fmla="*/ 6888 w 6888"/>
                  <a:gd name="T29" fmla="*/ 1016 h 1108"/>
                  <a:gd name="T30" fmla="*/ 6744 w 6888"/>
                  <a:gd name="T31" fmla="*/ 918 h 1108"/>
                  <a:gd name="T32" fmla="*/ 6346 w 6888"/>
                  <a:gd name="T33" fmla="*/ 802 h 1108"/>
                  <a:gd name="T34" fmla="*/ 5808 w 6888"/>
                  <a:gd name="T35" fmla="*/ 656 h 1108"/>
                  <a:gd name="T36" fmla="*/ 5176 w 6888"/>
                  <a:gd name="T37" fmla="*/ 492 h 1108"/>
                  <a:gd name="T38" fmla="*/ 4498 w 6888"/>
                  <a:gd name="T39" fmla="*/ 328 h 1108"/>
                  <a:gd name="T40" fmla="*/ 3988 w 6888"/>
                  <a:gd name="T41" fmla="*/ 216 h 1108"/>
                  <a:gd name="T42" fmla="*/ 3658 w 6888"/>
                  <a:gd name="T43" fmla="*/ 150 h 1108"/>
                  <a:gd name="T44" fmla="*/ 3344 w 6888"/>
                  <a:gd name="T45" fmla="*/ 94 h 1108"/>
                  <a:gd name="T46" fmla="*/ 3050 w 6888"/>
                  <a:gd name="T47" fmla="*/ 50 h 1108"/>
                  <a:gd name="T48" fmla="*/ 2784 w 6888"/>
                  <a:gd name="T49" fmla="*/ 18 h 1108"/>
                  <a:gd name="T50" fmla="*/ 2550 w 6888"/>
                  <a:gd name="T51" fmla="*/ 2 h 1108"/>
                  <a:gd name="T52" fmla="*/ 2402 w 6888"/>
                  <a:gd name="T53" fmla="*/ 2 h 1108"/>
                  <a:gd name="T54" fmla="*/ 2314 w 6888"/>
                  <a:gd name="T55" fmla="*/ 8 h 1108"/>
                  <a:gd name="T56" fmla="*/ 2276 w 6888"/>
                  <a:gd name="T57" fmla="*/ 12 h 1108"/>
                  <a:gd name="T58" fmla="*/ 1774 w 6888"/>
                  <a:gd name="T59" fmla="*/ 86 h 1108"/>
                  <a:gd name="T60" fmla="*/ 1458 w 6888"/>
                  <a:gd name="T61" fmla="*/ 142 h 1108"/>
                  <a:gd name="T62" fmla="*/ 1306 w 6888"/>
                  <a:gd name="T63" fmla="*/ 176 h 1108"/>
                  <a:gd name="T64" fmla="*/ 1158 w 6888"/>
                  <a:gd name="T65" fmla="*/ 216 h 1108"/>
                  <a:gd name="T66" fmla="*/ 1014 w 6888"/>
                  <a:gd name="T67" fmla="*/ 262 h 1108"/>
                  <a:gd name="T68" fmla="*/ 874 w 6888"/>
                  <a:gd name="T69" fmla="*/ 318 h 1108"/>
                  <a:gd name="T70" fmla="*/ 738 w 6888"/>
                  <a:gd name="T71" fmla="*/ 382 h 1108"/>
                  <a:gd name="T72" fmla="*/ 606 w 6888"/>
                  <a:gd name="T73" fmla="*/ 458 h 1108"/>
                  <a:gd name="T74" fmla="*/ 480 w 6888"/>
                  <a:gd name="T75" fmla="*/ 544 h 1108"/>
                  <a:gd name="T76" fmla="*/ 358 w 6888"/>
                  <a:gd name="T77" fmla="*/ 644 h 1108"/>
                  <a:gd name="T78" fmla="*/ 240 w 6888"/>
                  <a:gd name="T79" fmla="*/ 758 h 1108"/>
                  <a:gd name="T80" fmla="*/ 128 w 6888"/>
                  <a:gd name="T81" fmla="*/ 890 h 1108"/>
                  <a:gd name="T82" fmla="*/ 20 w 6888"/>
                  <a:gd name="T83" fmla="*/ 1036 h 1108"/>
                  <a:gd name="T84" fmla="*/ 0 w 6888"/>
                  <a:gd name="T85" fmla="*/ 1084 h 1108"/>
                  <a:gd name="T86" fmla="*/ 26 w 6888"/>
                  <a:gd name="T87" fmla="*/ 1108 h 1108"/>
                  <a:gd name="T88" fmla="*/ 32 w 6888"/>
                  <a:gd name="T89" fmla="*/ 1104 h 1108"/>
                  <a:gd name="T90" fmla="*/ 108 w 6888"/>
                  <a:gd name="T91" fmla="*/ 1034 h 1108"/>
                  <a:gd name="T92" fmla="*/ 160 w 6888"/>
                  <a:gd name="T93" fmla="*/ 968 h 1108"/>
                  <a:gd name="T94" fmla="*/ 268 w 6888"/>
                  <a:gd name="T95" fmla="*/ 846 h 1108"/>
                  <a:gd name="T96" fmla="*/ 380 w 6888"/>
                  <a:gd name="T97" fmla="*/ 738 h 1108"/>
                  <a:gd name="T98" fmla="*/ 496 w 6888"/>
                  <a:gd name="T99" fmla="*/ 640 h 1108"/>
                  <a:gd name="T100" fmla="*/ 616 w 6888"/>
                  <a:gd name="T101" fmla="*/ 556 h 1108"/>
                  <a:gd name="T102" fmla="*/ 740 w 6888"/>
                  <a:gd name="T103" fmla="*/ 482 h 1108"/>
                  <a:gd name="T104" fmla="*/ 870 w 6888"/>
                  <a:gd name="T105" fmla="*/ 420 h 1108"/>
                  <a:gd name="T106" fmla="*/ 1002 w 6888"/>
                  <a:gd name="T107" fmla="*/ 364 h 1108"/>
                  <a:gd name="T108" fmla="*/ 1138 w 6888"/>
                  <a:gd name="T109" fmla="*/ 316 h 1108"/>
                  <a:gd name="T110" fmla="*/ 1278 w 6888"/>
                  <a:gd name="T111" fmla="*/ 276 h 1108"/>
                  <a:gd name="T112" fmla="*/ 1424 w 6888"/>
                  <a:gd name="T113" fmla="*/ 242 h 1108"/>
                  <a:gd name="T114" fmla="*/ 1648 w 6888"/>
                  <a:gd name="T115" fmla="*/ 198 h 1108"/>
                  <a:gd name="T116" fmla="*/ 1962 w 6888"/>
                  <a:gd name="T117" fmla="*/ 152 h 1108"/>
                  <a:gd name="T118" fmla="*/ 2292 w 6888"/>
                  <a:gd name="T119" fmla="*/ 112 h 110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6888"/>
                  <a:gd name="T181" fmla="*/ 0 h 1108"/>
                  <a:gd name="T182" fmla="*/ 6888 w 6888"/>
                  <a:gd name="T183" fmla="*/ 1108 h 110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6888" h="1108">
                    <a:moveTo>
                      <a:pt x="2292" y="112"/>
                    </a:moveTo>
                    <a:lnTo>
                      <a:pt x="2292" y="112"/>
                    </a:lnTo>
                    <a:lnTo>
                      <a:pt x="2332" y="108"/>
                    </a:lnTo>
                    <a:lnTo>
                      <a:pt x="2376" y="106"/>
                    </a:lnTo>
                    <a:lnTo>
                      <a:pt x="2422" y="104"/>
                    </a:lnTo>
                    <a:lnTo>
                      <a:pt x="2472" y="104"/>
                    </a:lnTo>
                    <a:lnTo>
                      <a:pt x="2578" y="106"/>
                    </a:lnTo>
                    <a:lnTo>
                      <a:pt x="2694" y="114"/>
                    </a:lnTo>
                    <a:lnTo>
                      <a:pt x="2820" y="126"/>
                    </a:lnTo>
                    <a:lnTo>
                      <a:pt x="2956" y="142"/>
                    </a:lnTo>
                    <a:lnTo>
                      <a:pt x="3098" y="160"/>
                    </a:lnTo>
                    <a:lnTo>
                      <a:pt x="3246" y="184"/>
                    </a:lnTo>
                    <a:lnTo>
                      <a:pt x="3402" y="210"/>
                    </a:lnTo>
                    <a:lnTo>
                      <a:pt x="3564" y="238"/>
                    </a:lnTo>
                    <a:lnTo>
                      <a:pt x="3728" y="270"/>
                    </a:lnTo>
                    <a:lnTo>
                      <a:pt x="3898" y="302"/>
                    </a:lnTo>
                    <a:lnTo>
                      <a:pt x="4070" y="338"/>
                    </a:lnTo>
                    <a:lnTo>
                      <a:pt x="4244" y="376"/>
                    </a:lnTo>
                    <a:lnTo>
                      <a:pt x="4594" y="454"/>
                    </a:lnTo>
                    <a:lnTo>
                      <a:pt x="4944" y="536"/>
                    </a:lnTo>
                    <a:lnTo>
                      <a:pt x="5288" y="622"/>
                    </a:lnTo>
                    <a:lnTo>
                      <a:pt x="5616" y="704"/>
                    </a:lnTo>
                    <a:lnTo>
                      <a:pt x="5924" y="786"/>
                    </a:lnTo>
                    <a:lnTo>
                      <a:pt x="6206" y="862"/>
                    </a:lnTo>
                    <a:lnTo>
                      <a:pt x="6454" y="930"/>
                    </a:lnTo>
                    <a:lnTo>
                      <a:pt x="6664" y="990"/>
                    </a:lnTo>
                    <a:lnTo>
                      <a:pt x="6826" y="1038"/>
                    </a:lnTo>
                    <a:lnTo>
                      <a:pt x="6888" y="1016"/>
                    </a:lnTo>
                    <a:lnTo>
                      <a:pt x="6744" y="918"/>
                    </a:lnTo>
                    <a:lnTo>
                      <a:pt x="6566" y="866"/>
                    </a:lnTo>
                    <a:lnTo>
                      <a:pt x="6346" y="802"/>
                    </a:lnTo>
                    <a:lnTo>
                      <a:pt x="6092" y="732"/>
                    </a:lnTo>
                    <a:lnTo>
                      <a:pt x="5808" y="656"/>
                    </a:lnTo>
                    <a:lnTo>
                      <a:pt x="5500" y="574"/>
                    </a:lnTo>
                    <a:lnTo>
                      <a:pt x="5176" y="492"/>
                    </a:lnTo>
                    <a:lnTo>
                      <a:pt x="4840" y="410"/>
                    </a:lnTo>
                    <a:lnTo>
                      <a:pt x="4498" y="328"/>
                    </a:lnTo>
                    <a:lnTo>
                      <a:pt x="4156" y="252"/>
                    </a:lnTo>
                    <a:lnTo>
                      <a:pt x="3988" y="216"/>
                    </a:lnTo>
                    <a:lnTo>
                      <a:pt x="3822" y="182"/>
                    </a:lnTo>
                    <a:lnTo>
                      <a:pt x="3658" y="150"/>
                    </a:lnTo>
                    <a:lnTo>
                      <a:pt x="3498" y="122"/>
                    </a:lnTo>
                    <a:lnTo>
                      <a:pt x="3344" y="94"/>
                    </a:lnTo>
                    <a:lnTo>
                      <a:pt x="3194" y="70"/>
                    </a:lnTo>
                    <a:lnTo>
                      <a:pt x="3050" y="50"/>
                    </a:lnTo>
                    <a:lnTo>
                      <a:pt x="2914" y="32"/>
                    </a:lnTo>
                    <a:lnTo>
                      <a:pt x="2784" y="18"/>
                    </a:lnTo>
                    <a:lnTo>
                      <a:pt x="2662" y="8"/>
                    </a:lnTo>
                    <a:lnTo>
                      <a:pt x="2550" y="2"/>
                    </a:lnTo>
                    <a:lnTo>
                      <a:pt x="2448" y="0"/>
                    </a:lnTo>
                    <a:lnTo>
                      <a:pt x="2402" y="2"/>
                    </a:lnTo>
                    <a:lnTo>
                      <a:pt x="2356" y="4"/>
                    </a:lnTo>
                    <a:lnTo>
                      <a:pt x="2314" y="8"/>
                    </a:lnTo>
                    <a:lnTo>
                      <a:pt x="2276" y="12"/>
                    </a:lnTo>
                    <a:lnTo>
                      <a:pt x="1938" y="60"/>
                    </a:lnTo>
                    <a:lnTo>
                      <a:pt x="1774" y="86"/>
                    </a:lnTo>
                    <a:lnTo>
                      <a:pt x="1614" y="112"/>
                    </a:lnTo>
                    <a:lnTo>
                      <a:pt x="1458" y="142"/>
                    </a:lnTo>
                    <a:lnTo>
                      <a:pt x="1382" y="158"/>
                    </a:lnTo>
                    <a:lnTo>
                      <a:pt x="1306" y="176"/>
                    </a:lnTo>
                    <a:lnTo>
                      <a:pt x="1232" y="194"/>
                    </a:lnTo>
                    <a:lnTo>
                      <a:pt x="1158" y="216"/>
                    </a:lnTo>
                    <a:lnTo>
                      <a:pt x="1086" y="238"/>
                    </a:lnTo>
                    <a:lnTo>
                      <a:pt x="1014" y="262"/>
                    </a:lnTo>
                    <a:lnTo>
                      <a:pt x="942" y="288"/>
                    </a:lnTo>
                    <a:lnTo>
                      <a:pt x="874" y="318"/>
                    </a:lnTo>
                    <a:lnTo>
                      <a:pt x="804" y="348"/>
                    </a:lnTo>
                    <a:lnTo>
                      <a:pt x="738" y="382"/>
                    </a:lnTo>
                    <a:lnTo>
                      <a:pt x="672" y="418"/>
                    </a:lnTo>
                    <a:lnTo>
                      <a:pt x="606" y="458"/>
                    </a:lnTo>
                    <a:lnTo>
                      <a:pt x="542" y="500"/>
                    </a:lnTo>
                    <a:lnTo>
                      <a:pt x="480" y="544"/>
                    </a:lnTo>
                    <a:lnTo>
                      <a:pt x="418" y="592"/>
                    </a:lnTo>
                    <a:lnTo>
                      <a:pt x="358" y="644"/>
                    </a:lnTo>
                    <a:lnTo>
                      <a:pt x="298" y="700"/>
                    </a:lnTo>
                    <a:lnTo>
                      <a:pt x="240" y="758"/>
                    </a:lnTo>
                    <a:lnTo>
                      <a:pt x="184" y="822"/>
                    </a:lnTo>
                    <a:lnTo>
                      <a:pt x="128" y="890"/>
                    </a:lnTo>
                    <a:lnTo>
                      <a:pt x="74" y="960"/>
                    </a:lnTo>
                    <a:lnTo>
                      <a:pt x="20" y="1036"/>
                    </a:lnTo>
                    <a:lnTo>
                      <a:pt x="0" y="1084"/>
                    </a:lnTo>
                    <a:lnTo>
                      <a:pt x="26" y="1108"/>
                    </a:lnTo>
                    <a:lnTo>
                      <a:pt x="28" y="1106"/>
                    </a:lnTo>
                    <a:lnTo>
                      <a:pt x="32" y="1104"/>
                    </a:lnTo>
                    <a:lnTo>
                      <a:pt x="50" y="1090"/>
                    </a:lnTo>
                    <a:lnTo>
                      <a:pt x="108" y="1034"/>
                    </a:lnTo>
                    <a:lnTo>
                      <a:pt x="160" y="968"/>
                    </a:lnTo>
                    <a:lnTo>
                      <a:pt x="214" y="906"/>
                    </a:lnTo>
                    <a:lnTo>
                      <a:pt x="268" y="846"/>
                    </a:lnTo>
                    <a:lnTo>
                      <a:pt x="324" y="790"/>
                    </a:lnTo>
                    <a:lnTo>
                      <a:pt x="380" y="738"/>
                    </a:lnTo>
                    <a:lnTo>
                      <a:pt x="438" y="688"/>
                    </a:lnTo>
                    <a:lnTo>
                      <a:pt x="496" y="640"/>
                    </a:lnTo>
                    <a:lnTo>
                      <a:pt x="556" y="598"/>
                    </a:lnTo>
                    <a:lnTo>
                      <a:pt x="616" y="556"/>
                    </a:lnTo>
                    <a:lnTo>
                      <a:pt x="678" y="518"/>
                    </a:lnTo>
                    <a:lnTo>
                      <a:pt x="740" y="482"/>
                    </a:lnTo>
                    <a:lnTo>
                      <a:pt x="804" y="450"/>
                    </a:lnTo>
                    <a:lnTo>
                      <a:pt x="870" y="420"/>
                    </a:lnTo>
                    <a:lnTo>
                      <a:pt x="934" y="390"/>
                    </a:lnTo>
                    <a:lnTo>
                      <a:pt x="1002" y="364"/>
                    </a:lnTo>
                    <a:lnTo>
                      <a:pt x="1070" y="340"/>
                    </a:lnTo>
                    <a:lnTo>
                      <a:pt x="1138" y="316"/>
                    </a:lnTo>
                    <a:lnTo>
                      <a:pt x="1208" y="296"/>
                    </a:lnTo>
                    <a:lnTo>
                      <a:pt x="1278" y="276"/>
                    </a:lnTo>
                    <a:lnTo>
                      <a:pt x="1350" y="258"/>
                    </a:lnTo>
                    <a:lnTo>
                      <a:pt x="1424" y="242"/>
                    </a:lnTo>
                    <a:lnTo>
                      <a:pt x="1498" y="226"/>
                    </a:lnTo>
                    <a:lnTo>
                      <a:pt x="1648" y="198"/>
                    </a:lnTo>
                    <a:lnTo>
                      <a:pt x="1804" y="174"/>
                    </a:lnTo>
                    <a:lnTo>
                      <a:pt x="1962" y="152"/>
                    </a:lnTo>
                    <a:lnTo>
                      <a:pt x="2126" y="132"/>
                    </a:lnTo>
                    <a:lnTo>
                      <a:pt x="2292" y="112"/>
                    </a:lnTo>
                    <a:close/>
                  </a:path>
                </a:pathLst>
              </a:custGeom>
              <a:gradFill rotWithShape="1">
                <a:gsLst>
                  <a:gs pos="0">
                    <a:srgbClr val="006D2A"/>
                  </a:gs>
                  <a:gs pos="92999">
                    <a:srgbClr val="008E39"/>
                  </a:gs>
                  <a:gs pos="100000">
                    <a:srgbClr val="007432"/>
                  </a:gs>
                </a:gsLst>
                <a:lin ang="13500000" scaled="1"/>
              </a:grad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ndParaRPr>
              </a:p>
            </p:txBody>
          </p:sp>
        </p:grpSp>
        <p:grpSp>
          <p:nvGrpSpPr>
            <p:cNvPr id="3348" name="Gruppe 153"/>
            <p:cNvGrpSpPr>
              <a:grpSpLocks/>
            </p:cNvGrpSpPr>
            <p:nvPr/>
          </p:nvGrpSpPr>
          <p:grpSpPr bwMode="auto">
            <a:xfrm rot="218200" flipH="1">
              <a:off x="1207904" y="3882259"/>
              <a:ext cx="2003930" cy="1101108"/>
              <a:chOff x="-576612" y="1443989"/>
              <a:chExt cx="10055528" cy="3995643"/>
            </a:xfrm>
          </p:grpSpPr>
          <p:grpSp>
            <p:nvGrpSpPr>
              <p:cNvPr id="3349" name="Gruppe 16"/>
              <p:cNvGrpSpPr>
                <a:grpSpLocks/>
              </p:cNvGrpSpPr>
              <p:nvPr/>
            </p:nvGrpSpPr>
            <p:grpSpPr bwMode="auto">
              <a:xfrm>
                <a:off x="-576612" y="1443989"/>
                <a:ext cx="10055528" cy="3995643"/>
                <a:chOff x="-1933470" y="-2879092"/>
                <a:chExt cx="11208392" cy="5993464"/>
              </a:xfrm>
            </p:grpSpPr>
            <p:sp>
              <p:nvSpPr>
                <p:cNvPr id="81" name="Freeform 6"/>
                <p:cNvSpPr>
                  <a:spLocks/>
                </p:cNvSpPr>
                <p:nvPr/>
              </p:nvSpPr>
              <p:spPr bwMode="auto">
                <a:xfrm>
                  <a:off x="-1878613" y="-2875708"/>
                  <a:ext cx="11157842" cy="5993430"/>
                </a:xfrm>
                <a:custGeom>
                  <a:avLst/>
                  <a:gdLst>
                    <a:gd name="T0" fmla="*/ 5438 w 7036"/>
                    <a:gd name="T1" fmla="*/ 1364 h 3760"/>
                    <a:gd name="T2" fmla="*/ 5644 w 7036"/>
                    <a:gd name="T3" fmla="*/ 1612 h 3760"/>
                    <a:gd name="T4" fmla="*/ 5850 w 7036"/>
                    <a:gd name="T5" fmla="*/ 1824 h 3760"/>
                    <a:gd name="T6" fmla="*/ 6160 w 7036"/>
                    <a:gd name="T7" fmla="*/ 2088 h 3760"/>
                    <a:gd name="T8" fmla="*/ 6584 w 7036"/>
                    <a:gd name="T9" fmla="*/ 2390 h 3760"/>
                    <a:gd name="T10" fmla="*/ 7036 w 7036"/>
                    <a:gd name="T11" fmla="*/ 2696 h 3760"/>
                    <a:gd name="T12" fmla="*/ 5784 w 7036"/>
                    <a:gd name="T13" fmla="*/ 3094 h 3760"/>
                    <a:gd name="T14" fmla="*/ 4056 w 7036"/>
                    <a:gd name="T15" fmla="*/ 3600 h 3760"/>
                    <a:gd name="T16" fmla="*/ 3546 w 7036"/>
                    <a:gd name="T17" fmla="*/ 3734 h 3760"/>
                    <a:gd name="T18" fmla="*/ 3242 w 7036"/>
                    <a:gd name="T19" fmla="*/ 3756 h 3760"/>
                    <a:gd name="T20" fmla="*/ 2782 w 7036"/>
                    <a:gd name="T21" fmla="*/ 3750 h 3760"/>
                    <a:gd name="T22" fmla="*/ 2492 w 7036"/>
                    <a:gd name="T23" fmla="*/ 3716 h 3760"/>
                    <a:gd name="T24" fmla="*/ 2210 w 7036"/>
                    <a:gd name="T25" fmla="*/ 3654 h 3760"/>
                    <a:gd name="T26" fmla="*/ 1960 w 7036"/>
                    <a:gd name="T27" fmla="*/ 3550 h 3760"/>
                    <a:gd name="T28" fmla="*/ 1832 w 7036"/>
                    <a:gd name="T29" fmla="*/ 3462 h 3760"/>
                    <a:gd name="T30" fmla="*/ 1750 w 7036"/>
                    <a:gd name="T31" fmla="*/ 3378 h 3760"/>
                    <a:gd name="T32" fmla="*/ 1638 w 7036"/>
                    <a:gd name="T33" fmla="*/ 3208 h 3760"/>
                    <a:gd name="T34" fmla="*/ 1508 w 7036"/>
                    <a:gd name="T35" fmla="*/ 2948 h 3760"/>
                    <a:gd name="T36" fmla="*/ 1434 w 7036"/>
                    <a:gd name="T37" fmla="*/ 2732 h 3760"/>
                    <a:gd name="T38" fmla="*/ 1382 w 7036"/>
                    <a:gd name="T39" fmla="*/ 2480 h 3760"/>
                    <a:gd name="T40" fmla="*/ 1344 w 7036"/>
                    <a:gd name="T41" fmla="*/ 2330 h 3760"/>
                    <a:gd name="T42" fmla="*/ 1284 w 7036"/>
                    <a:gd name="T43" fmla="*/ 2244 h 3760"/>
                    <a:gd name="T44" fmla="*/ 1176 w 7036"/>
                    <a:gd name="T45" fmla="*/ 2182 h 3760"/>
                    <a:gd name="T46" fmla="*/ 1048 w 7036"/>
                    <a:gd name="T47" fmla="*/ 2152 h 3760"/>
                    <a:gd name="T48" fmla="*/ 928 w 7036"/>
                    <a:gd name="T49" fmla="*/ 2168 h 3760"/>
                    <a:gd name="T50" fmla="*/ 784 w 7036"/>
                    <a:gd name="T51" fmla="*/ 2238 h 3760"/>
                    <a:gd name="T52" fmla="*/ 548 w 7036"/>
                    <a:gd name="T53" fmla="*/ 2406 h 3760"/>
                    <a:gd name="T54" fmla="*/ 206 w 7036"/>
                    <a:gd name="T55" fmla="*/ 2712 h 3760"/>
                    <a:gd name="T56" fmla="*/ 88 w 7036"/>
                    <a:gd name="T57" fmla="*/ 2816 h 3760"/>
                    <a:gd name="T58" fmla="*/ 34 w 7036"/>
                    <a:gd name="T59" fmla="*/ 2758 h 3760"/>
                    <a:gd name="T60" fmla="*/ 2 w 7036"/>
                    <a:gd name="T61" fmla="*/ 2676 h 3760"/>
                    <a:gd name="T62" fmla="*/ 10 w 7036"/>
                    <a:gd name="T63" fmla="*/ 2592 h 3760"/>
                    <a:gd name="T64" fmla="*/ 54 w 7036"/>
                    <a:gd name="T65" fmla="*/ 2506 h 3760"/>
                    <a:gd name="T66" fmla="*/ 150 w 7036"/>
                    <a:gd name="T67" fmla="*/ 2396 h 3760"/>
                    <a:gd name="T68" fmla="*/ 372 w 7036"/>
                    <a:gd name="T69" fmla="*/ 2222 h 3760"/>
                    <a:gd name="T70" fmla="*/ 648 w 7036"/>
                    <a:gd name="T71" fmla="*/ 2052 h 3760"/>
                    <a:gd name="T72" fmla="*/ 1240 w 7036"/>
                    <a:gd name="T73" fmla="*/ 1724 h 3760"/>
                    <a:gd name="T74" fmla="*/ 1396 w 7036"/>
                    <a:gd name="T75" fmla="*/ 1618 h 3760"/>
                    <a:gd name="T76" fmla="*/ 1506 w 7036"/>
                    <a:gd name="T77" fmla="*/ 1478 h 3760"/>
                    <a:gd name="T78" fmla="*/ 1662 w 7036"/>
                    <a:gd name="T79" fmla="*/ 1226 h 3760"/>
                    <a:gd name="T80" fmla="*/ 1912 w 7036"/>
                    <a:gd name="T81" fmla="*/ 776 h 3760"/>
                    <a:gd name="T82" fmla="*/ 2070 w 7036"/>
                    <a:gd name="T83" fmla="*/ 534 h 3760"/>
                    <a:gd name="T84" fmla="*/ 2264 w 7036"/>
                    <a:gd name="T85" fmla="*/ 322 h 3760"/>
                    <a:gd name="T86" fmla="*/ 2444 w 7036"/>
                    <a:gd name="T87" fmla="*/ 192 h 3760"/>
                    <a:gd name="T88" fmla="*/ 2584 w 7036"/>
                    <a:gd name="T89" fmla="*/ 120 h 3760"/>
                    <a:gd name="T90" fmla="*/ 2742 w 7036"/>
                    <a:gd name="T91" fmla="*/ 64 h 3760"/>
                    <a:gd name="T92" fmla="*/ 2922 w 7036"/>
                    <a:gd name="T93" fmla="*/ 24 h 3760"/>
                    <a:gd name="T94" fmla="*/ 3126 w 7036"/>
                    <a:gd name="T95" fmla="*/ 2 h 3760"/>
                    <a:gd name="T96" fmla="*/ 3288 w 7036"/>
                    <a:gd name="T97" fmla="*/ 2 h 3760"/>
                    <a:gd name="T98" fmla="*/ 3500 w 7036"/>
                    <a:gd name="T99" fmla="*/ 26 h 3760"/>
                    <a:gd name="T100" fmla="*/ 3706 w 7036"/>
                    <a:gd name="T101" fmla="*/ 74 h 3760"/>
                    <a:gd name="T102" fmla="*/ 3956 w 7036"/>
                    <a:gd name="T103" fmla="*/ 166 h 3760"/>
                    <a:gd name="T104" fmla="*/ 4330 w 7036"/>
                    <a:gd name="T105" fmla="*/ 360 h 3760"/>
                    <a:gd name="T106" fmla="*/ 4660 w 7036"/>
                    <a:gd name="T107" fmla="*/ 588 h 3760"/>
                    <a:gd name="T108" fmla="*/ 4938 w 7036"/>
                    <a:gd name="T109" fmla="*/ 820 h 3760"/>
                    <a:gd name="T110" fmla="*/ 5228 w 7036"/>
                    <a:gd name="T111" fmla="*/ 1104 h 376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036"/>
                    <a:gd name="T169" fmla="*/ 0 h 3760"/>
                    <a:gd name="T170" fmla="*/ 7036 w 7036"/>
                    <a:gd name="T171" fmla="*/ 3760 h 376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036" h="3760">
                      <a:moveTo>
                        <a:pt x="5332" y="1222"/>
                      </a:moveTo>
                      <a:lnTo>
                        <a:pt x="5332" y="1222"/>
                      </a:lnTo>
                      <a:lnTo>
                        <a:pt x="5386" y="1294"/>
                      </a:lnTo>
                      <a:lnTo>
                        <a:pt x="5438" y="1364"/>
                      </a:lnTo>
                      <a:lnTo>
                        <a:pt x="5490" y="1430"/>
                      </a:lnTo>
                      <a:lnTo>
                        <a:pt x="5542" y="1494"/>
                      </a:lnTo>
                      <a:lnTo>
                        <a:pt x="5594" y="1554"/>
                      </a:lnTo>
                      <a:lnTo>
                        <a:pt x="5644" y="1612"/>
                      </a:lnTo>
                      <a:lnTo>
                        <a:pt x="5696" y="1668"/>
                      </a:lnTo>
                      <a:lnTo>
                        <a:pt x="5748" y="1722"/>
                      </a:lnTo>
                      <a:lnTo>
                        <a:pt x="5800" y="1774"/>
                      </a:lnTo>
                      <a:lnTo>
                        <a:pt x="5850" y="1824"/>
                      </a:lnTo>
                      <a:lnTo>
                        <a:pt x="5902" y="1872"/>
                      </a:lnTo>
                      <a:lnTo>
                        <a:pt x="5954" y="1918"/>
                      </a:lnTo>
                      <a:lnTo>
                        <a:pt x="6056" y="2006"/>
                      </a:lnTo>
                      <a:lnTo>
                        <a:pt x="6160" y="2088"/>
                      </a:lnTo>
                      <a:lnTo>
                        <a:pt x="6264" y="2168"/>
                      </a:lnTo>
                      <a:lnTo>
                        <a:pt x="6370" y="2242"/>
                      </a:lnTo>
                      <a:lnTo>
                        <a:pt x="6476" y="2316"/>
                      </a:lnTo>
                      <a:lnTo>
                        <a:pt x="6584" y="2390"/>
                      </a:lnTo>
                      <a:lnTo>
                        <a:pt x="6806" y="2538"/>
                      </a:lnTo>
                      <a:lnTo>
                        <a:pt x="6920" y="2616"/>
                      </a:lnTo>
                      <a:lnTo>
                        <a:pt x="7036" y="2696"/>
                      </a:lnTo>
                      <a:lnTo>
                        <a:pt x="6882" y="2748"/>
                      </a:lnTo>
                      <a:lnTo>
                        <a:pt x="6700" y="2808"/>
                      </a:lnTo>
                      <a:lnTo>
                        <a:pt x="6272" y="2944"/>
                      </a:lnTo>
                      <a:lnTo>
                        <a:pt x="5784" y="3094"/>
                      </a:lnTo>
                      <a:lnTo>
                        <a:pt x="5266" y="3250"/>
                      </a:lnTo>
                      <a:lnTo>
                        <a:pt x="4752" y="3400"/>
                      </a:lnTo>
                      <a:lnTo>
                        <a:pt x="4272" y="3538"/>
                      </a:lnTo>
                      <a:lnTo>
                        <a:pt x="4056" y="3600"/>
                      </a:lnTo>
                      <a:lnTo>
                        <a:pt x="3860" y="3652"/>
                      </a:lnTo>
                      <a:lnTo>
                        <a:pt x="3690" y="3698"/>
                      </a:lnTo>
                      <a:lnTo>
                        <a:pt x="3546" y="3734"/>
                      </a:lnTo>
                      <a:lnTo>
                        <a:pt x="3502" y="3740"/>
                      </a:lnTo>
                      <a:lnTo>
                        <a:pt x="3434" y="3746"/>
                      </a:lnTo>
                      <a:lnTo>
                        <a:pt x="3346" y="3752"/>
                      </a:lnTo>
                      <a:lnTo>
                        <a:pt x="3242" y="3756"/>
                      </a:lnTo>
                      <a:lnTo>
                        <a:pt x="3122" y="3760"/>
                      </a:lnTo>
                      <a:lnTo>
                        <a:pt x="2992" y="3758"/>
                      </a:lnTo>
                      <a:lnTo>
                        <a:pt x="2854" y="3754"/>
                      </a:lnTo>
                      <a:lnTo>
                        <a:pt x="2782" y="3750"/>
                      </a:lnTo>
                      <a:lnTo>
                        <a:pt x="2710" y="3744"/>
                      </a:lnTo>
                      <a:lnTo>
                        <a:pt x="2638" y="3736"/>
                      </a:lnTo>
                      <a:lnTo>
                        <a:pt x="2564" y="3728"/>
                      </a:lnTo>
                      <a:lnTo>
                        <a:pt x="2492" y="3716"/>
                      </a:lnTo>
                      <a:lnTo>
                        <a:pt x="2420" y="3704"/>
                      </a:lnTo>
                      <a:lnTo>
                        <a:pt x="2348" y="3690"/>
                      </a:lnTo>
                      <a:lnTo>
                        <a:pt x="2278" y="3672"/>
                      </a:lnTo>
                      <a:lnTo>
                        <a:pt x="2210" y="3654"/>
                      </a:lnTo>
                      <a:lnTo>
                        <a:pt x="2144" y="3632"/>
                      </a:lnTo>
                      <a:lnTo>
                        <a:pt x="2080" y="3608"/>
                      </a:lnTo>
                      <a:lnTo>
                        <a:pt x="2018" y="3580"/>
                      </a:lnTo>
                      <a:lnTo>
                        <a:pt x="1960" y="3550"/>
                      </a:lnTo>
                      <a:lnTo>
                        <a:pt x="1906" y="3518"/>
                      </a:lnTo>
                      <a:lnTo>
                        <a:pt x="1880" y="3500"/>
                      </a:lnTo>
                      <a:lnTo>
                        <a:pt x="1856" y="3482"/>
                      </a:lnTo>
                      <a:lnTo>
                        <a:pt x="1832" y="3462"/>
                      </a:lnTo>
                      <a:lnTo>
                        <a:pt x="1810" y="3444"/>
                      </a:lnTo>
                      <a:lnTo>
                        <a:pt x="1788" y="3422"/>
                      </a:lnTo>
                      <a:lnTo>
                        <a:pt x="1768" y="3400"/>
                      </a:lnTo>
                      <a:lnTo>
                        <a:pt x="1750" y="3378"/>
                      </a:lnTo>
                      <a:lnTo>
                        <a:pt x="1732" y="3356"/>
                      </a:lnTo>
                      <a:lnTo>
                        <a:pt x="1682" y="3280"/>
                      </a:lnTo>
                      <a:lnTo>
                        <a:pt x="1638" y="3208"/>
                      </a:lnTo>
                      <a:lnTo>
                        <a:pt x="1600" y="3138"/>
                      </a:lnTo>
                      <a:lnTo>
                        <a:pt x="1564" y="3072"/>
                      </a:lnTo>
                      <a:lnTo>
                        <a:pt x="1534" y="3010"/>
                      </a:lnTo>
                      <a:lnTo>
                        <a:pt x="1508" y="2948"/>
                      </a:lnTo>
                      <a:lnTo>
                        <a:pt x="1484" y="2890"/>
                      </a:lnTo>
                      <a:lnTo>
                        <a:pt x="1466" y="2836"/>
                      </a:lnTo>
                      <a:lnTo>
                        <a:pt x="1448" y="2782"/>
                      </a:lnTo>
                      <a:lnTo>
                        <a:pt x="1434" y="2732"/>
                      </a:lnTo>
                      <a:lnTo>
                        <a:pt x="1422" y="2684"/>
                      </a:lnTo>
                      <a:lnTo>
                        <a:pt x="1412" y="2640"/>
                      </a:lnTo>
                      <a:lnTo>
                        <a:pt x="1396" y="2556"/>
                      </a:lnTo>
                      <a:lnTo>
                        <a:pt x="1382" y="2480"/>
                      </a:lnTo>
                      <a:lnTo>
                        <a:pt x="1368" y="2414"/>
                      </a:lnTo>
                      <a:lnTo>
                        <a:pt x="1362" y="2384"/>
                      </a:lnTo>
                      <a:lnTo>
                        <a:pt x="1354" y="2356"/>
                      </a:lnTo>
                      <a:lnTo>
                        <a:pt x="1344" y="2330"/>
                      </a:lnTo>
                      <a:lnTo>
                        <a:pt x="1332" y="2306"/>
                      </a:lnTo>
                      <a:lnTo>
                        <a:pt x="1318" y="2284"/>
                      </a:lnTo>
                      <a:lnTo>
                        <a:pt x="1302" y="2264"/>
                      </a:lnTo>
                      <a:lnTo>
                        <a:pt x="1284" y="2244"/>
                      </a:lnTo>
                      <a:lnTo>
                        <a:pt x="1262" y="2226"/>
                      </a:lnTo>
                      <a:lnTo>
                        <a:pt x="1238" y="2210"/>
                      </a:lnTo>
                      <a:lnTo>
                        <a:pt x="1208" y="2196"/>
                      </a:lnTo>
                      <a:lnTo>
                        <a:pt x="1176" y="2182"/>
                      </a:lnTo>
                      <a:lnTo>
                        <a:pt x="1138" y="2172"/>
                      </a:lnTo>
                      <a:lnTo>
                        <a:pt x="1096" y="2160"/>
                      </a:lnTo>
                      <a:lnTo>
                        <a:pt x="1048" y="2152"/>
                      </a:lnTo>
                      <a:lnTo>
                        <a:pt x="1020" y="2150"/>
                      </a:lnTo>
                      <a:lnTo>
                        <a:pt x="992" y="2152"/>
                      </a:lnTo>
                      <a:lnTo>
                        <a:pt x="962" y="2158"/>
                      </a:lnTo>
                      <a:lnTo>
                        <a:pt x="928" y="2168"/>
                      </a:lnTo>
                      <a:lnTo>
                        <a:pt x="894" y="2180"/>
                      </a:lnTo>
                      <a:lnTo>
                        <a:pt x="858" y="2198"/>
                      </a:lnTo>
                      <a:lnTo>
                        <a:pt x="822" y="2216"/>
                      </a:lnTo>
                      <a:lnTo>
                        <a:pt x="784" y="2238"/>
                      </a:lnTo>
                      <a:lnTo>
                        <a:pt x="746" y="2262"/>
                      </a:lnTo>
                      <a:lnTo>
                        <a:pt x="706" y="2288"/>
                      </a:lnTo>
                      <a:lnTo>
                        <a:pt x="628" y="2346"/>
                      </a:lnTo>
                      <a:lnTo>
                        <a:pt x="548" y="2406"/>
                      </a:lnTo>
                      <a:lnTo>
                        <a:pt x="470" y="2472"/>
                      </a:lnTo>
                      <a:lnTo>
                        <a:pt x="396" y="2536"/>
                      </a:lnTo>
                      <a:lnTo>
                        <a:pt x="326" y="2600"/>
                      </a:lnTo>
                      <a:lnTo>
                        <a:pt x="206" y="2712"/>
                      </a:lnTo>
                      <a:lnTo>
                        <a:pt x="122" y="2790"/>
                      </a:lnTo>
                      <a:lnTo>
                        <a:pt x="98" y="2810"/>
                      </a:lnTo>
                      <a:lnTo>
                        <a:pt x="90" y="2816"/>
                      </a:lnTo>
                      <a:lnTo>
                        <a:pt x="88" y="2816"/>
                      </a:lnTo>
                      <a:lnTo>
                        <a:pt x="66" y="2798"/>
                      </a:lnTo>
                      <a:lnTo>
                        <a:pt x="50" y="2778"/>
                      </a:lnTo>
                      <a:lnTo>
                        <a:pt x="34" y="2758"/>
                      </a:lnTo>
                      <a:lnTo>
                        <a:pt x="22" y="2738"/>
                      </a:lnTo>
                      <a:lnTo>
                        <a:pt x="14" y="2718"/>
                      </a:lnTo>
                      <a:lnTo>
                        <a:pt x="6" y="2698"/>
                      </a:lnTo>
                      <a:lnTo>
                        <a:pt x="2" y="2676"/>
                      </a:lnTo>
                      <a:lnTo>
                        <a:pt x="0" y="2656"/>
                      </a:lnTo>
                      <a:lnTo>
                        <a:pt x="2" y="2634"/>
                      </a:lnTo>
                      <a:lnTo>
                        <a:pt x="6" y="2614"/>
                      </a:lnTo>
                      <a:lnTo>
                        <a:pt x="10" y="2592"/>
                      </a:lnTo>
                      <a:lnTo>
                        <a:pt x="18" y="2570"/>
                      </a:lnTo>
                      <a:lnTo>
                        <a:pt x="28" y="2550"/>
                      </a:lnTo>
                      <a:lnTo>
                        <a:pt x="40" y="2528"/>
                      </a:lnTo>
                      <a:lnTo>
                        <a:pt x="54" y="2506"/>
                      </a:lnTo>
                      <a:lnTo>
                        <a:pt x="70" y="2484"/>
                      </a:lnTo>
                      <a:lnTo>
                        <a:pt x="86" y="2462"/>
                      </a:lnTo>
                      <a:lnTo>
                        <a:pt x="106" y="2440"/>
                      </a:lnTo>
                      <a:lnTo>
                        <a:pt x="150" y="2396"/>
                      </a:lnTo>
                      <a:lnTo>
                        <a:pt x="198" y="2352"/>
                      </a:lnTo>
                      <a:lnTo>
                        <a:pt x="252" y="2308"/>
                      </a:lnTo>
                      <a:lnTo>
                        <a:pt x="310" y="2264"/>
                      </a:lnTo>
                      <a:lnTo>
                        <a:pt x="372" y="2222"/>
                      </a:lnTo>
                      <a:lnTo>
                        <a:pt x="438" y="2178"/>
                      </a:lnTo>
                      <a:lnTo>
                        <a:pt x="506" y="2136"/>
                      </a:lnTo>
                      <a:lnTo>
                        <a:pt x="576" y="2092"/>
                      </a:lnTo>
                      <a:lnTo>
                        <a:pt x="648" y="2052"/>
                      </a:lnTo>
                      <a:lnTo>
                        <a:pt x="792" y="1970"/>
                      </a:lnTo>
                      <a:lnTo>
                        <a:pt x="1066" y="1822"/>
                      </a:lnTo>
                      <a:lnTo>
                        <a:pt x="1186" y="1754"/>
                      </a:lnTo>
                      <a:lnTo>
                        <a:pt x="1240" y="1724"/>
                      </a:lnTo>
                      <a:lnTo>
                        <a:pt x="1288" y="1694"/>
                      </a:lnTo>
                      <a:lnTo>
                        <a:pt x="1332" y="1666"/>
                      </a:lnTo>
                      <a:lnTo>
                        <a:pt x="1368" y="1640"/>
                      </a:lnTo>
                      <a:lnTo>
                        <a:pt x="1396" y="1618"/>
                      </a:lnTo>
                      <a:lnTo>
                        <a:pt x="1418" y="1596"/>
                      </a:lnTo>
                      <a:lnTo>
                        <a:pt x="1462" y="1538"/>
                      </a:lnTo>
                      <a:lnTo>
                        <a:pt x="1506" y="1478"/>
                      </a:lnTo>
                      <a:lnTo>
                        <a:pt x="1548" y="1416"/>
                      </a:lnTo>
                      <a:lnTo>
                        <a:pt x="1588" y="1354"/>
                      </a:lnTo>
                      <a:lnTo>
                        <a:pt x="1626" y="1290"/>
                      </a:lnTo>
                      <a:lnTo>
                        <a:pt x="1662" y="1226"/>
                      </a:lnTo>
                      <a:lnTo>
                        <a:pt x="1734" y="1096"/>
                      </a:lnTo>
                      <a:lnTo>
                        <a:pt x="1804" y="966"/>
                      </a:lnTo>
                      <a:lnTo>
                        <a:pt x="1874" y="838"/>
                      </a:lnTo>
                      <a:lnTo>
                        <a:pt x="1912" y="776"/>
                      </a:lnTo>
                      <a:lnTo>
                        <a:pt x="1948" y="714"/>
                      </a:lnTo>
                      <a:lnTo>
                        <a:pt x="1988" y="652"/>
                      </a:lnTo>
                      <a:lnTo>
                        <a:pt x="2028" y="592"/>
                      </a:lnTo>
                      <a:lnTo>
                        <a:pt x="2070" y="534"/>
                      </a:lnTo>
                      <a:lnTo>
                        <a:pt x="2116" y="478"/>
                      </a:lnTo>
                      <a:lnTo>
                        <a:pt x="2162" y="424"/>
                      </a:lnTo>
                      <a:lnTo>
                        <a:pt x="2212" y="372"/>
                      </a:lnTo>
                      <a:lnTo>
                        <a:pt x="2264" y="322"/>
                      </a:lnTo>
                      <a:lnTo>
                        <a:pt x="2320" y="276"/>
                      </a:lnTo>
                      <a:lnTo>
                        <a:pt x="2380" y="232"/>
                      </a:lnTo>
                      <a:lnTo>
                        <a:pt x="2412" y="212"/>
                      </a:lnTo>
                      <a:lnTo>
                        <a:pt x="2444" y="192"/>
                      </a:lnTo>
                      <a:lnTo>
                        <a:pt x="2478" y="172"/>
                      </a:lnTo>
                      <a:lnTo>
                        <a:pt x="2512" y="154"/>
                      </a:lnTo>
                      <a:lnTo>
                        <a:pt x="2548" y="136"/>
                      </a:lnTo>
                      <a:lnTo>
                        <a:pt x="2584" y="120"/>
                      </a:lnTo>
                      <a:lnTo>
                        <a:pt x="2622" y="104"/>
                      </a:lnTo>
                      <a:lnTo>
                        <a:pt x="2662" y="90"/>
                      </a:lnTo>
                      <a:lnTo>
                        <a:pt x="2702" y="76"/>
                      </a:lnTo>
                      <a:lnTo>
                        <a:pt x="2742" y="64"/>
                      </a:lnTo>
                      <a:lnTo>
                        <a:pt x="2786" y="52"/>
                      </a:lnTo>
                      <a:lnTo>
                        <a:pt x="2830" y="42"/>
                      </a:lnTo>
                      <a:lnTo>
                        <a:pt x="2876" y="32"/>
                      </a:lnTo>
                      <a:lnTo>
                        <a:pt x="2922" y="24"/>
                      </a:lnTo>
                      <a:lnTo>
                        <a:pt x="2972" y="16"/>
                      </a:lnTo>
                      <a:lnTo>
                        <a:pt x="3022" y="10"/>
                      </a:lnTo>
                      <a:lnTo>
                        <a:pt x="3074" y="6"/>
                      </a:lnTo>
                      <a:lnTo>
                        <a:pt x="3126" y="2"/>
                      </a:lnTo>
                      <a:lnTo>
                        <a:pt x="3180" y="0"/>
                      </a:lnTo>
                      <a:lnTo>
                        <a:pt x="3234" y="0"/>
                      </a:lnTo>
                      <a:lnTo>
                        <a:pt x="3288" y="2"/>
                      </a:lnTo>
                      <a:lnTo>
                        <a:pt x="3340" y="4"/>
                      </a:lnTo>
                      <a:lnTo>
                        <a:pt x="3394" y="10"/>
                      </a:lnTo>
                      <a:lnTo>
                        <a:pt x="3446" y="18"/>
                      </a:lnTo>
                      <a:lnTo>
                        <a:pt x="3500" y="26"/>
                      </a:lnTo>
                      <a:lnTo>
                        <a:pt x="3552" y="36"/>
                      </a:lnTo>
                      <a:lnTo>
                        <a:pt x="3604" y="48"/>
                      </a:lnTo>
                      <a:lnTo>
                        <a:pt x="3654" y="60"/>
                      </a:lnTo>
                      <a:lnTo>
                        <a:pt x="3706" y="74"/>
                      </a:lnTo>
                      <a:lnTo>
                        <a:pt x="3758" y="90"/>
                      </a:lnTo>
                      <a:lnTo>
                        <a:pt x="3808" y="108"/>
                      </a:lnTo>
                      <a:lnTo>
                        <a:pt x="3858" y="126"/>
                      </a:lnTo>
                      <a:lnTo>
                        <a:pt x="3956" y="166"/>
                      </a:lnTo>
                      <a:lnTo>
                        <a:pt x="4054" y="210"/>
                      </a:lnTo>
                      <a:lnTo>
                        <a:pt x="4148" y="256"/>
                      </a:lnTo>
                      <a:lnTo>
                        <a:pt x="4240" y="306"/>
                      </a:lnTo>
                      <a:lnTo>
                        <a:pt x="4330" y="360"/>
                      </a:lnTo>
                      <a:lnTo>
                        <a:pt x="4418" y="414"/>
                      </a:lnTo>
                      <a:lnTo>
                        <a:pt x="4502" y="472"/>
                      </a:lnTo>
                      <a:lnTo>
                        <a:pt x="4582" y="530"/>
                      </a:lnTo>
                      <a:lnTo>
                        <a:pt x="4660" y="588"/>
                      </a:lnTo>
                      <a:lnTo>
                        <a:pt x="4736" y="646"/>
                      </a:lnTo>
                      <a:lnTo>
                        <a:pt x="4806" y="706"/>
                      </a:lnTo>
                      <a:lnTo>
                        <a:pt x="4874" y="762"/>
                      </a:lnTo>
                      <a:lnTo>
                        <a:pt x="4938" y="820"/>
                      </a:lnTo>
                      <a:lnTo>
                        <a:pt x="4998" y="874"/>
                      </a:lnTo>
                      <a:lnTo>
                        <a:pt x="5052" y="926"/>
                      </a:lnTo>
                      <a:lnTo>
                        <a:pt x="5150" y="1022"/>
                      </a:lnTo>
                      <a:lnTo>
                        <a:pt x="5228" y="1104"/>
                      </a:lnTo>
                      <a:lnTo>
                        <a:pt x="5284" y="1166"/>
                      </a:lnTo>
                      <a:lnTo>
                        <a:pt x="5332" y="1222"/>
                      </a:lnTo>
                      <a:close/>
                    </a:path>
                  </a:pathLst>
                </a:custGeom>
                <a:gradFill rotWithShape="1">
                  <a:gsLst>
                    <a:gs pos="0">
                      <a:srgbClr val="006D2A"/>
                    </a:gs>
                    <a:gs pos="50000">
                      <a:srgbClr val="009E41"/>
                    </a:gs>
                    <a:gs pos="100000">
                      <a:srgbClr val="00BD4F"/>
                    </a:gs>
                  </a:gsLst>
                  <a:lin ang="13500000" scaled="1"/>
                </a:grad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ndParaRPr>
                </a:p>
              </p:txBody>
            </p:sp>
            <p:sp>
              <p:nvSpPr>
                <p:cNvPr id="82" name="Freeform 7"/>
                <p:cNvSpPr>
                  <a:spLocks/>
                </p:cNvSpPr>
                <p:nvPr/>
              </p:nvSpPr>
              <p:spPr bwMode="auto">
                <a:xfrm>
                  <a:off x="-1769737" y="-2924173"/>
                  <a:ext cx="11157876" cy="4441577"/>
                </a:xfrm>
                <a:custGeom>
                  <a:avLst/>
                  <a:gdLst>
                    <a:gd name="T0" fmla="*/ 2382 w 7034"/>
                    <a:gd name="T1" fmla="*/ 1714 h 2792"/>
                    <a:gd name="T2" fmla="*/ 2542 w 7034"/>
                    <a:gd name="T3" fmla="*/ 1702 h 2792"/>
                    <a:gd name="T4" fmla="*/ 2734 w 7034"/>
                    <a:gd name="T5" fmla="*/ 1704 h 2792"/>
                    <a:gd name="T6" fmla="*/ 2954 w 7034"/>
                    <a:gd name="T7" fmla="*/ 1722 h 2792"/>
                    <a:gd name="T8" fmla="*/ 3462 w 7034"/>
                    <a:gd name="T9" fmla="*/ 1794 h 2792"/>
                    <a:gd name="T10" fmla="*/ 4032 w 7034"/>
                    <a:gd name="T11" fmla="*/ 1902 h 2792"/>
                    <a:gd name="T12" fmla="*/ 4632 w 7034"/>
                    <a:gd name="T13" fmla="*/ 2038 h 2792"/>
                    <a:gd name="T14" fmla="*/ 5422 w 7034"/>
                    <a:gd name="T15" fmla="*/ 2238 h 2792"/>
                    <a:gd name="T16" fmla="*/ 6430 w 7034"/>
                    <a:gd name="T17" fmla="*/ 2518 h 2792"/>
                    <a:gd name="T18" fmla="*/ 7034 w 7034"/>
                    <a:gd name="T19" fmla="*/ 2696 h 2792"/>
                    <a:gd name="T20" fmla="*/ 6804 w 7034"/>
                    <a:gd name="T21" fmla="*/ 2538 h 2792"/>
                    <a:gd name="T22" fmla="*/ 6368 w 7034"/>
                    <a:gd name="T23" fmla="*/ 2242 h 2792"/>
                    <a:gd name="T24" fmla="*/ 6054 w 7034"/>
                    <a:gd name="T25" fmla="*/ 2006 h 2792"/>
                    <a:gd name="T26" fmla="*/ 5848 w 7034"/>
                    <a:gd name="T27" fmla="*/ 1824 h 2792"/>
                    <a:gd name="T28" fmla="*/ 5694 w 7034"/>
                    <a:gd name="T29" fmla="*/ 1668 h 2792"/>
                    <a:gd name="T30" fmla="*/ 5540 w 7034"/>
                    <a:gd name="T31" fmla="*/ 1494 h 2792"/>
                    <a:gd name="T32" fmla="*/ 5384 w 7034"/>
                    <a:gd name="T33" fmla="*/ 1294 h 2792"/>
                    <a:gd name="T34" fmla="*/ 5282 w 7034"/>
                    <a:gd name="T35" fmla="*/ 1166 h 2792"/>
                    <a:gd name="T36" fmla="*/ 5050 w 7034"/>
                    <a:gd name="T37" fmla="*/ 926 h 2792"/>
                    <a:gd name="T38" fmla="*/ 4872 w 7034"/>
                    <a:gd name="T39" fmla="*/ 762 h 2792"/>
                    <a:gd name="T40" fmla="*/ 4658 w 7034"/>
                    <a:gd name="T41" fmla="*/ 588 h 2792"/>
                    <a:gd name="T42" fmla="*/ 4416 w 7034"/>
                    <a:gd name="T43" fmla="*/ 414 h 2792"/>
                    <a:gd name="T44" fmla="*/ 4146 w 7034"/>
                    <a:gd name="T45" fmla="*/ 256 h 2792"/>
                    <a:gd name="T46" fmla="*/ 3856 w 7034"/>
                    <a:gd name="T47" fmla="*/ 126 h 2792"/>
                    <a:gd name="T48" fmla="*/ 3704 w 7034"/>
                    <a:gd name="T49" fmla="*/ 74 h 2792"/>
                    <a:gd name="T50" fmla="*/ 3550 w 7034"/>
                    <a:gd name="T51" fmla="*/ 36 h 2792"/>
                    <a:gd name="T52" fmla="*/ 3392 w 7034"/>
                    <a:gd name="T53" fmla="*/ 10 h 2792"/>
                    <a:gd name="T54" fmla="*/ 3232 w 7034"/>
                    <a:gd name="T55" fmla="*/ 0 h 2792"/>
                    <a:gd name="T56" fmla="*/ 3124 w 7034"/>
                    <a:gd name="T57" fmla="*/ 2 h 2792"/>
                    <a:gd name="T58" fmla="*/ 2970 w 7034"/>
                    <a:gd name="T59" fmla="*/ 16 h 2792"/>
                    <a:gd name="T60" fmla="*/ 2828 w 7034"/>
                    <a:gd name="T61" fmla="*/ 42 h 2792"/>
                    <a:gd name="T62" fmla="*/ 2700 w 7034"/>
                    <a:gd name="T63" fmla="*/ 76 h 2792"/>
                    <a:gd name="T64" fmla="*/ 2582 w 7034"/>
                    <a:gd name="T65" fmla="*/ 120 h 2792"/>
                    <a:gd name="T66" fmla="*/ 2476 w 7034"/>
                    <a:gd name="T67" fmla="*/ 172 h 2792"/>
                    <a:gd name="T68" fmla="*/ 2378 w 7034"/>
                    <a:gd name="T69" fmla="*/ 232 h 2792"/>
                    <a:gd name="T70" fmla="*/ 2210 w 7034"/>
                    <a:gd name="T71" fmla="*/ 372 h 2792"/>
                    <a:gd name="T72" fmla="*/ 2068 w 7034"/>
                    <a:gd name="T73" fmla="*/ 534 h 2792"/>
                    <a:gd name="T74" fmla="*/ 1946 w 7034"/>
                    <a:gd name="T75" fmla="*/ 714 h 2792"/>
                    <a:gd name="T76" fmla="*/ 1802 w 7034"/>
                    <a:gd name="T77" fmla="*/ 966 h 2792"/>
                    <a:gd name="T78" fmla="*/ 1624 w 7034"/>
                    <a:gd name="T79" fmla="*/ 1290 h 2792"/>
                    <a:gd name="T80" fmla="*/ 1504 w 7034"/>
                    <a:gd name="T81" fmla="*/ 1478 h 2792"/>
                    <a:gd name="T82" fmla="*/ 1416 w 7034"/>
                    <a:gd name="T83" fmla="*/ 1596 h 2792"/>
                    <a:gd name="T84" fmla="*/ 1332 w 7034"/>
                    <a:gd name="T85" fmla="*/ 1666 h 2792"/>
                    <a:gd name="T86" fmla="*/ 1192 w 7034"/>
                    <a:gd name="T87" fmla="*/ 1752 h 2792"/>
                    <a:gd name="T88" fmla="*/ 666 w 7034"/>
                    <a:gd name="T89" fmla="*/ 2040 h 2792"/>
                    <a:gd name="T90" fmla="*/ 394 w 7034"/>
                    <a:gd name="T91" fmla="*/ 2206 h 2792"/>
                    <a:gd name="T92" fmla="*/ 218 w 7034"/>
                    <a:gd name="T93" fmla="*/ 2334 h 2792"/>
                    <a:gd name="T94" fmla="*/ 84 w 7034"/>
                    <a:gd name="T95" fmla="*/ 2464 h 2792"/>
                    <a:gd name="T96" fmla="*/ 38 w 7034"/>
                    <a:gd name="T97" fmla="*/ 2528 h 2792"/>
                    <a:gd name="T98" fmla="*/ 10 w 7034"/>
                    <a:gd name="T99" fmla="*/ 2592 h 2792"/>
                    <a:gd name="T100" fmla="*/ 0 w 7034"/>
                    <a:gd name="T101" fmla="*/ 2654 h 2792"/>
                    <a:gd name="T102" fmla="*/ 10 w 7034"/>
                    <a:gd name="T103" fmla="*/ 2714 h 2792"/>
                    <a:gd name="T104" fmla="*/ 44 w 7034"/>
                    <a:gd name="T105" fmla="*/ 2774 h 2792"/>
                    <a:gd name="T106" fmla="*/ 80 w 7034"/>
                    <a:gd name="T107" fmla="*/ 2746 h 2792"/>
                    <a:gd name="T108" fmla="*/ 242 w 7034"/>
                    <a:gd name="T109" fmla="*/ 2532 h 2792"/>
                    <a:gd name="T110" fmla="*/ 416 w 7034"/>
                    <a:gd name="T111" fmla="*/ 2358 h 2792"/>
                    <a:gd name="T112" fmla="*/ 600 w 7034"/>
                    <a:gd name="T113" fmla="*/ 2218 h 2792"/>
                    <a:gd name="T114" fmla="*/ 796 w 7034"/>
                    <a:gd name="T115" fmla="*/ 2106 h 2792"/>
                    <a:gd name="T116" fmla="*/ 1000 w 7034"/>
                    <a:gd name="T117" fmla="*/ 2018 h 2792"/>
                    <a:gd name="T118" fmla="*/ 1214 w 7034"/>
                    <a:gd name="T119" fmla="*/ 1950 h 2792"/>
                    <a:gd name="T120" fmla="*/ 1438 w 7034"/>
                    <a:gd name="T121" fmla="*/ 1894 h 2792"/>
                    <a:gd name="T122" fmla="*/ 1832 w 7034"/>
                    <a:gd name="T123" fmla="*/ 1816 h 2792"/>
                    <a:gd name="T124" fmla="*/ 2336 w 7034"/>
                    <a:gd name="T125" fmla="*/ 1722 h 27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7034"/>
                    <a:gd name="T190" fmla="*/ 0 h 2792"/>
                    <a:gd name="T191" fmla="*/ 7034 w 7034"/>
                    <a:gd name="T192" fmla="*/ 2792 h 279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7034" h="2792">
                      <a:moveTo>
                        <a:pt x="2336" y="1722"/>
                      </a:moveTo>
                      <a:lnTo>
                        <a:pt x="2336" y="1722"/>
                      </a:lnTo>
                      <a:lnTo>
                        <a:pt x="2382" y="1714"/>
                      </a:lnTo>
                      <a:lnTo>
                        <a:pt x="2432" y="1708"/>
                      </a:lnTo>
                      <a:lnTo>
                        <a:pt x="2484" y="1704"/>
                      </a:lnTo>
                      <a:lnTo>
                        <a:pt x="2542" y="1702"/>
                      </a:lnTo>
                      <a:lnTo>
                        <a:pt x="2602" y="1700"/>
                      </a:lnTo>
                      <a:lnTo>
                        <a:pt x="2666" y="1702"/>
                      </a:lnTo>
                      <a:lnTo>
                        <a:pt x="2734" y="1704"/>
                      </a:lnTo>
                      <a:lnTo>
                        <a:pt x="2804" y="1708"/>
                      </a:lnTo>
                      <a:lnTo>
                        <a:pt x="2878" y="1714"/>
                      </a:lnTo>
                      <a:lnTo>
                        <a:pt x="2954" y="1722"/>
                      </a:lnTo>
                      <a:lnTo>
                        <a:pt x="3114" y="1740"/>
                      </a:lnTo>
                      <a:lnTo>
                        <a:pt x="3284" y="1764"/>
                      </a:lnTo>
                      <a:lnTo>
                        <a:pt x="3462" y="1794"/>
                      </a:lnTo>
                      <a:lnTo>
                        <a:pt x="3646" y="1826"/>
                      </a:lnTo>
                      <a:lnTo>
                        <a:pt x="3836" y="1862"/>
                      </a:lnTo>
                      <a:lnTo>
                        <a:pt x="4032" y="1902"/>
                      </a:lnTo>
                      <a:lnTo>
                        <a:pt x="4230" y="1946"/>
                      </a:lnTo>
                      <a:lnTo>
                        <a:pt x="4430" y="1992"/>
                      </a:lnTo>
                      <a:lnTo>
                        <a:pt x="4632" y="2038"/>
                      </a:lnTo>
                      <a:lnTo>
                        <a:pt x="4834" y="2088"/>
                      </a:lnTo>
                      <a:lnTo>
                        <a:pt x="5032" y="2138"/>
                      </a:lnTo>
                      <a:lnTo>
                        <a:pt x="5422" y="2238"/>
                      </a:lnTo>
                      <a:lnTo>
                        <a:pt x="5792" y="2338"/>
                      </a:lnTo>
                      <a:lnTo>
                        <a:pt x="6132" y="2432"/>
                      </a:lnTo>
                      <a:lnTo>
                        <a:pt x="6430" y="2518"/>
                      </a:lnTo>
                      <a:lnTo>
                        <a:pt x="6680" y="2590"/>
                      </a:lnTo>
                      <a:lnTo>
                        <a:pt x="6870" y="2648"/>
                      </a:lnTo>
                      <a:lnTo>
                        <a:pt x="7034" y="2696"/>
                      </a:lnTo>
                      <a:lnTo>
                        <a:pt x="6918" y="2616"/>
                      </a:lnTo>
                      <a:lnTo>
                        <a:pt x="6804" y="2538"/>
                      </a:lnTo>
                      <a:lnTo>
                        <a:pt x="6582" y="2390"/>
                      </a:lnTo>
                      <a:lnTo>
                        <a:pt x="6474" y="2316"/>
                      </a:lnTo>
                      <a:lnTo>
                        <a:pt x="6368" y="2242"/>
                      </a:lnTo>
                      <a:lnTo>
                        <a:pt x="6262" y="2168"/>
                      </a:lnTo>
                      <a:lnTo>
                        <a:pt x="6158" y="2088"/>
                      </a:lnTo>
                      <a:lnTo>
                        <a:pt x="6054" y="2006"/>
                      </a:lnTo>
                      <a:lnTo>
                        <a:pt x="5952" y="1918"/>
                      </a:lnTo>
                      <a:lnTo>
                        <a:pt x="5900" y="1872"/>
                      </a:lnTo>
                      <a:lnTo>
                        <a:pt x="5848" y="1824"/>
                      </a:lnTo>
                      <a:lnTo>
                        <a:pt x="5798" y="1774"/>
                      </a:lnTo>
                      <a:lnTo>
                        <a:pt x="5746" y="1722"/>
                      </a:lnTo>
                      <a:lnTo>
                        <a:pt x="5694" y="1668"/>
                      </a:lnTo>
                      <a:lnTo>
                        <a:pt x="5642" y="1612"/>
                      </a:lnTo>
                      <a:lnTo>
                        <a:pt x="5592" y="1554"/>
                      </a:lnTo>
                      <a:lnTo>
                        <a:pt x="5540" y="1494"/>
                      </a:lnTo>
                      <a:lnTo>
                        <a:pt x="5488" y="1430"/>
                      </a:lnTo>
                      <a:lnTo>
                        <a:pt x="5436" y="1364"/>
                      </a:lnTo>
                      <a:lnTo>
                        <a:pt x="5384" y="1294"/>
                      </a:lnTo>
                      <a:lnTo>
                        <a:pt x="5330" y="1222"/>
                      </a:lnTo>
                      <a:lnTo>
                        <a:pt x="5282" y="1166"/>
                      </a:lnTo>
                      <a:lnTo>
                        <a:pt x="5226" y="1104"/>
                      </a:lnTo>
                      <a:lnTo>
                        <a:pt x="5148" y="1022"/>
                      </a:lnTo>
                      <a:lnTo>
                        <a:pt x="5050" y="926"/>
                      </a:lnTo>
                      <a:lnTo>
                        <a:pt x="4996" y="874"/>
                      </a:lnTo>
                      <a:lnTo>
                        <a:pt x="4936" y="820"/>
                      </a:lnTo>
                      <a:lnTo>
                        <a:pt x="4872" y="762"/>
                      </a:lnTo>
                      <a:lnTo>
                        <a:pt x="4804" y="706"/>
                      </a:lnTo>
                      <a:lnTo>
                        <a:pt x="4734" y="646"/>
                      </a:lnTo>
                      <a:lnTo>
                        <a:pt x="4658" y="588"/>
                      </a:lnTo>
                      <a:lnTo>
                        <a:pt x="4580" y="530"/>
                      </a:lnTo>
                      <a:lnTo>
                        <a:pt x="4500" y="472"/>
                      </a:lnTo>
                      <a:lnTo>
                        <a:pt x="4416" y="414"/>
                      </a:lnTo>
                      <a:lnTo>
                        <a:pt x="4328" y="360"/>
                      </a:lnTo>
                      <a:lnTo>
                        <a:pt x="4238" y="306"/>
                      </a:lnTo>
                      <a:lnTo>
                        <a:pt x="4146" y="256"/>
                      </a:lnTo>
                      <a:lnTo>
                        <a:pt x="4052" y="210"/>
                      </a:lnTo>
                      <a:lnTo>
                        <a:pt x="3954" y="166"/>
                      </a:lnTo>
                      <a:lnTo>
                        <a:pt x="3856" y="126"/>
                      </a:lnTo>
                      <a:lnTo>
                        <a:pt x="3806" y="108"/>
                      </a:lnTo>
                      <a:lnTo>
                        <a:pt x="3756" y="90"/>
                      </a:lnTo>
                      <a:lnTo>
                        <a:pt x="3704" y="74"/>
                      </a:lnTo>
                      <a:lnTo>
                        <a:pt x="3652" y="60"/>
                      </a:lnTo>
                      <a:lnTo>
                        <a:pt x="3602" y="48"/>
                      </a:lnTo>
                      <a:lnTo>
                        <a:pt x="3550" y="36"/>
                      </a:lnTo>
                      <a:lnTo>
                        <a:pt x="3498" y="26"/>
                      </a:lnTo>
                      <a:lnTo>
                        <a:pt x="3444" y="18"/>
                      </a:lnTo>
                      <a:lnTo>
                        <a:pt x="3392" y="10"/>
                      </a:lnTo>
                      <a:lnTo>
                        <a:pt x="3338" y="4"/>
                      </a:lnTo>
                      <a:lnTo>
                        <a:pt x="3286" y="2"/>
                      </a:lnTo>
                      <a:lnTo>
                        <a:pt x="3232" y="0"/>
                      </a:lnTo>
                      <a:lnTo>
                        <a:pt x="3178" y="0"/>
                      </a:lnTo>
                      <a:lnTo>
                        <a:pt x="3124" y="2"/>
                      </a:lnTo>
                      <a:lnTo>
                        <a:pt x="3072" y="6"/>
                      </a:lnTo>
                      <a:lnTo>
                        <a:pt x="3020" y="10"/>
                      </a:lnTo>
                      <a:lnTo>
                        <a:pt x="2970" y="16"/>
                      </a:lnTo>
                      <a:lnTo>
                        <a:pt x="2920" y="24"/>
                      </a:lnTo>
                      <a:lnTo>
                        <a:pt x="2874" y="32"/>
                      </a:lnTo>
                      <a:lnTo>
                        <a:pt x="2828" y="42"/>
                      </a:lnTo>
                      <a:lnTo>
                        <a:pt x="2784" y="52"/>
                      </a:lnTo>
                      <a:lnTo>
                        <a:pt x="2740" y="64"/>
                      </a:lnTo>
                      <a:lnTo>
                        <a:pt x="2700" y="76"/>
                      </a:lnTo>
                      <a:lnTo>
                        <a:pt x="2660" y="90"/>
                      </a:lnTo>
                      <a:lnTo>
                        <a:pt x="2620" y="104"/>
                      </a:lnTo>
                      <a:lnTo>
                        <a:pt x="2582" y="120"/>
                      </a:lnTo>
                      <a:lnTo>
                        <a:pt x="2546" y="136"/>
                      </a:lnTo>
                      <a:lnTo>
                        <a:pt x="2510" y="154"/>
                      </a:lnTo>
                      <a:lnTo>
                        <a:pt x="2476" y="172"/>
                      </a:lnTo>
                      <a:lnTo>
                        <a:pt x="2442" y="192"/>
                      </a:lnTo>
                      <a:lnTo>
                        <a:pt x="2410" y="212"/>
                      </a:lnTo>
                      <a:lnTo>
                        <a:pt x="2378" y="232"/>
                      </a:lnTo>
                      <a:lnTo>
                        <a:pt x="2318" y="276"/>
                      </a:lnTo>
                      <a:lnTo>
                        <a:pt x="2262" y="322"/>
                      </a:lnTo>
                      <a:lnTo>
                        <a:pt x="2210" y="372"/>
                      </a:lnTo>
                      <a:lnTo>
                        <a:pt x="2160" y="424"/>
                      </a:lnTo>
                      <a:lnTo>
                        <a:pt x="2114" y="478"/>
                      </a:lnTo>
                      <a:lnTo>
                        <a:pt x="2068" y="534"/>
                      </a:lnTo>
                      <a:lnTo>
                        <a:pt x="2026" y="592"/>
                      </a:lnTo>
                      <a:lnTo>
                        <a:pt x="1986" y="652"/>
                      </a:lnTo>
                      <a:lnTo>
                        <a:pt x="1946" y="714"/>
                      </a:lnTo>
                      <a:lnTo>
                        <a:pt x="1910" y="776"/>
                      </a:lnTo>
                      <a:lnTo>
                        <a:pt x="1872" y="838"/>
                      </a:lnTo>
                      <a:lnTo>
                        <a:pt x="1802" y="966"/>
                      </a:lnTo>
                      <a:lnTo>
                        <a:pt x="1732" y="1096"/>
                      </a:lnTo>
                      <a:lnTo>
                        <a:pt x="1660" y="1226"/>
                      </a:lnTo>
                      <a:lnTo>
                        <a:pt x="1624" y="1290"/>
                      </a:lnTo>
                      <a:lnTo>
                        <a:pt x="1586" y="1354"/>
                      </a:lnTo>
                      <a:lnTo>
                        <a:pt x="1546" y="1416"/>
                      </a:lnTo>
                      <a:lnTo>
                        <a:pt x="1504" y="1478"/>
                      </a:lnTo>
                      <a:lnTo>
                        <a:pt x="1460" y="1538"/>
                      </a:lnTo>
                      <a:lnTo>
                        <a:pt x="1416" y="1596"/>
                      </a:lnTo>
                      <a:lnTo>
                        <a:pt x="1394" y="1616"/>
                      </a:lnTo>
                      <a:lnTo>
                        <a:pt x="1366" y="1640"/>
                      </a:lnTo>
                      <a:lnTo>
                        <a:pt x="1332" y="1666"/>
                      </a:lnTo>
                      <a:lnTo>
                        <a:pt x="1290" y="1692"/>
                      </a:lnTo>
                      <a:lnTo>
                        <a:pt x="1244" y="1720"/>
                      </a:lnTo>
                      <a:lnTo>
                        <a:pt x="1192" y="1752"/>
                      </a:lnTo>
                      <a:lnTo>
                        <a:pt x="1074" y="1816"/>
                      </a:lnTo>
                      <a:lnTo>
                        <a:pt x="806" y="1962"/>
                      </a:lnTo>
                      <a:lnTo>
                        <a:pt x="666" y="2040"/>
                      </a:lnTo>
                      <a:lnTo>
                        <a:pt x="526" y="2122"/>
                      </a:lnTo>
                      <a:lnTo>
                        <a:pt x="458" y="2164"/>
                      </a:lnTo>
                      <a:lnTo>
                        <a:pt x="394" y="2206"/>
                      </a:lnTo>
                      <a:lnTo>
                        <a:pt x="330" y="2248"/>
                      </a:lnTo>
                      <a:lnTo>
                        <a:pt x="272" y="2292"/>
                      </a:lnTo>
                      <a:lnTo>
                        <a:pt x="218" y="2334"/>
                      </a:lnTo>
                      <a:lnTo>
                        <a:pt x="168" y="2378"/>
                      </a:lnTo>
                      <a:lnTo>
                        <a:pt x="122" y="2420"/>
                      </a:lnTo>
                      <a:lnTo>
                        <a:pt x="84" y="2464"/>
                      </a:lnTo>
                      <a:lnTo>
                        <a:pt x="66" y="2486"/>
                      </a:lnTo>
                      <a:lnTo>
                        <a:pt x="52" y="2506"/>
                      </a:lnTo>
                      <a:lnTo>
                        <a:pt x="38" y="2528"/>
                      </a:lnTo>
                      <a:lnTo>
                        <a:pt x="26" y="2550"/>
                      </a:lnTo>
                      <a:lnTo>
                        <a:pt x="16" y="2570"/>
                      </a:lnTo>
                      <a:lnTo>
                        <a:pt x="10" y="2592"/>
                      </a:lnTo>
                      <a:lnTo>
                        <a:pt x="4" y="2612"/>
                      </a:lnTo>
                      <a:lnTo>
                        <a:pt x="0" y="2632"/>
                      </a:lnTo>
                      <a:lnTo>
                        <a:pt x="0" y="2654"/>
                      </a:lnTo>
                      <a:lnTo>
                        <a:pt x="0" y="2674"/>
                      </a:lnTo>
                      <a:lnTo>
                        <a:pt x="4" y="2694"/>
                      </a:lnTo>
                      <a:lnTo>
                        <a:pt x="10" y="2714"/>
                      </a:lnTo>
                      <a:lnTo>
                        <a:pt x="18" y="2734"/>
                      </a:lnTo>
                      <a:lnTo>
                        <a:pt x="30" y="2754"/>
                      </a:lnTo>
                      <a:lnTo>
                        <a:pt x="44" y="2774"/>
                      </a:lnTo>
                      <a:lnTo>
                        <a:pt x="60" y="2792"/>
                      </a:lnTo>
                      <a:lnTo>
                        <a:pt x="80" y="2746"/>
                      </a:lnTo>
                      <a:lnTo>
                        <a:pt x="134" y="2670"/>
                      </a:lnTo>
                      <a:lnTo>
                        <a:pt x="188" y="2600"/>
                      </a:lnTo>
                      <a:lnTo>
                        <a:pt x="242" y="2532"/>
                      </a:lnTo>
                      <a:lnTo>
                        <a:pt x="300" y="2470"/>
                      </a:lnTo>
                      <a:lnTo>
                        <a:pt x="358" y="2412"/>
                      </a:lnTo>
                      <a:lnTo>
                        <a:pt x="416" y="2358"/>
                      </a:lnTo>
                      <a:lnTo>
                        <a:pt x="476" y="2308"/>
                      </a:lnTo>
                      <a:lnTo>
                        <a:pt x="538" y="2262"/>
                      </a:lnTo>
                      <a:lnTo>
                        <a:pt x="600" y="2218"/>
                      </a:lnTo>
                      <a:lnTo>
                        <a:pt x="664" y="2178"/>
                      </a:lnTo>
                      <a:lnTo>
                        <a:pt x="730" y="2142"/>
                      </a:lnTo>
                      <a:lnTo>
                        <a:pt x="796" y="2106"/>
                      </a:lnTo>
                      <a:lnTo>
                        <a:pt x="862" y="2076"/>
                      </a:lnTo>
                      <a:lnTo>
                        <a:pt x="930" y="2046"/>
                      </a:lnTo>
                      <a:lnTo>
                        <a:pt x="1000" y="2018"/>
                      </a:lnTo>
                      <a:lnTo>
                        <a:pt x="1070" y="1994"/>
                      </a:lnTo>
                      <a:lnTo>
                        <a:pt x="1142" y="1970"/>
                      </a:lnTo>
                      <a:lnTo>
                        <a:pt x="1214" y="1950"/>
                      </a:lnTo>
                      <a:lnTo>
                        <a:pt x="1288" y="1930"/>
                      </a:lnTo>
                      <a:lnTo>
                        <a:pt x="1362" y="1910"/>
                      </a:lnTo>
                      <a:lnTo>
                        <a:pt x="1438" y="1894"/>
                      </a:lnTo>
                      <a:lnTo>
                        <a:pt x="1514" y="1876"/>
                      </a:lnTo>
                      <a:lnTo>
                        <a:pt x="1670" y="1846"/>
                      </a:lnTo>
                      <a:lnTo>
                        <a:pt x="1832" y="1816"/>
                      </a:lnTo>
                      <a:lnTo>
                        <a:pt x="1996" y="1786"/>
                      </a:lnTo>
                      <a:lnTo>
                        <a:pt x="2164" y="1756"/>
                      </a:lnTo>
                      <a:lnTo>
                        <a:pt x="2336" y="1722"/>
                      </a:lnTo>
                      <a:close/>
                    </a:path>
                  </a:pathLst>
                </a:custGeom>
                <a:gradFill rotWithShape="1">
                  <a:gsLst>
                    <a:gs pos="0">
                      <a:srgbClr val="92D050"/>
                    </a:gs>
                    <a:gs pos="50000">
                      <a:srgbClr val="92D050"/>
                    </a:gs>
                    <a:gs pos="100000">
                      <a:srgbClr val="00BD4F"/>
                    </a:gs>
                  </a:gsLst>
                  <a:lin ang="13500000" scaled="1"/>
                </a:grad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ndParaRPr>
                </a:p>
              </p:txBody>
            </p:sp>
          </p:grpSp>
          <p:sp>
            <p:nvSpPr>
              <p:cNvPr id="80" name="Freeform 20"/>
              <p:cNvSpPr>
                <a:spLocks/>
              </p:cNvSpPr>
              <p:nvPr/>
            </p:nvSpPr>
            <p:spPr bwMode="auto">
              <a:xfrm>
                <a:off x="-398494" y="3092529"/>
                <a:ext cx="9960881" cy="1141606"/>
              </a:xfrm>
              <a:custGeom>
                <a:avLst/>
                <a:gdLst>
                  <a:gd name="T0" fmla="*/ 2292 w 6888"/>
                  <a:gd name="T1" fmla="*/ 112 h 1108"/>
                  <a:gd name="T2" fmla="*/ 2376 w 6888"/>
                  <a:gd name="T3" fmla="*/ 106 h 1108"/>
                  <a:gd name="T4" fmla="*/ 2472 w 6888"/>
                  <a:gd name="T5" fmla="*/ 104 h 1108"/>
                  <a:gd name="T6" fmla="*/ 2694 w 6888"/>
                  <a:gd name="T7" fmla="*/ 114 h 1108"/>
                  <a:gd name="T8" fmla="*/ 2956 w 6888"/>
                  <a:gd name="T9" fmla="*/ 142 h 1108"/>
                  <a:gd name="T10" fmla="*/ 3246 w 6888"/>
                  <a:gd name="T11" fmla="*/ 184 h 1108"/>
                  <a:gd name="T12" fmla="*/ 3564 w 6888"/>
                  <a:gd name="T13" fmla="*/ 238 h 1108"/>
                  <a:gd name="T14" fmla="*/ 3898 w 6888"/>
                  <a:gd name="T15" fmla="*/ 302 h 1108"/>
                  <a:gd name="T16" fmla="*/ 4244 w 6888"/>
                  <a:gd name="T17" fmla="*/ 376 h 1108"/>
                  <a:gd name="T18" fmla="*/ 4944 w 6888"/>
                  <a:gd name="T19" fmla="*/ 536 h 1108"/>
                  <a:gd name="T20" fmla="*/ 5616 w 6888"/>
                  <a:gd name="T21" fmla="*/ 704 h 1108"/>
                  <a:gd name="T22" fmla="*/ 6206 w 6888"/>
                  <a:gd name="T23" fmla="*/ 862 h 1108"/>
                  <a:gd name="T24" fmla="*/ 6664 w 6888"/>
                  <a:gd name="T25" fmla="*/ 990 h 1108"/>
                  <a:gd name="T26" fmla="*/ 6826 w 6888"/>
                  <a:gd name="T27" fmla="*/ 1038 h 1108"/>
                  <a:gd name="T28" fmla="*/ 6888 w 6888"/>
                  <a:gd name="T29" fmla="*/ 1016 h 1108"/>
                  <a:gd name="T30" fmla="*/ 6744 w 6888"/>
                  <a:gd name="T31" fmla="*/ 918 h 1108"/>
                  <a:gd name="T32" fmla="*/ 6346 w 6888"/>
                  <a:gd name="T33" fmla="*/ 802 h 1108"/>
                  <a:gd name="T34" fmla="*/ 5808 w 6888"/>
                  <a:gd name="T35" fmla="*/ 656 h 1108"/>
                  <a:gd name="T36" fmla="*/ 5176 w 6888"/>
                  <a:gd name="T37" fmla="*/ 492 h 1108"/>
                  <a:gd name="T38" fmla="*/ 4498 w 6888"/>
                  <a:gd name="T39" fmla="*/ 328 h 1108"/>
                  <a:gd name="T40" fmla="*/ 3988 w 6888"/>
                  <a:gd name="T41" fmla="*/ 216 h 1108"/>
                  <a:gd name="T42" fmla="*/ 3658 w 6888"/>
                  <a:gd name="T43" fmla="*/ 150 h 1108"/>
                  <a:gd name="T44" fmla="*/ 3344 w 6888"/>
                  <a:gd name="T45" fmla="*/ 94 h 1108"/>
                  <a:gd name="T46" fmla="*/ 3050 w 6888"/>
                  <a:gd name="T47" fmla="*/ 50 h 1108"/>
                  <a:gd name="T48" fmla="*/ 2784 w 6888"/>
                  <a:gd name="T49" fmla="*/ 18 h 1108"/>
                  <a:gd name="T50" fmla="*/ 2550 w 6888"/>
                  <a:gd name="T51" fmla="*/ 2 h 1108"/>
                  <a:gd name="T52" fmla="*/ 2402 w 6888"/>
                  <a:gd name="T53" fmla="*/ 2 h 1108"/>
                  <a:gd name="T54" fmla="*/ 2314 w 6888"/>
                  <a:gd name="T55" fmla="*/ 8 h 1108"/>
                  <a:gd name="T56" fmla="*/ 2276 w 6888"/>
                  <a:gd name="T57" fmla="*/ 12 h 1108"/>
                  <a:gd name="T58" fmla="*/ 1774 w 6888"/>
                  <a:gd name="T59" fmla="*/ 86 h 1108"/>
                  <a:gd name="T60" fmla="*/ 1458 w 6888"/>
                  <a:gd name="T61" fmla="*/ 142 h 1108"/>
                  <a:gd name="T62" fmla="*/ 1306 w 6888"/>
                  <a:gd name="T63" fmla="*/ 176 h 1108"/>
                  <a:gd name="T64" fmla="*/ 1158 w 6888"/>
                  <a:gd name="T65" fmla="*/ 216 h 1108"/>
                  <a:gd name="T66" fmla="*/ 1014 w 6888"/>
                  <a:gd name="T67" fmla="*/ 262 h 1108"/>
                  <a:gd name="T68" fmla="*/ 874 w 6888"/>
                  <a:gd name="T69" fmla="*/ 318 h 1108"/>
                  <a:gd name="T70" fmla="*/ 738 w 6888"/>
                  <a:gd name="T71" fmla="*/ 382 h 1108"/>
                  <a:gd name="T72" fmla="*/ 606 w 6888"/>
                  <a:gd name="T73" fmla="*/ 458 h 1108"/>
                  <a:gd name="T74" fmla="*/ 480 w 6888"/>
                  <a:gd name="T75" fmla="*/ 544 h 1108"/>
                  <a:gd name="T76" fmla="*/ 358 w 6888"/>
                  <a:gd name="T77" fmla="*/ 644 h 1108"/>
                  <a:gd name="T78" fmla="*/ 240 w 6888"/>
                  <a:gd name="T79" fmla="*/ 758 h 1108"/>
                  <a:gd name="T80" fmla="*/ 128 w 6888"/>
                  <a:gd name="T81" fmla="*/ 890 h 1108"/>
                  <a:gd name="T82" fmla="*/ 20 w 6888"/>
                  <a:gd name="T83" fmla="*/ 1036 h 1108"/>
                  <a:gd name="T84" fmla="*/ 0 w 6888"/>
                  <a:gd name="T85" fmla="*/ 1084 h 1108"/>
                  <a:gd name="T86" fmla="*/ 26 w 6888"/>
                  <a:gd name="T87" fmla="*/ 1108 h 1108"/>
                  <a:gd name="T88" fmla="*/ 32 w 6888"/>
                  <a:gd name="T89" fmla="*/ 1104 h 1108"/>
                  <a:gd name="T90" fmla="*/ 108 w 6888"/>
                  <a:gd name="T91" fmla="*/ 1034 h 1108"/>
                  <a:gd name="T92" fmla="*/ 160 w 6888"/>
                  <a:gd name="T93" fmla="*/ 968 h 1108"/>
                  <a:gd name="T94" fmla="*/ 268 w 6888"/>
                  <a:gd name="T95" fmla="*/ 846 h 1108"/>
                  <a:gd name="T96" fmla="*/ 380 w 6888"/>
                  <a:gd name="T97" fmla="*/ 738 h 1108"/>
                  <a:gd name="T98" fmla="*/ 496 w 6888"/>
                  <a:gd name="T99" fmla="*/ 640 h 1108"/>
                  <a:gd name="T100" fmla="*/ 616 w 6888"/>
                  <a:gd name="T101" fmla="*/ 556 h 1108"/>
                  <a:gd name="T102" fmla="*/ 740 w 6888"/>
                  <a:gd name="T103" fmla="*/ 482 h 1108"/>
                  <a:gd name="T104" fmla="*/ 870 w 6888"/>
                  <a:gd name="T105" fmla="*/ 420 h 1108"/>
                  <a:gd name="T106" fmla="*/ 1002 w 6888"/>
                  <a:gd name="T107" fmla="*/ 364 h 1108"/>
                  <a:gd name="T108" fmla="*/ 1138 w 6888"/>
                  <a:gd name="T109" fmla="*/ 316 h 1108"/>
                  <a:gd name="T110" fmla="*/ 1278 w 6888"/>
                  <a:gd name="T111" fmla="*/ 276 h 1108"/>
                  <a:gd name="T112" fmla="*/ 1424 w 6888"/>
                  <a:gd name="T113" fmla="*/ 242 h 1108"/>
                  <a:gd name="T114" fmla="*/ 1648 w 6888"/>
                  <a:gd name="T115" fmla="*/ 198 h 1108"/>
                  <a:gd name="T116" fmla="*/ 1962 w 6888"/>
                  <a:gd name="T117" fmla="*/ 152 h 1108"/>
                  <a:gd name="T118" fmla="*/ 2292 w 6888"/>
                  <a:gd name="T119" fmla="*/ 112 h 110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6888"/>
                  <a:gd name="T181" fmla="*/ 0 h 1108"/>
                  <a:gd name="T182" fmla="*/ 6888 w 6888"/>
                  <a:gd name="T183" fmla="*/ 1108 h 110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6888" h="1108">
                    <a:moveTo>
                      <a:pt x="2292" y="112"/>
                    </a:moveTo>
                    <a:lnTo>
                      <a:pt x="2292" y="112"/>
                    </a:lnTo>
                    <a:lnTo>
                      <a:pt x="2332" y="108"/>
                    </a:lnTo>
                    <a:lnTo>
                      <a:pt x="2376" y="106"/>
                    </a:lnTo>
                    <a:lnTo>
                      <a:pt x="2422" y="104"/>
                    </a:lnTo>
                    <a:lnTo>
                      <a:pt x="2472" y="104"/>
                    </a:lnTo>
                    <a:lnTo>
                      <a:pt x="2578" y="106"/>
                    </a:lnTo>
                    <a:lnTo>
                      <a:pt x="2694" y="114"/>
                    </a:lnTo>
                    <a:lnTo>
                      <a:pt x="2820" y="126"/>
                    </a:lnTo>
                    <a:lnTo>
                      <a:pt x="2956" y="142"/>
                    </a:lnTo>
                    <a:lnTo>
                      <a:pt x="3098" y="160"/>
                    </a:lnTo>
                    <a:lnTo>
                      <a:pt x="3246" y="184"/>
                    </a:lnTo>
                    <a:lnTo>
                      <a:pt x="3402" y="210"/>
                    </a:lnTo>
                    <a:lnTo>
                      <a:pt x="3564" y="238"/>
                    </a:lnTo>
                    <a:lnTo>
                      <a:pt x="3728" y="270"/>
                    </a:lnTo>
                    <a:lnTo>
                      <a:pt x="3898" y="302"/>
                    </a:lnTo>
                    <a:lnTo>
                      <a:pt x="4070" y="338"/>
                    </a:lnTo>
                    <a:lnTo>
                      <a:pt x="4244" y="376"/>
                    </a:lnTo>
                    <a:lnTo>
                      <a:pt x="4594" y="454"/>
                    </a:lnTo>
                    <a:lnTo>
                      <a:pt x="4944" y="536"/>
                    </a:lnTo>
                    <a:lnTo>
                      <a:pt x="5288" y="622"/>
                    </a:lnTo>
                    <a:lnTo>
                      <a:pt x="5616" y="704"/>
                    </a:lnTo>
                    <a:lnTo>
                      <a:pt x="5924" y="786"/>
                    </a:lnTo>
                    <a:lnTo>
                      <a:pt x="6206" y="862"/>
                    </a:lnTo>
                    <a:lnTo>
                      <a:pt x="6454" y="930"/>
                    </a:lnTo>
                    <a:lnTo>
                      <a:pt x="6664" y="990"/>
                    </a:lnTo>
                    <a:lnTo>
                      <a:pt x="6826" y="1038"/>
                    </a:lnTo>
                    <a:lnTo>
                      <a:pt x="6888" y="1016"/>
                    </a:lnTo>
                    <a:lnTo>
                      <a:pt x="6744" y="918"/>
                    </a:lnTo>
                    <a:lnTo>
                      <a:pt x="6566" y="866"/>
                    </a:lnTo>
                    <a:lnTo>
                      <a:pt x="6346" y="802"/>
                    </a:lnTo>
                    <a:lnTo>
                      <a:pt x="6092" y="732"/>
                    </a:lnTo>
                    <a:lnTo>
                      <a:pt x="5808" y="656"/>
                    </a:lnTo>
                    <a:lnTo>
                      <a:pt x="5500" y="574"/>
                    </a:lnTo>
                    <a:lnTo>
                      <a:pt x="5176" y="492"/>
                    </a:lnTo>
                    <a:lnTo>
                      <a:pt x="4840" y="410"/>
                    </a:lnTo>
                    <a:lnTo>
                      <a:pt x="4498" y="328"/>
                    </a:lnTo>
                    <a:lnTo>
                      <a:pt x="4156" y="252"/>
                    </a:lnTo>
                    <a:lnTo>
                      <a:pt x="3988" y="216"/>
                    </a:lnTo>
                    <a:lnTo>
                      <a:pt x="3822" y="182"/>
                    </a:lnTo>
                    <a:lnTo>
                      <a:pt x="3658" y="150"/>
                    </a:lnTo>
                    <a:lnTo>
                      <a:pt x="3498" y="122"/>
                    </a:lnTo>
                    <a:lnTo>
                      <a:pt x="3344" y="94"/>
                    </a:lnTo>
                    <a:lnTo>
                      <a:pt x="3194" y="70"/>
                    </a:lnTo>
                    <a:lnTo>
                      <a:pt x="3050" y="50"/>
                    </a:lnTo>
                    <a:lnTo>
                      <a:pt x="2914" y="32"/>
                    </a:lnTo>
                    <a:lnTo>
                      <a:pt x="2784" y="18"/>
                    </a:lnTo>
                    <a:lnTo>
                      <a:pt x="2662" y="8"/>
                    </a:lnTo>
                    <a:lnTo>
                      <a:pt x="2550" y="2"/>
                    </a:lnTo>
                    <a:lnTo>
                      <a:pt x="2448" y="0"/>
                    </a:lnTo>
                    <a:lnTo>
                      <a:pt x="2402" y="2"/>
                    </a:lnTo>
                    <a:lnTo>
                      <a:pt x="2356" y="4"/>
                    </a:lnTo>
                    <a:lnTo>
                      <a:pt x="2314" y="8"/>
                    </a:lnTo>
                    <a:lnTo>
                      <a:pt x="2276" y="12"/>
                    </a:lnTo>
                    <a:lnTo>
                      <a:pt x="1938" y="60"/>
                    </a:lnTo>
                    <a:lnTo>
                      <a:pt x="1774" y="86"/>
                    </a:lnTo>
                    <a:lnTo>
                      <a:pt x="1614" y="112"/>
                    </a:lnTo>
                    <a:lnTo>
                      <a:pt x="1458" y="142"/>
                    </a:lnTo>
                    <a:lnTo>
                      <a:pt x="1382" y="158"/>
                    </a:lnTo>
                    <a:lnTo>
                      <a:pt x="1306" y="176"/>
                    </a:lnTo>
                    <a:lnTo>
                      <a:pt x="1232" y="194"/>
                    </a:lnTo>
                    <a:lnTo>
                      <a:pt x="1158" y="216"/>
                    </a:lnTo>
                    <a:lnTo>
                      <a:pt x="1086" y="238"/>
                    </a:lnTo>
                    <a:lnTo>
                      <a:pt x="1014" y="262"/>
                    </a:lnTo>
                    <a:lnTo>
                      <a:pt x="942" y="288"/>
                    </a:lnTo>
                    <a:lnTo>
                      <a:pt x="874" y="318"/>
                    </a:lnTo>
                    <a:lnTo>
                      <a:pt x="804" y="348"/>
                    </a:lnTo>
                    <a:lnTo>
                      <a:pt x="738" y="382"/>
                    </a:lnTo>
                    <a:lnTo>
                      <a:pt x="672" y="418"/>
                    </a:lnTo>
                    <a:lnTo>
                      <a:pt x="606" y="458"/>
                    </a:lnTo>
                    <a:lnTo>
                      <a:pt x="542" y="500"/>
                    </a:lnTo>
                    <a:lnTo>
                      <a:pt x="480" y="544"/>
                    </a:lnTo>
                    <a:lnTo>
                      <a:pt x="418" y="592"/>
                    </a:lnTo>
                    <a:lnTo>
                      <a:pt x="358" y="644"/>
                    </a:lnTo>
                    <a:lnTo>
                      <a:pt x="298" y="700"/>
                    </a:lnTo>
                    <a:lnTo>
                      <a:pt x="240" y="758"/>
                    </a:lnTo>
                    <a:lnTo>
                      <a:pt x="184" y="822"/>
                    </a:lnTo>
                    <a:lnTo>
                      <a:pt x="128" y="890"/>
                    </a:lnTo>
                    <a:lnTo>
                      <a:pt x="74" y="960"/>
                    </a:lnTo>
                    <a:lnTo>
                      <a:pt x="20" y="1036"/>
                    </a:lnTo>
                    <a:lnTo>
                      <a:pt x="0" y="1084"/>
                    </a:lnTo>
                    <a:lnTo>
                      <a:pt x="26" y="1108"/>
                    </a:lnTo>
                    <a:lnTo>
                      <a:pt x="28" y="1106"/>
                    </a:lnTo>
                    <a:lnTo>
                      <a:pt x="32" y="1104"/>
                    </a:lnTo>
                    <a:lnTo>
                      <a:pt x="50" y="1090"/>
                    </a:lnTo>
                    <a:lnTo>
                      <a:pt x="108" y="1034"/>
                    </a:lnTo>
                    <a:lnTo>
                      <a:pt x="160" y="968"/>
                    </a:lnTo>
                    <a:lnTo>
                      <a:pt x="214" y="906"/>
                    </a:lnTo>
                    <a:lnTo>
                      <a:pt x="268" y="846"/>
                    </a:lnTo>
                    <a:lnTo>
                      <a:pt x="324" y="790"/>
                    </a:lnTo>
                    <a:lnTo>
                      <a:pt x="380" y="738"/>
                    </a:lnTo>
                    <a:lnTo>
                      <a:pt x="438" y="688"/>
                    </a:lnTo>
                    <a:lnTo>
                      <a:pt x="496" y="640"/>
                    </a:lnTo>
                    <a:lnTo>
                      <a:pt x="556" y="598"/>
                    </a:lnTo>
                    <a:lnTo>
                      <a:pt x="616" y="556"/>
                    </a:lnTo>
                    <a:lnTo>
                      <a:pt x="678" y="518"/>
                    </a:lnTo>
                    <a:lnTo>
                      <a:pt x="740" y="482"/>
                    </a:lnTo>
                    <a:lnTo>
                      <a:pt x="804" y="450"/>
                    </a:lnTo>
                    <a:lnTo>
                      <a:pt x="870" y="420"/>
                    </a:lnTo>
                    <a:lnTo>
                      <a:pt x="934" y="390"/>
                    </a:lnTo>
                    <a:lnTo>
                      <a:pt x="1002" y="364"/>
                    </a:lnTo>
                    <a:lnTo>
                      <a:pt x="1070" y="340"/>
                    </a:lnTo>
                    <a:lnTo>
                      <a:pt x="1138" y="316"/>
                    </a:lnTo>
                    <a:lnTo>
                      <a:pt x="1208" y="296"/>
                    </a:lnTo>
                    <a:lnTo>
                      <a:pt x="1278" y="276"/>
                    </a:lnTo>
                    <a:lnTo>
                      <a:pt x="1350" y="258"/>
                    </a:lnTo>
                    <a:lnTo>
                      <a:pt x="1424" y="242"/>
                    </a:lnTo>
                    <a:lnTo>
                      <a:pt x="1498" y="226"/>
                    </a:lnTo>
                    <a:lnTo>
                      <a:pt x="1648" y="198"/>
                    </a:lnTo>
                    <a:lnTo>
                      <a:pt x="1804" y="174"/>
                    </a:lnTo>
                    <a:lnTo>
                      <a:pt x="1962" y="152"/>
                    </a:lnTo>
                    <a:lnTo>
                      <a:pt x="2126" y="132"/>
                    </a:lnTo>
                    <a:lnTo>
                      <a:pt x="2292" y="112"/>
                    </a:lnTo>
                    <a:close/>
                  </a:path>
                </a:pathLst>
              </a:custGeom>
              <a:gradFill rotWithShape="1">
                <a:gsLst>
                  <a:gs pos="0">
                    <a:srgbClr val="006D2A"/>
                  </a:gs>
                  <a:gs pos="92999">
                    <a:srgbClr val="008E39"/>
                  </a:gs>
                  <a:gs pos="100000">
                    <a:srgbClr val="007432"/>
                  </a:gs>
                </a:gsLst>
                <a:lin ang="13500000" scaled="1"/>
              </a:grad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ndParaRPr>
              </a:p>
            </p:txBody>
          </p:sp>
        </p:grpSp>
      </p:grpSp>
      <p:sp>
        <p:nvSpPr>
          <p:cNvPr id="106" name="Rektangel 14"/>
          <p:cNvSpPr/>
          <p:nvPr/>
        </p:nvSpPr>
        <p:spPr bwMode="auto">
          <a:xfrm>
            <a:off x="6215801" y="4035398"/>
            <a:ext cx="1977579" cy="830997"/>
          </a:xfrm>
          <a:prstGeom prst="rect">
            <a:avLst/>
          </a:prstGeom>
        </p:spPr>
        <p:txBody>
          <a:bodyPr wrap="square">
            <a:spAutoFit/>
          </a:bodyPr>
          <a:lstStyle/>
          <a:p>
            <a:pPr algn="ctr" fontAlgn="auto">
              <a:spcBef>
                <a:spcPts val="0"/>
              </a:spcBef>
              <a:spcAft>
                <a:spcPts val="0"/>
              </a:spcAft>
              <a:defRPr/>
            </a:pPr>
            <a:r>
              <a:rPr lang="tr-TR" sz="2400" b="1" kern="0" noProof="1" smtClean="0">
                <a:solidFill>
                  <a:schemeClr val="bg1"/>
                </a:solidFill>
                <a:latin typeface="Calibri" pitchFamily="34" charset="0"/>
                <a:cs typeface="Arial" charset="0"/>
              </a:rPr>
              <a:t>Özel Entegrasyon</a:t>
            </a:r>
            <a:endParaRPr lang="da-DK" sz="2800" kern="0" dirty="0">
              <a:solidFill>
                <a:schemeClr val="bg1"/>
              </a:solidFill>
              <a:latin typeface="Arial" pitchFamily="34" charset="0"/>
            </a:endParaRPr>
          </a:p>
        </p:txBody>
      </p:sp>
      <p:sp>
        <p:nvSpPr>
          <p:cNvPr id="17" name="Rektangel 16"/>
          <p:cNvSpPr/>
          <p:nvPr/>
        </p:nvSpPr>
        <p:spPr bwMode="auto">
          <a:xfrm>
            <a:off x="765747" y="3861048"/>
            <a:ext cx="1764642" cy="830997"/>
          </a:xfrm>
          <a:prstGeom prst="rect">
            <a:avLst/>
          </a:prstGeom>
        </p:spPr>
        <p:txBody>
          <a:bodyPr wrap="square">
            <a:spAutoFit/>
          </a:bodyPr>
          <a:lstStyle/>
          <a:p>
            <a:pPr fontAlgn="auto">
              <a:spcBef>
                <a:spcPts val="0"/>
              </a:spcBef>
              <a:spcAft>
                <a:spcPts val="0"/>
              </a:spcAft>
              <a:defRPr/>
            </a:pPr>
            <a:r>
              <a:rPr lang="tr-TR" sz="2400" b="1" kern="0" noProof="1" smtClean="0">
                <a:solidFill>
                  <a:schemeClr val="tx2">
                    <a:lumMod val="50000"/>
                  </a:schemeClr>
                </a:solidFill>
                <a:latin typeface="Calibri" pitchFamily="34" charset="0"/>
                <a:cs typeface="Arial" charset="0"/>
              </a:rPr>
              <a:t>e – Fatura Portal</a:t>
            </a:r>
            <a:endParaRPr lang="da-DK" sz="3200" kern="0" dirty="0">
              <a:solidFill>
                <a:schemeClr val="tx2">
                  <a:lumMod val="50000"/>
                </a:schemeClr>
              </a:solidFill>
              <a:latin typeface="Arial" pitchFamily="34" charset="0"/>
            </a:endParaRPr>
          </a:p>
        </p:txBody>
      </p:sp>
      <p:pic>
        <p:nvPicPr>
          <p:cNvPr id="110" name="Picture 2"/>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9067" t="9932" r="11889" b="16671"/>
          <a:stretch/>
        </p:blipFill>
        <p:spPr bwMode="auto">
          <a:xfrm rot="20097013">
            <a:off x="233224" y="4971484"/>
            <a:ext cx="1755508" cy="136232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1" name="Rektangel 14"/>
          <p:cNvSpPr/>
          <p:nvPr/>
        </p:nvSpPr>
        <p:spPr bwMode="auto">
          <a:xfrm>
            <a:off x="161872" y="260647"/>
            <a:ext cx="2897960" cy="461665"/>
          </a:xfrm>
          <a:prstGeom prst="rect">
            <a:avLst/>
          </a:prstGeom>
        </p:spPr>
        <p:txBody>
          <a:bodyPr wrap="square">
            <a:spAutoFit/>
          </a:bodyPr>
          <a:lstStyle/>
          <a:p>
            <a:pPr algn="ctr" fontAlgn="auto">
              <a:spcBef>
                <a:spcPts val="0"/>
              </a:spcBef>
              <a:spcAft>
                <a:spcPts val="0"/>
              </a:spcAft>
              <a:defRPr/>
            </a:pPr>
            <a:r>
              <a:rPr lang="tr-TR" sz="2400" b="1" kern="0" noProof="1" smtClean="0">
                <a:solidFill>
                  <a:schemeClr val="tx2">
                    <a:lumMod val="50000"/>
                  </a:schemeClr>
                </a:solidFill>
                <a:latin typeface="Calibri" pitchFamily="34" charset="0"/>
                <a:cs typeface="Arial" charset="0"/>
              </a:rPr>
              <a:t>Özel Entegrasyon</a:t>
            </a:r>
            <a:endParaRPr lang="da-DK" sz="2800" kern="0" dirty="0">
              <a:solidFill>
                <a:schemeClr val="tx2">
                  <a:lumMod val="50000"/>
                </a:schemeClr>
              </a:solidFill>
              <a:latin typeface="Arial" pitchFamily="34" charset="0"/>
            </a:endParaRPr>
          </a:p>
        </p:txBody>
      </p:sp>
      <p:sp>
        <p:nvSpPr>
          <p:cNvPr id="74" name="Dikdörtgen 73"/>
          <p:cNvSpPr/>
          <p:nvPr/>
        </p:nvSpPr>
        <p:spPr>
          <a:xfrm>
            <a:off x="953851" y="836712"/>
            <a:ext cx="6087877" cy="400110"/>
          </a:xfrm>
          <a:prstGeom prst="rect">
            <a:avLst/>
          </a:prstGeom>
        </p:spPr>
        <p:txBody>
          <a:bodyPr wrap="square">
            <a:spAutoFit/>
          </a:bodyPr>
          <a:lstStyle/>
          <a:p>
            <a:pPr marL="342900" lvl="0" indent="-342900">
              <a:buFont typeface="Arial" pitchFamily="34" charset="0"/>
              <a:buChar char="•"/>
              <a:defRPr/>
            </a:pPr>
            <a:endParaRPr lang="tr-TR" sz="2000" kern="0" dirty="0">
              <a:solidFill>
                <a:prstClr val="black"/>
              </a:solidFill>
            </a:endParaRPr>
          </a:p>
        </p:txBody>
      </p:sp>
      <p:grpSp>
        <p:nvGrpSpPr>
          <p:cNvPr id="2" name="Grup 1"/>
          <p:cNvGrpSpPr/>
          <p:nvPr/>
        </p:nvGrpSpPr>
        <p:grpSpPr>
          <a:xfrm>
            <a:off x="820340" y="722311"/>
            <a:ext cx="7032652" cy="2506648"/>
            <a:chOff x="820340" y="722311"/>
            <a:chExt cx="7032652" cy="2506648"/>
          </a:xfrm>
        </p:grpSpPr>
        <p:grpSp>
          <p:nvGrpSpPr>
            <p:cNvPr id="98" name="Grup 97"/>
            <p:cNvGrpSpPr/>
            <p:nvPr/>
          </p:nvGrpSpPr>
          <p:grpSpPr>
            <a:xfrm>
              <a:off x="820340" y="722311"/>
              <a:ext cx="7032652" cy="2506648"/>
              <a:chOff x="809228" y="506122"/>
              <a:chExt cx="6621472" cy="1986608"/>
            </a:xfrm>
          </p:grpSpPr>
          <p:sp>
            <p:nvSpPr>
              <p:cNvPr id="99" name="Rounded Rectangle 4"/>
              <p:cNvSpPr>
                <a:spLocks noChangeArrowheads="1"/>
              </p:cNvSpPr>
              <p:nvPr/>
            </p:nvSpPr>
            <p:spPr bwMode="auto">
              <a:xfrm>
                <a:off x="809228" y="506122"/>
                <a:ext cx="6621472" cy="1986608"/>
              </a:xfrm>
              <a:prstGeom prst="roundRect">
                <a:avLst>
                  <a:gd name="adj" fmla="val 9843"/>
                </a:avLst>
              </a:prstGeom>
              <a:solidFill>
                <a:srgbClr val="FFFFFF"/>
              </a:solidFill>
              <a:ln w="6350">
                <a:solidFill>
                  <a:srgbClr val="D9D9D9"/>
                </a:solidFill>
                <a:round/>
                <a:headEnd/>
                <a:tailEnd/>
              </a:ln>
            </p:spPr>
            <p:txBody>
              <a:bodyPr anchor="ctr"/>
              <a:lstStyle/>
              <a:p>
                <a:pPr algn="ctr" defTabSz="457200" eaLnBrk="1" hangingPunct="1"/>
                <a:endParaRPr lang="tr-TR">
                  <a:solidFill>
                    <a:srgbClr val="FFFFFF"/>
                  </a:solidFill>
                </a:endParaRPr>
              </a:p>
            </p:txBody>
          </p:sp>
          <p:sp>
            <p:nvSpPr>
              <p:cNvPr id="100" name="Dikdörtgen 99"/>
              <p:cNvSpPr/>
              <p:nvPr/>
            </p:nvSpPr>
            <p:spPr>
              <a:xfrm>
                <a:off x="942738" y="620522"/>
                <a:ext cx="6354453" cy="1015663"/>
              </a:xfrm>
              <a:prstGeom prst="rect">
                <a:avLst/>
              </a:prstGeom>
            </p:spPr>
            <p:txBody>
              <a:bodyPr wrap="square">
                <a:spAutoFit/>
              </a:bodyPr>
              <a:lstStyle/>
              <a:p>
                <a:pPr marL="285750" indent="-285750">
                  <a:buFont typeface="Arial" pitchFamily="34" charset="0"/>
                  <a:buChar char="•"/>
                </a:pPr>
                <a:r>
                  <a:rPr lang="tr-TR" sz="2000" kern="0" dirty="0">
                    <a:solidFill>
                      <a:prstClr val="black"/>
                    </a:solidFill>
                  </a:rPr>
                  <a:t>Başkanlıktan onay almış 3.taraflar(özel </a:t>
                </a:r>
                <a:r>
                  <a:rPr lang="tr-TR" sz="2000" kern="0" dirty="0" err="1">
                    <a:solidFill>
                      <a:prstClr val="black"/>
                    </a:solidFill>
                  </a:rPr>
                  <a:t>entegratörler</a:t>
                </a:r>
                <a:r>
                  <a:rPr lang="tr-TR" sz="2000" kern="0" dirty="0">
                    <a:solidFill>
                      <a:prstClr val="black"/>
                    </a:solidFill>
                  </a:rPr>
                  <a:t>) </a:t>
                </a:r>
              </a:p>
              <a:p>
                <a:pPr marL="285750" indent="-285750">
                  <a:buFont typeface="Arial" pitchFamily="34" charset="0"/>
                  <a:buChar char="•"/>
                </a:pPr>
                <a:r>
                  <a:rPr lang="tr-TR" sz="2000" kern="0" dirty="0">
                    <a:solidFill>
                      <a:prstClr val="black"/>
                    </a:solidFill>
                  </a:rPr>
                  <a:t>Özel </a:t>
                </a:r>
                <a:r>
                  <a:rPr lang="tr-TR" sz="2000" kern="0" dirty="0" err="1">
                    <a:solidFill>
                      <a:prstClr val="black"/>
                    </a:solidFill>
                  </a:rPr>
                  <a:t>entegratörler</a:t>
                </a:r>
                <a:r>
                  <a:rPr lang="tr-TR" sz="2000" kern="0" dirty="0">
                    <a:solidFill>
                      <a:prstClr val="black"/>
                    </a:solidFill>
                  </a:rPr>
                  <a:t> aracılığıyla fatura değişimi yapılabilecektir.</a:t>
                </a:r>
              </a:p>
            </p:txBody>
          </p:sp>
        </p:grpSp>
        <p:grpSp>
          <p:nvGrpSpPr>
            <p:cNvPr id="102" name="Grup 101"/>
            <p:cNvGrpSpPr/>
            <p:nvPr/>
          </p:nvGrpSpPr>
          <p:grpSpPr>
            <a:xfrm>
              <a:off x="2015876" y="1933498"/>
              <a:ext cx="4353715" cy="1105459"/>
              <a:chOff x="2094240" y="3939723"/>
              <a:chExt cx="5362575" cy="1676400"/>
            </a:xfrm>
          </p:grpSpPr>
          <p:pic>
            <p:nvPicPr>
              <p:cNvPr id="107"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94240" y="3939723"/>
                <a:ext cx="5362575" cy="16764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8" name="Metin kutusu 107"/>
              <p:cNvSpPr txBox="1"/>
              <p:nvPr/>
            </p:nvSpPr>
            <p:spPr>
              <a:xfrm>
                <a:off x="2771800" y="4885753"/>
                <a:ext cx="1368152" cy="430887"/>
              </a:xfrm>
              <a:prstGeom prst="rect">
                <a:avLst/>
              </a:prstGeom>
              <a:noFill/>
            </p:spPr>
            <p:txBody>
              <a:bodyPr wrap="square" rtlCol="0">
                <a:spAutoFit/>
              </a:bodyPr>
              <a:lstStyle/>
              <a:p>
                <a:pPr algn="ctr"/>
                <a:r>
                  <a:rPr lang="tr-TR" sz="1100" b="1" dirty="0" smtClean="0"/>
                  <a:t>Özel </a:t>
                </a:r>
              </a:p>
              <a:p>
                <a:pPr algn="ctr"/>
                <a:r>
                  <a:rPr lang="tr-TR" sz="1100" b="1" dirty="0" smtClean="0"/>
                  <a:t>Entegratör</a:t>
                </a:r>
                <a:endParaRPr lang="tr-TR" sz="1100" b="1" dirty="0"/>
              </a:p>
            </p:txBody>
          </p:sp>
          <p:sp>
            <p:nvSpPr>
              <p:cNvPr id="109" name="Metin kutusu 108"/>
              <p:cNvSpPr txBox="1"/>
              <p:nvPr/>
            </p:nvSpPr>
            <p:spPr>
              <a:xfrm>
                <a:off x="5364088" y="4918141"/>
                <a:ext cx="1368152" cy="430887"/>
              </a:xfrm>
              <a:prstGeom prst="rect">
                <a:avLst/>
              </a:prstGeom>
              <a:noFill/>
            </p:spPr>
            <p:txBody>
              <a:bodyPr wrap="square" rtlCol="0">
                <a:spAutoFit/>
              </a:bodyPr>
              <a:lstStyle/>
              <a:p>
                <a:pPr algn="ctr"/>
                <a:r>
                  <a:rPr lang="tr-TR" sz="1100" b="1" dirty="0" smtClean="0"/>
                  <a:t>Özel </a:t>
                </a:r>
              </a:p>
              <a:p>
                <a:pPr algn="ctr"/>
                <a:r>
                  <a:rPr lang="tr-TR" sz="1100" b="1" dirty="0" smtClean="0"/>
                  <a:t>Entegratör</a:t>
                </a:r>
                <a:endParaRPr lang="tr-TR" sz="1100" b="1" dirty="0"/>
              </a:p>
            </p:txBody>
          </p:sp>
        </p:grpSp>
      </p:grpSp>
      <p:grpSp>
        <p:nvGrpSpPr>
          <p:cNvPr id="101" name="Gruppe 408"/>
          <p:cNvGrpSpPr>
            <a:grpSpLocks/>
          </p:cNvGrpSpPr>
          <p:nvPr/>
        </p:nvGrpSpPr>
        <p:grpSpPr bwMode="auto">
          <a:xfrm>
            <a:off x="2553195" y="3861048"/>
            <a:ext cx="1334295" cy="1054599"/>
            <a:chOff x="3584575" y="3621705"/>
            <a:chExt cx="1966913" cy="2061545"/>
          </a:xfrm>
        </p:grpSpPr>
        <p:grpSp>
          <p:nvGrpSpPr>
            <p:cNvPr id="103" name="Gruppe 530"/>
            <p:cNvGrpSpPr>
              <a:grpSpLocks/>
            </p:cNvGrpSpPr>
            <p:nvPr/>
          </p:nvGrpSpPr>
          <p:grpSpPr bwMode="auto">
            <a:xfrm>
              <a:off x="3738563" y="3621705"/>
              <a:ext cx="1521618" cy="1519240"/>
              <a:chOff x="4018280" y="2291865"/>
              <a:chExt cx="1013460" cy="1013462"/>
            </a:xfrm>
          </p:grpSpPr>
          <p:sp>
            <p:nvSpPr>
              <p:cNvPr id="105" name="Ellipse 235"/>
              <p:cNvSpPr/>
              <p:nvPr/>
            </p:nvSpPr>
            <p:spPr>
              <a:xfrm>
                <a:off x="4018280" y="2291865"/>
                <a:ext cx="1013460" cy="1013462"/>
              </a:xfrm>
              <a:prstGeom prst="ellipse">
                <a:avLst/>
              </a:prstGeom>
              <a:solidFill>
                <a:schemeClr val="bg1">
                  <a:lumMod val="85000"/>
                </a:schemeClr>
              </a:solidFill>
              <a:ln w="9525" cap="flat" cmpd="sng" algn="ctr">
                <a:noFill/>
                <a:prstDash val="solid"/>
              </a:ln>
              <a:effectLst/>
            </p:spPr>
            <p:txBody>
              <a:bodyPr anchor="ctr"/>
              <a:lstStyle/>
              <a:p>
                <a:pPr algn="ctr" fontAlgn="auto">
                  <a:spcBef>
                    <a:spcPts val="0"/>
                  </a:spcBef>
                  <a:spcAft>
                    <a:spcPts val="0"/>
                  </a:spcAft>
                  <a:defRPr/>
                </a:pPr>
                <a:endParaRPr lang="da-DK" kern="0" dirty="0">
                  <a:solidFill>
                    <a:sysClr val="window" lastClr="FFFFFF"/>
                  </a:solidFill>
                  <a:latin typeface="Calibri"/>
                  <a:ea typeface="ＭＳ Ｐゴシック" pitchFamily="-97" charset="-128"/>
                  <a:cs typeface="+mn-cs"/>
                </a:endParaRPr>
              </a:p>
            </p:txBody>
          </p:sp>
          <p:grpSp>
            <p:nvGrpSpPr>
              <p:cNvPr id="111" name="Gruppe 352"/>
              <p:cNvGrpSpPr>
                <a:grpSpLocks/>
              </p:cNvGrpSpPr>
              <p:nvPr/>
            </p:nvGrpSpPr>
            <p:grpSpPr bwMode="auto">
              <a:xfrm>
                <a:off x="4244617" y="2571374"/>
                <a:ext cx="525503" cy="640456"/>
                <a:chOff x="4768533" y="2411730"/>
                <a:chExt cx="406400" cy="495300"/>
              </a:xfrm>
            </p:grpSpPr>
            <p:sp>
              <p:nvSpPr>
                <p:cNvPr id="113" name="Freeform 21"/>
                <p:cNvSpPr>
                  <a:spLocks noEditPoints="1"/>
                </p:cNvSpPr>
                <p:nvPr/>
              </p:nvSpPr>
              <p:spPr bwMode="auto">
                <a:xfrm>
                  <a:off x="4768533" y="2411730"/>
                  <a:ext cx="276225" cy="390525"/>
                </a:xfrm>
                <a:custGeom>
                  <a:avLst/>
                  <a:gdLst>
                    <a:gd name="T0" fmla="*/ 2147483647 w 174"/>
                    <a:gd name="T1" fmla="*/ 2147483647 h 246"/>
                    <a:gd name="T2" fmla="*/ 2147483647 w 174"/>
                    <a:gd name="T3" fmla="*/ 0 h 246"/>
                    <a:gd name="T4" fmla="*/ 2147483647 w 174"/>
                    <a:gd name="T5" fmla="*/ 2147483647 h 246"/>
                    <a:gd name="T6" fmla="*/ 2147483647 w 174"/>
                    <a:gd name="T7" fmla="*/ 2147483647 h 246"/>
                    <a:gd name="T8" fmla="*/ 2147483647 w 174"/>
                    <a:gd name="T9" fmla="*/ 2147483647 h 246"/>
                    <a:gd name="T10" fmla="*/ 0 w 174"/>
                    <a:gd name="T11" fmla="*/ 2147483647 h 246"/>
                    <a:gd name="T12" fmla="*/ 0 w 174"/>
                    <a:gd name="T13" fmla="*/ 0 h 246"/>
                    <a:gd name="T14" fmla="*/ 2147483647 w 174"/>
                    <a:gd name="T15" fmla="*/ 0 h 246"/>
                    <a:gd name="T16" fmla="*/ 2147483647 w 174"/>
                    <a:gd name="T17" fmla="*/ 2147483647 h 246"/>
                    <a:gd name="T18" fmla="*/ 2147483647 w 174"/>
                    <a:gd name="T19" fmla="*/ 2147483647 h 246"/>
                    <a:gd name="T20" fmla="*/ 2147483647 w 174"/>
                    <a:gd name="T21" fmla="*/ 2147483647 h 246"/>
                    <a:gd name="T22" fmla="*/ 0 w 174"/>
                    <a:gd name="T23" fmla="*/ 2147483647 h 24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74"/>
                    <a:gd name="T37" fmla="*/ 0 h 246"/>
                    <a:gd name="T38" fmla="*/ 174 w 174"/>
                    <a:gd name="T39" fmla="*/ 246 h 24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74" h="246">
                      <a:moveTo>
                        <a:pt x="174" y="26"/>
                      </a:moveTo>
                      <a:lnTo>
                        <a:pt x="148" y="0"/>
                      </a:lnTo>
                      <a:lnTo>
                        <a:pt x="148" y="26"/>
                      </a:lnTo>
                      <a:lnTo>
                        <a:pt x="174" y="26"/>
                      </a:lnTo>
                      <a:close/>
                      <a:moveTo>
                        <a:pt x="0" y="246"/>
                      </a:moveTo>
                      <a:lnTo>
                        <a:pt x="0" y="0"/>
                      </a:lnTo>
                      <a:lnTo>
                        <a:pt x="138" y="0"/>
                      </a:lnTo>
                      <a:lnTo>
                        <a:pt x="138" y="36"/>
                      </a:lnTo>
                      <a:lnTo>
                        <a:pt x="174" y="36"/>
                      </a:lnTo>
                      <a:lnTo>
                        <a:pt x="174" y="246"/>
                      </a:lnTo>
                      <a:lnTo>
                        <a:pt x="0" y="246"/>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tr-TR"/>
                </a:p>
              </p:txBody>
            </p:sp>
            <p:sp>
              <p:nvSpPr>
                <p:cNvPr id="114" name="Freeform 22"/>
                <p:cNvSpPr>
                  <a:spLocks noEditPoints="1"/>
                </p:cNvSpPr>
                <p:nvPr/>
              </p:nvSpPr>
              <p:spPr bwMode="auto">
                <a:xfrm>
                  <a:off x="4816158" y="2453005"/>
                  <a:ext cx="196850" cy="311150"/>
                </a:xfrm>
                <a:custGeom>
                  <a:avLst/>
                  <a:gdLst>
                    <a:gd name="T0" fmla="*/ 0 w 124"/>
                    <a:gd name="T1" fmla="*/ 0 h 196"/>
                    <a:gd name="T2" fmla="*/ 2147483647 w 124"/>
                    <a:gd name="T3" fmla="*/ 0 h 196"/>
                    <a:gd name="T4" fmla="*/ 2147483647 w 124"/>
                    <a:gd name="T5" fmla="*/ 2147483647 h 196"/>
                    <a:gd name="T6" fmla="*/ 0 w 124"/>
                    <a:gd name="T7" fmla="*/ 2147483647 h 196"/>
                    <a:gd name="T8" fmla="*/ 0 w 124"/>
                    <a:gd name="T9" fmla="*/ 0 h 196"/>
                    <a:gd name="T10" fmla="*/ 0 w 124"/>
                    <a:gd name="T11" fmla="*/ 0 h 196"/>
                    <a:gd name="T12" fmla="*/ 0 w 124"/>
                    <a:gd name="T13" fmla="*/ 2147483647 h 196"/>
                    <a:gd name="T14" fmla="*/ 2147483647 w 124"/>
                    <a:gd name="T15" fmla="*/ 2147483647 h 196"/>
                    <a:gd name="T16" fmla="*/ 2147483647 w 124"/>
                    <a:gd name="T17" fmla="*/ 2147483647 h 196"/>
                    <a:gd name="T18" fmla="*/ 0 w 124"/>
                    <a:gd name="T19" fmla="*/ 2147483647 h 196"/>
                    <a:gd name="T20" fmla="*/ 0 w 124"/>
                    <a:gd name="T21" fmla="*/ 2147483647 h 196"/>
                    <a:gd name="T22" fmla="*/ 0 w 124"/>
                    <a:gd name="T23" fmla="*/ 2147483647 h 196"/>
                    <a:gd name="T24" fmla="*/ 2147483647 w 124"/>
                    <a:gd name="T25" fmla="*/ 2147483647 h 196"/>
                    <a:gd name="T26" fmla="*/ 2147483647 w 124"/>
                    <a:gd name="T27" fmla="*/ 2147483647 h 196"/>
                    <a:gd name="T28" fmla="*/ 0 w 124"/>
                    <a:gd name="T29" fmla="*/ 2147483647 h 196"/>
                    <a:gd name="T30" fmla="*/ 0 w 124"/>
                    <a:gd name="T31" fmla="*/ 2147483647 h 196"/>
                    <a:gd name="T32" fmla="*/ 2147483647 w 124"/>
                    <a:gd name="T33" fmla="*/ 2147483647 h 196"/>
                    <a:gd name="T34" fmla="*/ 2147483647 w 124"/>
                    <a:gd name="T35" fmla="*/ 2147483647 h 196"/>
                    <a:gd name="T36" fmla="*/ 2147483647 w 124"/>
                    <a:gd name="T37" fmla="*/ 2147483647 h 196"/>
                    <a:gd name="T38" fmla="*/ 2147483647 w 124"/>
                    <a:gd name="T39" fmla="*/ 2147483647 h 196"/>
                    <a:gd name="T40" fmla="*/ 0 w 124"/>
                    <a:gd name="T41" fmla="*/ 2147483647 h 196"/>
                    <a:gd name="T42" fmla="*/ 0 w 124"/>
                    <a:gd name="T43" fmla="*/ 2147483647 h 196"/>
                    <a:gd name="T44" fmla="*/ 2147483647 w 124"/>
                    <a:gd name="T45" fmla="*/ 2147483647 h 196"/>
                    <a:gd name="T46" fmla="*/ 2147483647 w 124"/>
                    <a:gd name="T47" fmla="*/ 2147483647 h 196"/>
                    <a:gd name="T48" fmla="*/ 2147483647 w 124"/>
                    <a:gd name="T49" fmla="*/ 2147483647 h 196"/>
                    <a:gd name="T50" fmla="*/ 2147483647 w 124"/>
                    <a:gd name="T51" fmla="*/ 2147483647 h 196"/>
                    <a:gd name="T52" fmla="*/ 0 w 124"/>
                    <a:gd name="T53" fmla="*/ 2147483647 h 196"/>
                    <a:gd name="T54" fmla="*/ 0 w 124"/>
                    <a:gd name="T55" fmla="*/ 2147483647 h 196"/>
                    <a:gd name="T56" fmla="*/ 2147483647 w 124"/>
                    <a:gd name="T57" fmla="*/ 2147483647 h 196"/>
                    <a:gd name="T58" fmla="*/ 2147483647 w 124"/>
                    <a:gd name="T59" fmla="*/ 2147483647 h 196"/>
                    <a:gd name="T60" fmla="*/ 2147483647 w 124"/>
                    <a:gd name="T61" fmla="*/ 2147483647 h 196"/>
                    <a:gd name="T62" fmla="*/ 2147483647 w 124"/>
                    <a:gd name="T63" fmla="*/ 2147483647 h 196"/>
                    <a:gd name="T64" fmla="*/ 0 w 124"/>
                    <a:gd name="T65" fmla="*/ 2147483647 h 196"/>
                    <a:gd name="T66" fmla="*/ 0 w 124"/>
                    <a:gd name="T67" fmla="*/ 2147483647 h 196"/>
                    <a:gd name="T68" fmla="*/ 2147483647 w 124"/>
                    <a:gd name="T69" fmla="*/ 2147483647 h 196"/>
                    <a:gd name="T70" fmla="*/ 2147483647 w 124"/>
                    <a:gd name="T71" fmla="*/ 2147483647 h 196"/>
                    <a:gd name="T72" fmla="*/ 0 w 124"/>
                    <a:gd name="T73" fmla="*/ 2147483647 h 196"/>
                    <a:gd name="T74" fmla="*/ 2147483647 w 124"/>
                    <a:gd name="T75" fmla="*/ 2147483647 h 196"/>
                    <a:gd name="T76" fmla="*/ 2147483647 w 124"/>
                    <a:gd name="T77" fmla="*/ 2147483647 h 196"/>
                    <a:gd name="T78" fmla="*/ 0 w 124"/>
                    <a:gd name="T79" fmla="*/ 2147483647 h 196"/>
                    <a:gd name="T80" fmla="*/ 0 w 124"/>
                    <a:gd name="T81" fmla="*/ 2147483647 h 196"/>
                    <a:gd name="T82" fmla="*/ 0 w 124"/>
                    <a:gd name="T83" fmla="*/ 2147483647 h 196"/>
                    <a:gd name="T84" fmla="*/ 2147483647 w 124"/>
                    <a:gd name="T85" fmla="*/ 2147483647 h 196"/>
                    <a:gd name="T86" fmla="*/ 2147483647 w 124"/>
                    <a:gd name="T87" fmla="*/ 2147483647 h 196"/>
                    <a:gd name="T88" fmla="*/ 0 w 124"/>
                    <a:gd name="T89" fmla="*/ 2147483647 h 196"/>
                    <a:gd name="T90" fmla="*/ 0 w 124"/>
                    <a:gd name="T91" fmla="*/ 2147483647 h 196"/>
                    <a:gd name="T92" fmla="*/ 2147483647 w 124"/>
                    <a:gd name="T93" fmla="*/ 2147483647 h 19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24"/>
                    <a:gd name="T142" fmla="*/ 0 h 196"/>
                    <a:gd name="T143" fmla="*/ 124 w 124"/>
                    <a:gd name="T144" fmla="*/ 196 h 19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24" h="196">
                      <a:moveTo>
                        <a:pt x="0" y="0"/>
                      </a:moveTo>
                      <a:lnTo>
                        <a:pt x="94" y="0"/>
                      </a:lnTo>
                      <a:lnTo>
                        <a:pt x="94" y="8"/>
                      </a:lnTo>
                      <a:lnTo>
                        <a:pt x="0" y="8"/>
                      </a:lnTo>
                      <a:lnTo>
                        <a:pt x="0" y="0"/>
                      </a:lnTo>
                      <a:close/>
                      <a:moveTo>
                        <a:pt x="0" y="26"/>
                      </a:moveTo>
                      <a:lnTo>
                        <a:pt x="124" y="26"/>
                      </a:lnTo>
                      <a:lnTo>
                        <a:pt x="124" y="36"/>
                      </a:lnTo>
                      <a:lnTo>
                        <a:pt x="0" y="36"/>
                      </a:lnTo>
                      <a:lnTo>
                        <a:pt x="0" y="26"/>
                      </a:lnTo>
                      <a:close/>
                      <a:moveTo>
                        <a:pt x="124" y="160"/>
                      </a:moveTo>
                      <a:lnTo>
                        <a:pt x="124" y="168"/>
                      </a:lnTo>
                      <a:lnTo>
                        <a:pt x="0" y="168"/>
                      </a:lnTo>
                      <a:lnTo>
                        <a:pt x="0" y="160"/>
                      </a:lnTo>
                      <a:lnTo>
                        <a:pt x="124" y="160"/>
                      </a:lnTo>
                      <a:close/>
                      <a:moveTo>
                        <a:pt x="124" y="52"/>
                      </a:moveTo>
                      <a:lnTo>
                        <a:pt x="124" y="62"/>
                      </a:lnTo>
                      <a:lnTo>
                        <a:pt x="0" y="62"/>
                      </a:lnTo>
                      <a:lnTo>
                        <a:pt x="0" y="52"/>
                      </a:lnTo>
                      <a:lnTo>
                        <a:pt x="124" y="52"/>
                      </a:lnTo>
                      <a:close/>
                      <a:moveTo>
                        <a:pt x="124" y="106"/>
                      </a:moveTo>
                      <a:lnTo>
                        <a:pt x="124" y="116"/>
                      </a:lnTo>
                      <a:lnTo>
                        <a:pt x="0" y="116"/>
                      </a:lnTo>
                      <a:lnTo>
                        <a:pt x="0" y="106"/>
                      </a:lnTo>
                      <a:lnTo>
                        <a:pt x="124" y="106"/>
                      </a:lnTo>
                      <a:close/>
                      <a:moveTo>
                        <a:pt x="124" y="132"/>
                      </a:moveTo>
                      <a:lnTo>
                        <a:pt x="124" y="142"/>
                      </a:lnTo>
                      <a:lnTo>
                        <a:pt x="0" y="142"/>
                      </a:lnTo>
                      <a:lnTo>
                        <a:pt x="0" y="132"/>
                      </a:lnTo>
                      <a:lnTo>
                        <a:pt x="124" y="132"/>
                      </a:lnTo>
                      <a:close/>
                      <a:moveTo>
                        <a:pt x="0" y="186"/>
                      </a:moveTo>
                      <a:lnTo>
                        <a:pt x="124" y="186"/>
                      </a:lnTo>
                      <a:lnTo>
                        <a:pt x="124" y="196"/>
                      </a:lnTo>
                      <a:lnTo>
                        <a:pt x="0" y="196"/>
                      </a:lnTo>
                      <a:lnTo>
                        <a:pt x="0" y="186"/>
                      </a:lnTo>
                      <a:close/>
                      <a:moveTo>
                        <a:pt x="124" y="80"/>
                      </a:moveTo>
                      <a:lnTo>
                        <a:pt x="124" y="88"/>
                      </a:lnTo>
                      <a:lnTo>
                        <a:pt x="0" y="88"/>
                      </a:lnTo>
                      <a:lnTo>
                        <a:pt x="0" y="80"/>
                      </a:lnTo>
                      <a:lnTo>
                        <a:pt x="124" y="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tr-TR"/>
                </a:p>
              </p:txBody>
            </p:sp>
            <p:sp>
              <p:nvSpPr>
                <p:cNvPr id="115" name="Freeform 23"/>
                <p:cNvSpPr>
                  <a:spLocks noEditPoints="1"/>
                </p:cNvSpPr>
                <p:nvPr/>
              </p:nvSpPr>
              <p:spPr bwMode="auto">
                <a:xfrm>
                  <a:off x="4901883" y="2516505"/>
                  <a:ext cx="273050" cy="390525"/>
                </a:xfrm>
                <a:custGeom>
                  <a:avLst/>
                  <a:gdLst>
                    <a:gd name="T0" fmla="*/ 2147483647 w 172"/>
                    <a:gd name="T1" fmla="*/ 2147483647 h 246"/>
                    <a:gd name="T2" fmla="*/ 2147483647 w 172"/>
                    <a:gd name="T3" fmla="*/ 0 h 246"/>
                    <a:gd name="T4" fmla="*/ 2147483647 w 172"/>
                    <a:gd name="T5" fmla="*/ 2147483647 h 246"/>
                    <a:gd name="T6" fmla="*/ 2147483647 w 172"/>
                    <a:gd name="T7" fmla="*/ 2147483647 h 246"/>
                    <a:gd name="T8" fmla="*/ 2147483647 w 172"/>
                    <a:gd name="T9" fmla="*/ 2147483647 h 246"/>
                    <a:gd name="T10" fmla="*/ 0 w 172"/>
                    <a:gd name="T11" fmla="*/ 2147483647 h 246"/>
                    <a:gd name="T12" fmla="*/ 0 w 172"/>
                    <a:gd name="T13" fmla="*/ 0 h 246"/>
                    <a:gd name="T14" fmla="*/ 2147483647 w 172"/>
                    <a:gd name="T15" fmla="*/ 0 h 246"/>
                    <a:gd name="T16" fmla="*/ 2147483647 w 172"/>
                    <a:gd name="T17" fmla="*/ 2147483647 h 246"/>
                    <a:gd name="T18" fmla="*/ 2147483647 w 172"/>
                    <a:gd name="T19" fmla="*/ 2147483647 h 246"/>
                    <a:gd name="T20" fmla="*/ 2147483647 w 172"/>
                    <a:gd name="T21" fmla="*/ 2147483647 h 246"/>
                    <a:gd name="T22" fmla="*/ 0 w 172"/>
                    <a:gd name="T23" fmla="*/ 2147483647 h 24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72"/>
                    <a:gd name="T37" fmla="*/ 0 h 246"/>
                    <a:gd name="T38" fmla="*/ 172 w 172"/>
                    <a:gd name="T39" fmla="*/ 246 h 24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72" h="246">
                      <a:moveTo>
                        <a:pt x="172" y="28"/>
                      </a:moveTo>
                      <a:lnTo>
                        <a:pt x="146" y="0"/>
                      </a:lnTo>
                      <a:lnTo>
                        <a:pt x="146" y="28"/>
                      </a:lnTo>
                      <a:lnTo>
                        <a:pt x="172" y="28"/>
                      </a:lnTo>
                      <a:close/>
                      <a:moveTo>
                        <a:pt x="0" y="246"/>
                      </a:moveTo>
                      <a:lnTo>
                        <a:pt x="0" y="0"/>
                      </a:lnTo>
                      <a:lnTo>
                        <a:pt x="138" y="0"/>
                      </a:lnTo>
                      <a:lnTo>
                        <a:pt x="138" y="36"/>
                      </a:lnTo>
                      <a:lnTo>
                        <a:pt x="172" y="36"/>
                      </a:lnTo>
                      <a:lnTo>
                        <a:pt x="172" y="246"/>
                      </a:lnTo>
                      <a:lnTo>
                        <a:pt x="0" y="246"/>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tr-TR"/>
                </a:p>
              </p:txBody>
            </p:sp>
            <p:sp>
              <p:nvSpPr>
                <p:cNvPr id="116" name="Freeform 24"/>
                <p:cNvSpPr>
                  <a:spLocks noEditPoints="1"/>
                </p:cNvSpPr>
                <p:nvPr/>
              </p:nvSpPr>
              <p:spPr bwMode="auto">
                <a:xfrm>
                  <a:off x="4946333" y="2557780"/>
                  <a:ext cx="200025" cy="307975"/>
                </a:xfrm>
                <a:custGeom>
                  <a:avLst/>
                  <a:gdLst>
                    <a:gd name="T0" fmla="*/ 0 w 126"/>
                    <a:gd name="T1" fmla="*/ 0 h 194"/>
                    <a:gd name="T2" fmla="*/ 2147483647 w 126"/>
                    <a:gd name="T3" fmla="*/ 0 h 194"/>
                    <a:gd name="T4" fmla="*/ 2147483647 w 126"/>
                    <a:gd name="T5" fmla="*/ 2147483647 h 194"/>
                    <a:gd name="T6" fmla="*/ 0 w 126"/>
                    <a:gd name="T7" fmla="*/ 2147483647 h 194"/>
                    <a:gd name="T8" fmla="*/ 0 w 126"/>
                    <a:gd name="T9" fmla="*/ 0 h 194"/>
                    <a:gd name="T10" fmla="*/ 0 w 126"/>
                    <a:gd name="T11" fmla="*/ 0 h 194"/>
                    <a:gd name="T12" fmla="*/ 0 w 126"/>
                    <a:gd name="T13" fmla="*/ 2147483647 h 194"/>
                    <a:gd name="T14" fmla="*/ 2147483647 w 126"/>
                    <a:gd name="T15" fmla="*/ 2147483647 h 194"/>
                    <a:gd name="T16" fmla="*/ 2147483647 w 126"/>
                    <a:gd name="T17" fmla="*/ 2147483647 h 194"/>
                    <a:gd name="T18" fmla="*/ 0 w 126"/>
                    <a:gd name="T19" fmla="*/ 2147483647 h 194"/>
                    <a:gd name="T20" fmla="*/ 0 w 126"/>
                    <a:gd name="T21" fmla="*/ 2147483647 h 194"/>
                    <a:gd name="T22" fmla="*/ 0 w 126"/>
                    <a:gd name="T23" fmla="*/ 2147483647 h 194"/>
                    <a:gd name="T24" fmla="*/ 2147483647 w 126"/>
                    <a:gd name="T25" fmla="*/ 2147483647 h 194"/>
                    <a:gd name="T26" fmla="*/ 2147483647 w 126"/>
                    <a:gd name="T27" fmla="*/ 2147483647 h 194"/>
                    <a:gd name="T28" fmla="*/ 0 w 126"/>
                    <a:gd name="T29" fmla="*/ 2147483647 h 194"/>
                    <a:gd name="T30" fmla="*/ 0 w 126"/>
                    <a:gd name="T31" fmla="*/ 2147483647 h 194"/>
                    <a:gd name="T32" fmla="*/ 2147483647 w 126"/>
                    <a:gd name="T33" fmla="*/ 2147483647 h 194"/>
                    <a:gd name="T34" fmla="*/ 2147483647 w 126"/>
                    <a:gd name="T35" fmla="*/ 2147483647 h 194"/>
                    <a:gd name="T36" fmla="*/ 2147483647 w 126"/>
                    <a:gd name="T37" fmla="*/ 2147483647 h 194"/>
                    <a:gd name="T38" fmla="*/ 2147483647 w 126"/>
                    <a:gd name="T39" fmla="*/ 2147483647 h 194"/>
                    <a:gd name="T40" fmla="*/ 0 w 126"/>
                    <a:gd name="T41" fmla="*/ 2147483647 h 194"/>
                    <a:gd name="T42" fmla="*/ 0 w 126"/>
                    <a:gd name="T43" fmla="*/ 2147483647 h 194"/>
                    <a:gd name="T44" fmla="*/ 2147483647 w 126"/>
                    <a:gd name="T45" fmla="*/ 2147483647 h 194"/>
                    <a:gd name="T46" fmla="*/ 2147483647 w 126"/>
                    <a:gd name="T47" fmla="*/ 2147483647 h 194"/>
                    <a:gd name="T48" fmla="*/ 2147483647 w 126"/>
                    <a:gd name="T49" fmla="*/ 2147483647 h 194"/>
                    <a:gd name="T50" fmla="*/ 2147483647 w 126"/>
                    <a:gd name="T51" fmla="*/ 2147483647 h 194"/>
                    <a:gd name="T52" fmla="*/ 0 w 126"/>
                    <a:gd name="T53" fmla="*/ 2147483647 h 194"/>
                    <a:gd name="T54" fmla="*/ 0 w 126"/>
                    <a:gd name="T55" fmla="*/ 2147483647 h 194"/>
                    <a:gd name="T56" fmla="*/ 2147483647 w 126"/>
                    <a:gd name="T57" fmla="*/ 2147483647 h 194"/>
                    <a:gd name="T58" fmla="*/ 2147483647 w 126"/>
                    <a:gd name="T59" fmla="*/ 2147483647 h 194"/>
                    <a:gd name="T60" fmla="*/ 2147483647 w 126"/>
                    <a:gd name="T61" fmla="*/ 2147483647 h 194"/>
                    <a:gd name="T62" fmla="*/ 2147483647 w 126"/>
                    <a:gd name="T63" fmla="*/ 2147483647 h 194"/>
                    <a:gd name="T64" fmla="*/ 0 w 126"/>
                    <a:gd name="T65" fmla="*/ 2147483647 h 194"/>
                    <a:gd name="T66" fmla="*/ 0 w 126"/>
                    <a:gd name="T67" fmla="*/ 2147483647 h 194"/>
                    <a:gd name="T68" fmla="*/ 2147483647 w 126"/>
                    <a:gd name="T69" fmla="*/ 2147483647 h 194"/>
                    <a:gd name="T70" fmla="*/ 2147483647 w 126"/>
                    <a:gd name="T71" fmla="*/ 2147483647 h 194"/>
                    <a:gd name="T72" fmla="*/ 0 w 126"/>
                    <a:gd name="T73" fmla="*/ 2147483647 h 194"/>
                    <a:gd name="T74" fmla="*/ 2147483647 w 126"/>
                    <a:gd name="T75" fmla="*/ 2147483647 h 194"/>
                    <a:gd name="T76" fmla="*/ 2147483647 w 126"/>
                    <a:gd name="T77" fmla="*/ 2147483647 h 194"/>
                    <a:gd name="T78" fmla="*/ 0 w 126"/>
                    <a:gd name="T79" fmla="*/ 2147483647 h 194"/>
                    <a:gd name="T80" fmla="*/ 0 w 126"/>
                    <a:gd name="T81" fmla="*/ 2147483647 h 194"/>
                    <a:gd name="T82" fmla="*/ 0 w 126"/>
                    <a:gd name="T83" fmla="*/ 2147483647 h 194"/>
                    <a:gd name="T84" fmla="*/ 2147483647 w 126"/>
                    <a:gd name="T85" fmla="*/ 2147483647 h 194"/>
                    <a:gd name="T86" fmla="*/ 2147483647 w 126"/>
                    <a:gd name="T87" fmla="*/ 2147483647 h 194"/>
                    <a:gd name="T88" fmla="*/ 0 w 126"/>
                    <a:gd name="T89" fmla="*/ 2147483647 h 194"/>
                    <a:gd name="T90" fmla="*/ 0 w 126"/>
                    <a:gd name="T91" fmla="*/ 2147483647 h 194"/>
                    <a:gd name="T92" fmla="*/ 2147483647 w 126"/>
                    <a:gd name="T93" fmla="*/ 2147483647 h 19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26"/>
                    <a:gd name="T142" fmla="*/ 0 h 194"/>
                    <a:gd name="T143" fmla="*/ 126 w 126"/>
                    <a:gd name="T144" fmla="*/ 194 h 19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26" h="194">
                      <a:moveTo>
                        <a:pt x="0" y="0"/>
                      </a:moveTo>
                      <a:lnTo>
                        <a:pt x="96" y="0"/>
                      </a:lnTo>
                      <a:lnTo>
                        <a:pt x="96" y="8"/>
                      </a:lnTo>
                      <a:lnTo>
                        <a:pt x="0" y="8"/>
                      </a:lnTo>
                      <a:lnTo>
                        <a:pt x="0" y="0"/>
                      </a:lnTo>
                      <a:close/>
                      <a:moveTo>
                        <a:pt x="0" y="26"/>
                      </a:moveTo>
                      <a:lnTo>
                        <a:pt x="126" y="26"/>
                      </a:lnTo>
                      <a:lnTo>
                        <a:pt x="126" y="34"/>
                      </a:lnTo>
                      <a:lnTo>
                        <a:pt x="0" y="34"/>
                      </a:lnTo>
                      <a:lnTo>
                        <a:pt x="0" y="26"/>
                      </a:lnTo>
                      <a:close/>
                      <a:moveTo>
                        <a:pt x="126" y="160"/>
                      </a:moveTo>
                      <a:lnTo>
                        <a:pt x="126" y="168"/>
                      </a:lnTo>
                      <a:lnTo>
                        <a:pt x="0" y="168"/>
                      </a:lnTo>
                      <a:lnTo>
                        <a:pt x="0" y="160"/>
                      </a:lnTo>
                      <a:lnTo>
                        <a:pt x="126" y="160"/>
                      </a:lnTo>
                      <a:close/>
                      <a:moveTo>
                        <a:pt x="126" y="54"/>
                      </a:moveTo>
                      <a:lnTo>
                        <a:pt x="126" y="62"/>
                      </a:lnTo>
                      <a:lnTo>
                        <a:pt x="0" y="62"/>
                      </a:lnTo>
                      <a:lnTo>
                        <a:pt x="0" y="54"/>
                      </a:lnTo>
                      <a:lnTo>
                        <a:pt x="126" y="54"/>
                      </a:lnTo>
                      <a:close/>
                      <a:moveTo>
                        <a:pt x="126" y="106"/>
                      </a:moveTo>
                      <a:lnTo>
                        <a:pt x="126" y="114"/>
                      </a:lnTo>
                      <a:lnTo>
                        <a:pt x="0" y="114"/>
                      </a:lnTo>
                      <a:lnTo>
                        <a:pt x="0" y="106"/>
                      </a:lnTo>
                      <a:lnTo>
                        <a:pt x="126" y="106"/>
                      </a:lnTo>
                      <a:close/>
                      <a:moveTo>
                        <a:pt x="126" y="132"/>
                      </a:moveTo>
                      <a:lnTo>
                        <a:pt x="126" y="142"/>
                      </a:lnTo>
                      <a:lnTo>
                        <a:pt x="0" y="142"/>
                      </a:lnTo>
                      <a:lnTo>
                        <a:pt x="0" y="132"/>
                      </a:lnTo>
                      <a:lnTo>
                        <a:pt x="126" y="132"/>
                      </a:lnTo>
                      <a:close/>
                      <a:moveTo>
                        <a:pt x="0" y="186"/>
                      </a:moveTo>
                      <a:lnTo>
                        <a:pt x="126" y="186"/>
                      </a:lnTo>
                      <a:lnTo>
                        <a:pt x="126" y="194"/>
                      </a:lnTo>
                      <a:lnTo>
                        <a:pt x="0" y="194"/>
                      </a:lnTo>
                      <a:lnTo>
                        <a:pt x="0" y="186"/>
                      </a:lnTo>
                      <a:close/>
                      <a:moveTo>
                        <a:pt x="126" y="80"/>
                      </a:moveTo>
                      <a:lnTo>
                        <a:pt x="126" y="88"/>
                      </a:lnTo>
                      <a:lnTo>
                        <a:pt x="0" y="88"/>
                      </a:lnTo>
                      <a:lnTo>
                        <a:pt x="0" y="80"/>
                      </a:lnTo>
                      <a:lnTo>
                        <a:pt x="126" y="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tr-TR"/>
                </a:p>
              </p:txBody>
            </p:sp>
          </p:grpSp>
          <p:sp>
            <p:nvSpPr>
              <p:cNvPr id="112" name="Ellipse 45"/>
              <p:cNvSpPr/>
              <p:nvPr/>
            </p:nvSpPr>
            <p:spPr bwMode="auto">
              <a:xfrm>
                <a:off x="4162078" y="2430178"/>
                <a:ext cx="723221" cy="540089"/>
              </a:xfrm>
              <a:prstGeom prst="ellipse">
                <a:avLst/>
              </a:prstGeom>
              <a:gradFill flip="none" rotWithShape="1">
                <a:gsLst>
                  <a:gs pos="0">
                    <a:srgbClr val="FFFFFF">
                      <a:lumMod val="40000"/>
                      <a:lumOff val="60000"/>
                      <a:alpha val="0"/>
                    </a:srgbClr>
                  </a:gs>
                  <a:gs pos="100000">
                    <a:srgbClr val="FFFCF9">
                      <a:alpha val="77000"/>
                    </a:srgbClr>
                  </a:gs>
                </a:gsLst>
                <a:lin ang="16200000" scaled="0"/>
                <a:tileRect/>
              </a:gradFill>
              <a:ln w="9525" cap="flat" cmpd="sng" algn="ctr">
                <a:noFill/>
                <a:prstDash val="solid"/>
              </a:ln>
              <a:effectLst/>
            </p:spPr>
            <p:txBody>
              <a:bodyPr anchor="ctr"/>
              <a:lstStyle/>
              <a:p>
                <a:pPr algn="ctr" fontAlgn="auto">
                  <a:spcBef>
                    <a:spcPts val="0"/>
                  </a:spcBef>
                  <a:spcAft>
                    <a:spcPts val="0"/>
                  </a:spcAft>
                  <a:defRPr/>
                </a:pPr>
                <a:endParaRPr lang="da-DK" kern="0" dirty="0">
                  <a:solidFill>
                    <a:sysClr val="window" lastClr="FFFFFF"/>
                  </a:solidFill>
                  <a:latin typeface="Calibri"/>
                  <a:ea typeface="ＭＳ Ｐゴシック" pitchFamily="-97" charset="-128"/>
                  <a:cs typeface="+mn-cs"/>
                </a:endParaRPr>
              </a:p>
            </p:txBody>
          </p:sp>
        </p:grpSp>
        <p:sp>
          <p:nvSpPr>
            <p:cNvPr id="104" name="Ellipse 395"/>
            <p:cNvSpPr/>
            <p:nvPr/>
          </p:nvSpPr>
          <p:spPr bwMode="auto">
            <a:xfrm>
              <a:off x="3584575" y="5426212"/>
              <a:ext cx="1966913" cy="257038"/>
            </a:xfrm>
            <a:prstGeom prst="ellipse">
              <a:avLst/>
            </a:prstGeom>
            <a:gradFill flip="none" rotWithShape="1">
              <a:gsLst>
                <a:gs pos="24000">
                  <a:sysClr val="windowText" lastClr="000000">
                    <a:alpha val="22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fontAlgn="auto">
                <a:spcBef>
                  <a:spcPts val="0"/>
                </a:spcBef>
                <a:spcAft>
                  <a:spcPts val="0"/>
                </a:spcAft>
                <a:defRPr/>
              </a:pPr>
              <a:endParaRPr lang="da-DK" kern="0" dirty="0" err="1">
                <a:solidFill>
                  <a:sysClr val="window" lastClr="FFFFFF"/>
                </a:solidFill>
                <a:latin typeface="Calibri"/>
                <a:ea typeface="ＭＳ Ｐゴシック" pitchFamily="-97" charset="-128"/>
                <a:cs typeface="+mn-cs"/>
              </a:endParaRPr>
            </a:p>
          </p:txBody>
        </p:sp>
      </p:grpSp>
    </p:spTree>
    <p:extLst>
      <p:ext uri="{BB962C8B-B14F-4D97-AF65-F5344CB8AC3E}">
        <p14:creationId xmlns:p14="http://schemas.microsoft.com/office/powerpoint/2010/main" val="516601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83" name="Picture 125"/>
          <p:cNvPicPr>
            <a:picLocks noChangeAspect="1" noChangeArrowheads="1"/>
          </p:cNvPicPr>
          <p:nvPr/>
        </p:nvPicPr>
        <p:blipFill>
          <a:blip r:embed="rId3">
            <a:lum bright="-30000"/>
            <a:extLst>
              <a:ext uri="{28A0092B-C50C-407E-A947-70E740481C1C}">
                <a14:useLocalDpi xmlns:a14="http://schemas.microsoft.com/office/drawing/2010/main" val="0"/>
              </a:ext>
            </a:extLst>
          </a:blip>
          <a:srcRect/>
          <a:stretch>
            <a:fillRect/>
          </a:stretch>
        </p:blipFill>
        <p:spPr bwMode="auto">
          <a:xfrm>
            <a:off x="2443163" y="4746625"/>
            <a:ext cx="4110037" cy="1138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0486" name="Group 166"/>
          <p:cNvGrpSpPr>
            <a:grpSpLocks/>
          </p:cNvGrpSpPr>
          <p:nvPr/>
        </p:nvGrpSpPr>
        <p:grpSpPr bwMode="auto">
          <a:xfrm>
            <a:off x="2776538" y="1766888"/>
            <a:ext cx="3471862" cy="3467100"/>
            <a:chOff x="1749" y="1113"/>
            <a:chExt cx="2187" cy="2184"/>
          </a:xfrm>
        </p:grpSpPr>
        <p:sp>
          <p:nvSpPr>
            <p:cNvPr id="20562" name="Oval 6"/>
            <p:cNvSpPr>
              <a:spLocks noChangeArrowheads="1"/>
            </p:cNvSpPr>
            <p:nvPr/>
          </p:nvSpPr>
          <p:spPr bwMode="gray">
            <a:xfrm>
              <a:off x="1749" y="1113"/>
              <a:ext cx="2187" cy="2184"/>
            </a:xfrm>
            <a:prstGeom prst="ellipse">
              <a:avLst/>
            </a:prstGeom>
            <a:solidFill>
              <a:srgbClr val="777777"/>
            </a:solidFill>
            <a:ln w="9525">
              <a:round/>
              <a:headEnd/>
              <a:tailEnd/>
            </a:ln>
            <a:scene3d>
              <a:camera prst="legacyPerspectiveTop"/>
              <a:lightRig rig="legacyFlat4" dir="t"/>
            </a:scene3d>
            <a:sp3d extrusionH="887400" prstMaterial="legacyMatte">
              <a:bevelT w="13500" h="13500" prst="angle"/>
              <a:bevelB w="13500" h="13500" prst="angle"/>
              <a:extrusionClr>
                <a:schemeClr val="bg1"/>
              </a:extrusionClr>
            </a:sp3d>
          </p:spPr>
          <p:txBody>
            <a:bodyPr>
              <a:flatTx/>
            </a:bodyPr>
            <a:lstStyle/>
            <a:p>
              <a:endParaRPr lang="en-US">
                <a:solidFill>
                  <a:schemeClr val="tx2">
                    <a:lumMod val="50000"/>
                  </a:schemeClr>
                </a:solidFill>
              </a:endParaRPr>
            </a:p>
          </p:txBody>
        </p:sp>
        <p:sp>
          <p:nvSpPr>
            <p:cNvPr id="20563" name="Oval 8"/>
            <p:cNvSpPr>
              <a:spLocks noChangeArrowheads="1"/>
            </p:cNvSpPr>
            <p:nvPr/>
          </p:nvSpPr>
          <p:spPr bwMode="gray">
            <a:xfrm>
              <a:off x="1756" y="1119"/>
              <a:ext cx="2173" cy="2172"/>
            </a:xfrm>
            <a:prstGeom prst="ellipse">
              <a:avLst/>
            </a:prstGeom>
            <a:gradFill rotWithShape="1">
              <a:gsLst>
                <a:gs pos="0">
                  <a:srgbClr val="9F9F9F"/>
                </a:gs>
                <a:gs pos="100000">
                  <a:srgbClr val="E4E4E4"/>
                </a:gs>
              </a:gsLst>
              <a:lin ang="2700000" scaled="1"/>
            </a:gradFill>
            <a:ln w="19050">
              <a:solidFill>
                <a:schemeClr val="bg1"/>
              </a:solidFill>
              <a:round/>
              <a:headEnd/>
              <a:tailEnd/>
            </a:ln>
          </p:spPr>
          <p:txBody>
            <a:bodyPr wrap="none" anchor="ctr"/>
            <a:lstStyle/>
            <a:p>
              <a:endParaRPr lang="en-US">
                <a:solidFill>
                  <a:schemeClr val="tx2">
                    <a:lumMod val="50000"/>
                  </a:schemeClr>
                </a:solidFill>
              </a:endParaRPr>
            </a:p>
          </p:txBody>
        </p:sp>
        <p:sp>
          <p:nvSpPr>
            <p:cNvPr id="20564" name="Oval 9"/>
            <p:cNvSpPr>
              <a:spLocks noChangeArrowheads="1"/>
            </p:cNvSpPr>
            <p:nvPr/>
          </p:nvSpPr>
          <p:spPr bwMode="gray">
            <a:xfrm>
              <a:off x="1980" y="1343"/>
              <a:ext cx="1726" cy="1725"/>
            </a:xfrm>
            <a:prstGeom prst="ellipse">
              <a:avLst/>
            </a:prstGeom>
            <a:gradFill rotWithShape="1">
              <a:gsLst>
                <a:gs pos="0">
                  <a:srgbClr val="FFFFFF"/>
                </a:gs>
                <a:gs pos="100000">
                  <a:srgbClr val="EAEAEA"/>
                </a:gs>
              </a:gsLst>
              <a:lin ang="2700000" scaled="1"/>
            </a:gradFill>
            <a:ln w="19050">
              <a:solidFill>
                <a:schemeClr val="bg1"/>
              </a:solidFill>
              <a:round/>
              <a:headEnd/>
              <a:tailEnd/>
            </a:ln>
          </p:spPr>
          <p:txBody>
            <a:bodyPr/>
            <a:lstStyle/>
            <a:p>
              <a:endParaRPr lang="en-US">
                <a:solidFill>
                  <a:schemeClr val="tx2">
                    <a:lumMod val="50000"/>
                  </a:schemeClr>
                </a:solidFill>
              </a:endParaRPr>
            </a:p>
          </p:txBody>
        </p:sp>
        <p:sp>
          <p:nvSpPr>
            <p:cNvPr id="20565" name="Oval 10"/>
            <p:cNvSpPr>
              <a:spLocks noChangeArrowheads="1"/>
            </p:cNvSpPr>
            <p:nvPr/>
          </p:nvSpPr>
          <p:spPr bwMode="gray">
            <a:xfrm>
              <a:off x="2196" y="1558"/>
              <a:ext cx="1293" cy="1294"/>
            </a:xfrm>
            <a:prstGeom prst="ellipse">
              <a:avLst/>
            </a:prstGeom>
            <a:gradFill rotWithShape="1">
              <a:gsLst>
                <a:gs pos="0">
                  <a:srgbClr val="333333"/>
                </a:gs>
                <a:gs pos="100000">
                  <a:srgbClr val="B1B1B1"/>
                </a:gs>
              </a:gsLst>
              <a:lin ang="2700000" scaled="1"/>
            </a:gradFill>
            <a:ln w="19050">
              <a:solidFill>
                <a:schemeClr val="bg1"/>
              </a:solidFill>
              <a:round/>
              <a:headEnd/>
              <a:tailEnd/>
            </a:ln>
          </p:spPr>
          <p:txBody>
            <a:bodyPr/>
            <a:lstStyle/>
            <a:p>
              <a:endParaRPr lang="en-US">
                <a:solidFill>
                  <a:schemeClr val="tx2">
                    <a:lumMod val="50000"/>
                  </a:schemeClr>
                </a:solidFill>
              </a:endParaRPr>
            </a:p>
          </p:txBody>
        </p:sp>
        <p:sp>
          <p:nvSpPr>
            <p:cNvPr id="20566" name="Oval 11"/>
            <p:cNvSpPr>
              <a:spLocks noChangeArrowheads="1"/>
            </p:cNvSpPr>
            <p:nvPr/>
          </p:nvSpPr>
          <p:spPr bwMode="gray">
            <a:xfrm>
              <a:off x="2400" y="1763"/>
              <a:ext cx="887" cy="884"/>
            </a:xfrm>
            <a:prstGeom prst="ellipse">
              <a:avLst/>
            </a:prstGeom>
            <a:gradFill rotWithShape="1">
              <a:gsLst>
                <a:gs pos="0">
                  <a:srgbClr val="FFFFFF"/>
                </a:gs>
                <a:gs pos="100000">
                  <a:srgbClr val="EAEAEA"/>
                </a:gs>
              </a:gsLst>
              <a:lin ang="2700000" scaled="1"/>
            </a:gradFill>
            <a:ln w="19050">
              <a:solidFill>
                <a:schemeClr val="bg1"/>
              </a:solidFill>
              <a:round/>
              <a:headEnd/>
              <a:tailEnd/>
            </a:ln>
          </p:spPr>
          <p:txBody>
            <a:bodyPr/>
            <a:lstStyle/>
            <a:p>
              <a:endParaRPr lang="en-US">
                <a:solidFill>
                  <a:schemeClr val="tx2">
                    <a:lumMod val="50000"/>
                  </a:schemeClr>
                </a:solidFill>
              </a:endParaRPr>
            </a:p>
          </p:txBody>
        </p:sp>
        <p:sp>
          <p:nvSpPr>
            <p:cNvPr id="20567" name="Oval 12"/>
            <p:cNvSpPr>
              <a:spLocks noChangeArrowheads="1"/>
            </p:cNvSpPr>
            <p:nvPr/>
          </p:nvSpPr>
          <p:spPr bwMode="gray">
            <a:xfrm flipV="1">
              <a:off x="2577" y="1939"/>
              <a:ext cx="533" cy="533"/>
            </a:xfrm>
            <a:prstGeom prst="ellipse">
              <a:avLst/>
            </a:prstGeom>
            <a:solidFill>
              <a:schemeClr val="accent2"/>
            </a:solidFill>
            <a:ln w="9525">
              <a:solidFill>
                <a:srgbClr val="E2E2E2"/>
              </a:solidFill>
              <a:round/>
              <a:headEnd/>
              <a:tailEnd/>
            </a:ln>
          </p:spPr>
          <p:txBody>
            <a:bodyPr rot="10800000"/>
            <a:lstStyle/>
            <a:p>
              <a:endParaRPr lang="en-US">
                <a:solidFill>
                  <a:schemeClr val="tx2">
                    <a:lumMod val="50000"/>
                  </a:schemeClr>
                </a:solidFill>
              </a:endParaRPr>
            </a:p>
          </p:txBody>
        </p:sp>
        <p:sp>
          <p:nvSpPr>
            <p:cNvPr id="20568" name="Text Box 67"/>
            <p:cNvSpPr txBox="1">
              <a:spLocks noChangeArrowheads="1"/>
            </p:cNvSpPr>
            <p:nvPr/>
          </p:nvSpPr>
          <p:spPr bwMode="gray">
            <a:xfrm>
              <a:off x="2769" y="1153"/>
              <a:ext cx="167"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lnSpc>
                  <a:spcPct val="60000"/>
                </a:lnSpc>
                <a:spcBef>
                  <a:spcPct val="50000"/>
                </a:spcBef>
              </a:pPr>
              <a:r>
                <a:rPr lang="tr-TR" noProof="1">
                  <a:solidFill>
                    <a:schemeClr val="tx2">
                      <a:lumMod val="50000"/>
                    </a:schemeClr>
                  </a:solidFill>
                </a:rPr>
                <a:t>1</a:t>
              </a:r>
            </a:p>
          </p:txBody>
        </p:sp>
        <p:sp>
          <p:nvSpPr>
            <p:cNvPr id="20569" name="Text Box 67"/>
            <p:cNvSpPr txBox="1">
              <a:spLocks noChangeArrowheads="1"/>
            </p:cNvSpPr>
            <p:nvPr/>
          </p:nvSpPr>
          <p:spPr bwMode="gray">
            <a:xfrm>
              <a:off x="2769" y="1360"/>
              <a:ext cx="167"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lnSpc>
                  <a:spcPct val="60000"/>
                </a:lnSpc>
                <a:spcBef>
                  <a:spcPct val="50000"/>
                </a:spcBef>
              </a:pPr>
              <a:r>
                <a:rPr lang="de-DE">
                  <a:solidFill>
                    <a:schemeClr val="tx2">
                      <a:lumMod val="50000"/>
                    </a:schemeClr>
                  </a:solidFill>
                </a:rPr>
                <a:t>2</a:t>
              </a:r>
              <a:endParaRPr lang="de-DE" noProof="1">
                <a:solidFill>
                  <a:schemeClr val="tx2">
                    <a:lumMod val="50000"/>
                  </a:schemeClr>
                </a:solidFill>
              </a:endParaRPr>
            </a:p>
          </p:txBody>
        </p:sp>
        <p:sp>
          <p:nvSpPr>
            <p:cNvPr id="20570" name="Text Box 67"/>
            <p:cNvSpPr txBox="1">
              <a:spLocks noChangeArrowheads="1"/>
            </p:cNvSpPr>
            <p:nvPr/>
          </p:nvSpPr>
          <p:spPr bwMode="gray">
            <a:xfrm>
              <a:off x="2769" y="1586"/>
              <a:ext cx="167"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lnSpc>
                  <a:spcPct val="60000"/>
                </a:lnSpc>
                <a:spcBef>
                  <a:spcPct val="50000"/>
                </a:spcBef>
              </a:pPr>
              <a:r>
                <a:rPr lang="de-DE">
                  <a:solidFill>
                    <a:schemeClr val="tx2">
                      <a:lumMod val="50000"/>
                    </a:schemeClr>
                  </a:solidFill>
                </a:rPr>
                <a:t>3</a:t>
              </a:r>
              <a:endParaRPr lang="de-DE" noProof="1">
                <a:solidFill>
                  <a:schemeClr val="tx2">
                    <a:lumMod val="50000"/>
                  </a:schemeClr>
                </a:solidFill>
              </a:endParaRPr>
            </a:p>
          </p:txBody>
        </p:sp>
        <p:sp>
          <p:nvSpPr>
            <p:cNvPr id="20571" name="Text Box 67"/>
            <p:cNvSpPr txBox="1">
              <a:spLocks noChangeArrowheads="1"/>
            </p:cNvSpPr>
            <p:nvPr/>
          </p:nvSpPr>
          <p:spPr bwMode="gray">
            <a:xfrm>
              <a:off x="2769" y="1780"/>
              <a:ext cx="167" cy="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lnSpc>
                  <a:spcPct val="60000"/>
                </a:lnSpc>
                <a:spcBef>
                  <a:spcPct val="50000"/>
                </a:spcBef>
              </a:pPr>
              <a:r>
                <a:rPr lang="de-DE">
                  <a:solidFill>
                    <a:schemeClr val="tx2">
                      <a:lumMod val="50000"/>
                    </a:schemeClr>
                  </a:solidFill>
                </a:rPr>
                <a:t>4</a:t>
              </a:r>
              <a:endParaRPr lang="de-DE" noProof="1">
                <a:solidFill>
                  <a:schemeClr val="tx2">
                    <a:lumMod val="50000"/>
                  </a:schemeClr>
                </a:solidFill>
              </a:endParaRPr>
            </a:p>
          </p:txBody>
        </p:sp>
      </p:grpSp>
      <p:grpSp>
        <p:nvGrpSpPr>
          <p:cNvPr id="6" name="Group 117"/>
          <p:cNvGrpSpPr>
            <a:grpSpLocks/>
          </p:cNvGrpSpPr>
          <p:nvPr/>
        </p:nvGrpSpPr>
        <p:grpSpPr bwMode="auto">
          <a:xfrm>
            <a:off x="3810000" y="2656682"/>
            <a:ext cx="609600" cy="609600"/>
            <a:chOff x="-180" y="2946"/>
            <a:chExt cx="384" cy="384"/>
          </a:xfrm>
        </p:grpSpPr>
        <p:sp>
          <p:nvSpPr>
            <p:cNvPr id="20559" name="Oval 113"/>
            <p:cNvSpPr>
              <a:spLocks noChangeArrowheads="1"/>
            </p:cNvSpPr>
            <p:nvPr/>
          </p:nvSpPr>
          <p:spPr bwMode="auto">
            <a:xfrm>
              <a:off x="-120" y="3006"/>
              <a:ext cx="264" cy="264"/>
            </a:xfrm>
            <a:prstGeom prst="ellipse">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tr-TR">
                <a:solidFill>
                  <a:schemeClr val="tx2">
                    <a:lumMod val="50000"/>
                  </a:schemeClr>
                </a:solidFill>
              </a:endParaRPr>
            </a:p>
          </p:txBody>
        </p:sp>
        <p:sp>
          <p:nvSpPr>
            <p:cNvPr id="20560" name="Oval 115"/>
            <p:cNvSpPr>
              <a:spLocks noChangeArrowheads="1"/>
            </p:cNvSpPr>
            <p:nvPr/>
          </p:nvSpPr>
          <p:spPr bwMode="auto">
            <a:xfrm>
              <a:off x="-44" y="3082"/>
              <a:ext cx="112" cy="112"/>
            </a:xfrm>
            <a:prstGeom prst="ellipse">
              <a:avLst/>
            </a:prstGeom>
            <a:solidFill>
              <a:srgbClr val="BCBCBC"/>
            </a:solidFill>
            <a:ln w="9525">
              <a:solidFill>
                <a:schemeClr val="tx1"/>
              </a:solidFill>
              <a:round/>
              <a:headEnd/>
              <a:tailEnd/>
            </a:ln>
          </p:spPr>
          <p:txBody>
            <a:bodyPr wrap="none" anchor="ctr"/>
            <a:lstStyle/>
            <a:p>
              <a:endParaRPr lang="tr-TR">
                <a:solidFill>
                  <a:schemeClr val="tx2">
                    <a:lumMod val="50000"/>
                  </a:schemeClr>
                </a:solidFill>
              </a:endParaRPr>
            </a:p>
          </p:txBody>
        </p:sp>
        <p:sp>
          <p:nvSpPr>
            <p:cNvPr id="20561" name="Oval 116"/>
            <p:cNvSpPr>
              <a:spLocks noChangeArrowheads="1"/>
            </p:cNvSpPr>
            <p:nvPr/>
          </p:nvSpPr>
          <p:spPr bwMode="auto">
            <a:xfrm>
              <a:off x="-180" y="2946"/>
              <a:ext cx="384" cy="384"/>
            </a:xfrm>
            <a:prstGeom prst="ellipse">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tr-TR">
                <a:solidFill>
                  <a:schemeClr val="tx2">
                    <a:lumMod val="50000"/>
                  </a:schemeClr>
                </a:solidFill>
              </a:endParaRPr>
            </a:p>
          </p:txBody>
        </p:sp>
      </p:grpSp>
      <p:grpSp>
        <p:nvGrpSpPr>
          <p:cNvPr id="7" name="Group 135"/>
          <p:cNvGrpSpPr>
            <a:grpSpLocks/>
          </p:cNvGrpSpPr>
          <p:nvPr/>
        </p:nvGrpSpPr>
        <p:grpSpPr bwMode="auto">
          <a:xfrm>
            <a:off x="4879975" y="2676525"/>
            <a:ext cx="609600" cy="609600"/>
            <a:chOff x="-180" y="2946"/>
            <a:chExt cx="384" cy="384"/>
          </a:xfrm>
        </p:grpSpPr>
        <p:sp>
          <p:nvSpPr>
            <p:cNvPr id="20556" name="Oval 136"/>
            <p:cNvSpPr>
              <a:spLocks noChangeArrowheads="1"/>
            </p:cNvSpPr>
            <p:nvPr/>
          </p:nvSpPr>
          <p:spPr bwMode="auto">
            <a:xfrm>
              <a:off x="-120" y="3006"/>
              <a:ext cx="264" cy="264"/>
            </a:xfrm>
            <a:prstGeom prst="ellipse">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tr-TR">
                <a:solidFill>
                  <a:schemeClr val="tx2">
                    <a:lumMod val="50000"/>
                  </a:schemeClr>
                </a:solidFill>
              </a:endParaRPr>
            </a:p>
          </p:txBody>
        </p:sp>
        <p:sp>
          <p:nvSpPr>
            <p:cNvPr id="20557" name="Oval 137"/>
            <p:cNvSpPr>
              <a:spLocks noChangeArrowheads="1"/>
            </p:cNvSpPr>
            <p:nvPr/>
          </p:nvSpPr>
          <p:spPr bwMode="auto">
            <a:xfrm>
              <a:off x="-44" y="3082"/>
              <a:ext cx="112" cy="112"/>
            </a:xfrm>
            <a:prstGeom prst="ellipse">
              <a:avLst/>
            </a:prstGeom>
            <a:solidFill>
              <a:srgbClr val="5F5F5F"/>
            </a:solidFill>
            <a:ln w="9525">
              <a:solidFill>
                <a:schemeClr val="tx1"/>
              </a:solidFill>
              <a:round/>
              <a:headEnd/>
              <a:tailEnd/>
            </a:ln>
          </p:spPr>
          <p:txBody>
            <a:bodyPr wrap="none" anchor="ctr"/>
            <a:lstStyle/>
            <a:p>
              <a:endParaRPr lang="tr-TR">
                <a:solidFill>
                  <a:schemeClr val="tx2">
                    <a:lumMod val="50000"/>
                  </a:schemeClr>
                </a:solidFill>
              </a:endParaRPr>
            </a:p>
          </p:txBody>
        </p:sp>
        <p:sp>
          <p:nvSpPr>
            <p:cNvPr id="20558" name="Oval 138"/>
            <p:cNvSpPr>
              <a:spLocks noChangeArrowheads="1"/>
            </p:cNvSpPr>
            <p:nvPr/>
          </p:nvSpPr>
          <p:spPr bwMode="auto">
            <a:xfrm>
              <a:off x="-180" y="2946"/>
              <a:ext cx="384" cy="384"/>
            </a:xfrm>
            <a:prstGeom prst="ellipse">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tr-TR">
                <a:solidFill>
                  <a:schemeClr val="tx2">
                    <a:lumMod val="50000"/>
                  </a:schemeClr>
                </a:solidFill>
              </a:endParaRPr>
            </a:p>
          </p:txBody>
        </p:sp>
      </p:grpSp>
      <p:grpSp>
        <p:nvGrpSpPr>
          <p:cNvPr id="8" name="Group 139"/>
          <p:cNvGrpSpPr>
            <a:grpSpLocks/>
          </p:cNvGrpSpPr>
          <p:nvPr/>
        </p:nvGrpSpPr>
        <p:grpSpPr bwMode="auto">
          <a:xfrm>
            <a:off x="4260850" y="3370263"/>
            <a:ext cx="609600" cy="609600"/>
            <a:chOff x="-180" y="2946"/>
            <a:chExt cx="384" cy="384"/>
          </a:xfrm>
        </p:grpSpPr>
        <p:sp>
          <p:nvSpPr>
            <p:cNvPr id="20553" name="Oval 140"/>
            <p:cNvSpPr>
              <a:spLocks noChangeArrowheads="1"/>
            </p:cNvSpPr>
            <p:nvPr/>
          </p:nvSpPr>
          <p:spPr bwMode="auto">
            <a:xfrm>
              <a:off x="-120" y="3006"/>
              <a:ext cx="264" cy="264"/>
            </a:xfrm>
            <a:prstGeom prst="ellipse">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tr-TR">
                <a:solidFill>
                  <a:schemeClr val="tx2">
                    <a:lumMod val="50000"/>
                  </a:schemeClr>
                </a:solidFill>
              </a:endParaRPr>
            </a:p>
          </p:txBody>
        </p:sp>
        <p:sp>
          <p:nvSpPr>
            <p:cNvPr id="20554" name="Oval 141"/>
            <p:cNvSpPr>
              <a:spLocks noChangeArrowheads="1"/>
            </p:cNvSpPr>
            <p:nvPr/>
          </p:nvSpPr>
          <p:spPr bwMode="auto">
            <a:xfrm>
              <a:off x="-44" y="3082"/>
              <a:ext cx="112" cy="112"/>
            </a:xfrm>
            <a:prstGeom prst="ellipse">
              <a:avLst/>
            </a:prstGeom>
            <a:solidFill>
              <a:srgbClr val="6D0303"/>
            </a:solidFill>
            <a:ln w="9525">
              <a:solidFill>
                <a:schemeClr val="tx1"/>
              </a:solidFill>
              <a:round/>
              <a:headEnd/>
              <a:tailEnd/>
            </a:ln>
          </p:spPr>
          <p:txBody>
            <a:bodyPr wrap="none" anchor="ctr"/>
            <a:lstStyle/>
            <a:p>
              <a:endParaRPr lang="tr-TR">
                <a:solidFill>
                  <a:schemeClr val="tx2">
                    <a:lumMod val="50000"/>
                  </a:schemeClr>
                </a:solidFill>
              </a:endParaRPr>
            </a:p>
          </p:txBody>
        </p:sp>
        <p:sp>
          <p:nvSpPr>
            <p:cNvPr id="20555" name="Oval 142"/>
            <p:cNvSpPr>
              <a:spLocks noChangeArrowheads="1"/>
            </p:cNvSpPr>
            <p:nvPr/>
          </p:nvSpPr>
          <p:spPr bwMode="auto">
            <a:xfrm>
              <a:off x="-180" y="2946"/>
              <a:ext cx="384" cy="384"/>
            </a:xfrm>
            <a:prstGeom prst="ellipse">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tr-TR">
                <a:solidFill>
                  <a:schemeClr val="tx2">
                    <a:lumMod val="50000"/>
                  </a:schemeClr>
                </a:solidFill>
              </a:endParaRPr>
            </a:p>
          </p:txBody>
        </p:sp>
      </p:grpSp>
      <p:grpSp>
        <p:nvGrpSpPr>
          <p:cNvPr id="9" name="Group 203"/>
          <p:cNvGrpSpPr>
            <a:grpSpLocks/>
          </p:cNvGrpSpPr>
          <p:nvPr/>
        </p:nvGrpSpPr>
        <p:grpSpPr bwMode="auto">
          <a:xfrm rot="9000762">
            <a:off x="2231049" y="1927406"/>
            <a:ext cx="1655763" cy="1571625"/>
            <a:chOff x="3097" y="1092"/>
            <a:chExt cx="788" cy="748"/>
          </a:xfrm>
        </p:grpSpPr>
        <p:grpSp>
          <p:nvGrpSpPr>
            <p:cNvPr id="20537" name="Group 204"/>
            <p:cNvGrpSpPr>
              <a:grpSpLocks/>
            </p:cNvGrpSpPr>
            <p:nvPr/>
          </p:nvGrpSpPr>
          <p:grpSpPr bwMode="auto">
            <a:xfrm>
              <a:off x="3146" y="1103"/>
              <a:ext cx="739" cy="737"/>
              <a:chOff x="3146" y="1103"/>
              <a:chExt cx="739" cy="737"/>
            </a:xfrm>
          </p:grpSpPr>
          <p:sp>
            <p:nvSpPr>
              <p:cNvPr id="20548" name="Freeform 205"/>
              <p:cNvSpPr>
                <a:spLocks/>
              </p:cNvSpPr>
              <p:nvPr/>
            </p:nvSpPr>
            <p:spPr bwMode="gray">
              <a:xfrm rot="10521890">
                <a:off x="3146" y="1103"/>
                <a:ext cx="371" cy="414"/>
              </a:xfrm>
              <a:custGeom>
                <a:avLst/>
                <a:gdLst>
                  <a:gd name="T0" fmla="*/ 306 w 365"/>
                  <a:gd name="T1" fmla="*/ 321 h 456"/>
                  <a:gd name="T2" fmla="*/ 210 w 365"/>
                  <a:gd name="T3" fmla="*/ 212 h 456"/>
                  <a:gd name="T4" fmla="*/ 23 w 365"/>
                  <a:gd name="T5" fmla="*/ 42 h 456"/>
                  <a:gd name="T6" fmla="*/ 23 w 365"/>
                  <a:gd name="T7" fmla="*/ 86 h 456"/>
                  <a:gd name="T8" fmla="*/ 145 w 365"/>
                  <a:gd name="T9" fmla="*/ 276 h 456"/>
                  <a:gd name="T10" fmla="*/ 238 w 365"/>
                  <a:gd name="T11" fmla="*/ 382 h 456"/>
                  <a:gd name="T12" fmla="*/ 326 w 365"/>
                  <a:gd name="T13" fmla="*/ 451 h 456"/>
                  <a:gd name="T14" fmla="*/ 365 w 365"/>
                  <a:gd name="T15" fmla="*/ 412 h 456"/>
                  <a:gd name="T16" fmla="*/ 306 w 365"/>
                  <a:gd name="T17" fmla="*/ 321 h 45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65"/>
                  <a:gd name="T28" fmla="*/ 0 h 456"/>
                  <a:gd name="T29" fmla="*/ 365 w 365"/>
                  <a:gd name="T30" fmla="*/ 456 h 45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65" h="456">
                    <a:moveTo>
                      <a:pt x="306" y="321"/>
                    </a:moveTo>
                    <a:cubicBezTo>
                      <a:pt x="210" y="212"/>
                      <a:pt x="210" y="212"/>
                      <a:pt x="210" y="212"/>
                    </a:cubicBezTo>
                    <a:cubicBezTo>
                      <a:pt x="23" y="42"/>
                      <a:pt x="23" y="42"/>
                      <a:pt x="23" y="42"/>
                    </a:cubicBezTo>
                    <a:cubicBezTo>
                      <a:pt x="23" y="42"/>
                      <a:pt x="0" y="0"/>
                      <a:pt x="23" y="86"/>
                    </a:cubicBezTo>
                    <a:cubicBezTo>
                      <a:pt x="145" y="276"/>
                      <a:pt x="145" y="276"/>
                      <a:pt x="145" y="276"/>
                    </a:cubicBezTo>
                    <a:cubicBezTo>
                      <a:pt x="238" y="382"/>
                      <a:pt x="238" y="382"/>
                      <a:pt x="238" y="382"/>
                    </a:cubicBezTo>
                    <a:cubicBezTo>
                      <a:pt x="326" y="451"/>
                      <a:pt x="326" y="451"/>
                      <a:pt x="326" y="451"/>
                    </a:cubicBezTo>
                    <a:cubicBezTo>
                      <a:pt x="326" y="451"/>
                      <a:pt x="364" y="456"/>
                      <a:pt x="365" y="412"/>
                    </a:cubicBezTo>
                    <a:lnTo>
                      <a:pt x="306" y="321"/>
                    </a:lnTo>
                    <a:close/>
                  </a:path>
                </a:pathLst>
              </a:custGeom>
              <a:gradFill rotWithShape="1">
                <a:gsLst>
                  <a:gs pos="0">
                    <a:srgbClr val="00060B"/>
                  </a:gs>
                  <a:gs pos="100000">
                    <a:srgbClr val="0061B2"/>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tr-TR">
                  <a:solidFill>
                    <a:schemeClr val="tx2">
                      <a:lumMod val="50000"/>
                    </a:schemeClr>
                  </a:solidFill>
                </a:endParaRPr>
              </a:p>
            </p:txBody>
          </p:sp>
          <p:sp>
            <p:nvSpPr>
              <p:cNvPr id="20549" name="Freeform 206"/>
              <p:cNvSpPr>
                <a:spLocks/>
              </p:cNvSpPr>
              <p:nvPr/>
            </p:nvSpPr>
            <p:spPr bwMode="gray">
              <a:xfrm rot="10521890">
                <a:off x="3376" y="1238"/>
                <a:ext cx="509" cy="347"/>
              </a:xfrm>
              <a:custGeom>
                <a:avLst/>
                <a:gdLst>
                  <a:gd name="T0" fmla="*/ 201 w 501"/>
                  <a:gd name="T1" fmla="*/ 0 h 383"/>
                  <a:gd name="T2" fmla="*/ 27 w 501"/>
                  <a:gd name="T3" fmla="*/ 50 h 383"/>
                  <a:gd name="T4" fmla="*/ 431 w 501"/>
                  <a:gd name="T5" fmla="*/ 383 h 383"/>
                  <a:gd name="T6" fmla="*/ 501 w 501"/>
                  <a:gd name="T7" fmla="*/ 317 h 383"/>
                  <a:gd name="T8" fmla="*/ 201 w 501"/>
                  <a:gd name="T9" fmla="*/ 0 h 383"/>
                  <a:gd name="T10" fmla="*/ 0 60000 65536"/>
                  <a:gd name="T11" fmla="*/ 0 60000 65536"/>
                  <a:gd name="T12" fmla="*/ 0 60000 65536"/>
                  <a:gd name="T13" fmla="*/ 0 60000 65536"/>
                  <a:gd name="T14" fmla="*/ 0 60000 65536"/>
                  <a:gd name="T15" fmla="*/ 0 w 501"/>
                  <a:gd name="T16" fmla="*/ 0 h 383"/>
                  <a:gd name="T17" fmla="*/ 501 w 501"/>
                  <a:gd name="T18" fmla="*/ 383 h 383"/>
                </a:gdLst>
                <a:ahLst/>
                <a:cxnLst>
                  <a:cxn ang="T10">
                    <a:pos x="T0" y="T1"/>
                  </a:cxn>
                  <a:cxn ang="T11">
                    <a:pos x="T2" y="T3"/>
                  </a:cxn>
                  <a:cxn ang="T12">
                    <a:pos x="T4" y="T5"/>
                  </a:cxn>
                  <a:cxn ang="T13">
                    <a:pos x="T6" y="T7"/>
                  </a:cxn>
                  <a:cxn ang="T14">
                    <a:pos x="T8" y="T9"/>
                  </a:cxn>
                </a:cxnLst>
                <a:rect l="T15" t="T16" r="T17" b="T18"/>
                <a:pathLst>
                  <a:path w="501" h="383">
                    <a:moveTo>
                      <a:pt x="201" y="0"/>
                    </a:moveTo>
                    <a:cubicBezTo>
                      <a:pt x="201" y="0"/>
                      <a:pt x="36" y="6"/>
                      <a:pt x="27" y="50"/>
                    </a:cubicBezTo>
                    <a:cubicBezTo>
                      <a:pt x="0" y="179"/>
                      <a:pt x="431" y="383"/>
                      <a:pt x="431" y="383"/>
                    </a:cubicBezTo>
                    <a:cubicBezTo>
                      <a:pt x="501" y="317"/>
                      <a:pt x="501" y="317"/>
                      <a:pt x="501" y="317"/>
                    </a:cubicBezTo>
                    <a:lnTo>
                      <a:pt x="201" y="0"/>
                    </a:lnTo>
                    <a:close/>
                  </a:path>
                </a:pathLst>
              </a:custGeom>
              <a:gradFill rotWithShape="1">
                <a:gsLst>
                  <a:gs pos="0">
                    <a:srgbClr val="69A2E1"/>
                  </a:gs>
                  <a:gs pos="100000">
                    <a:srgbClr val="A4C6ED"/>
                  </a:gs>
                </a:gsLst>
                <a:lin ang="189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tr-TR">
                  <a:solidFill>
                    <a:schemeClr val="tx2">
                      <a:lumMod val="50000"/>
                    </a:schemeClr>
                  </a:solidFill>
                </a:endParaRPr>
              </a:p>
            </p:txBody>
          </p:sp>
          <p:sp>
            <p:nvSpPr>
              <p:cNvPr id="20550" name="Freeform 207"/>
              <p:cNvSpPr>
                <a:spLocks/>
              </p:cNvSpPr>
              <p:nvPr/>
            </p:nvSpPr>
            <p:spPr bwMode="gray">
              <a:xfrm rot="10521890">
                <a:off x="3304" y="1309"/>
                <a:ext cx="389" cy="531"/>
              </a:xfrm>
              <a:custGeom>
                <a:avLst/>
                <a:gdLst>
                  <a:gd name="T0" fmla="*/ 126 w 383"/>
                  <a:gd name="T1" fmla="*/ 5 h 586"/>
                  <a:gd name="T2" fmla="*/ 0 w 383"/>
                  <a:gd name="T3" fmla="*/ 269 h 586"/>
                  <a:gd name="T4" fmla="*/ 300 w 383"/>
                  <a:gd name="T5" fmla="*/ 586 h 586"/>
                  <a:gd name="T6" fmla="*/ 383 w 383"/>
                  <a:gd name="T7" fmla="*/ 442 h 586"/>
                  <a:gd name="T8" fmla="*/ 126 w 383"/>
                  <a:gd name="T9" fmla="*/ 5 h 586"/>
                  <a:gd name="T10" fmla="*/ 0 60000 65536"/>
                  <a:gd name="T11" fmla="*/ 0 60000 65536"/>
                  <a:gd name="T12" fmla="*/ 0 60000 65536"/>
                  <a:gd name="T13" fmla="*/ 0 60000 65536"/>
                  <a:gd name="T14" fmla="*/ 0 60000 65536"/>
                  <a:gd name="T15" fmla="*/ 0 w 383"/>
                  <a:gd name="T16" fmla="*/ 0 h 586"/>
                  <a:gd name="T17" fmla="*/ 383 w 383"/>
                  <a:gd name="T18" fmla="*/ 586 h 586"/>
                </a:gdLst>
                <a:ahLst/>
                <a:cxnLst>
                  <a:cxn ang="T10">
                    <a:pos x="T0" y="T1"/>
                  </a:cxn>
                  <a:cxn ang="T11">
                    <a:pos x="T2" y="T3"/>
                  </a:cxn>
                  <a:cxn ang="T12">
                    <a:pos x="T4" y="T5"/>
                  </a:cxn>
                  <a:cxn ang="T13">
                    <a:pos x="T6" y="T7"/>
                  </a:cxn>
                  <a:cxn ang="T14">
                    <a:pos x="T8" y="T9"/>
                  </a:cxn>
                </a:cxnLst>
                <a:rect l="T15" t="T16" r="T17" b="T18"/>
                <a:pathLst>
                  <a:path w="383" h="586">
                    <a:moveTo>
                      <a:pt x="126" y="5"/>
                    </a:moveTo>
                    <a:cubicBezTo>
                      <a:pt x="53" y="8"/>
                      <a:pt x="0" y="269"/>
                      <a:pt x="0" y="269"/>
                    </a:cubicBezTo>
                    <a:cubicBezTo>
                      <a:pt x="300" y="586"/>
                      <a:pt x="300" y="586"/>
                      <a:pt x="300" y="586"/>
                    </a:cubicBezTo>
                    <a:cubicBezTo>
                      <a:pt x="383" y="442"/>
                      <a:pt x="383" y="442"/>
                      <a:pt x="383" y="442"/>
                    </a:cubicBezTo>
                    <a:cubicBezTo>
                      <a:pt x="383" y="442"/>
                      <a:pt x="252" y="0"/>
                      <a:pt x="126" y="5"/>
                    </a:cubicBezTo>
                    <a:close/>
                  </a:path>
                </a:pathLst>
              </a:custGeom>
              <a:gradFill rotWithShape="1">
                <a:gsLst>
                  <a:gs pos="0">
                    <a:srgbClr val="8CB8E8"/>
                  </a:gs>
                  <a:gs pos="100000">
                    <a:srgbClr val="69A2E1"/>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tr-TR">
                  <a:solidFill>
                    <a:schemeClr val="tx2">
                      <a:lumMod val="50000"/>
                    </a:schemeClr>
                  </a:solidFill>
                </a:endParaRPr>
              </a:p>
            </p:txBody>
          </p:sp>
          <p:sp>
            <p:nvSpPr>
              <p:cNvPr id="20551" name="Freeform 208"/>
              <p:cNvSpPr>
                <a:spLocks/>
              </p:cNvSpPr>
              <p:nvPr/>
            </p:nvSpPr>
            <p:spPr bwMode="gray">
              <a:xfrm rot="10521890">
                <a:off x="3374" y="1172"/>
                <a:ext cx="305" cy="422"/>
              </a:xfrm>
              <a:custGeom>
                <a:avLst/>
                <a:gdLst>
                  <a:gd name="T0" fmla="*/ 0 w 300"/>
                  <a:gd name="T1" fmla="*/ 0 h 466"/>
                  <a:gd name="T2" fmla="*/ 40 w 300"/>
                  <a:gd name="T3" fmla="*/ 280 h 466"/>
                  <a:gd name="T4" fmla="*/ 269 w 300"/>
                  <a:gd name="T5" fmla="*/ 466 h 466"/>
                  <a:gd name="T6" fmla="*/ 300 w 300"/>
                  <a:gd name="T7" fmla="*/ 317 h 466"/>
                  <a:gd name="T8" fmla="*/ 0 w 300"/>
                  <a:gd name="T9" fmla="*/ 0 h 466"/>
                  <a:gd name="T10" fmla="*/ 0 60000 65536"/>
                  <a:gd name="T11" fmla="*/ 0 60000 65536"/>
                  <a:gd name="T12" fmla="*/ 0 60000 65536"/>
                  <a:gd name="T13" fmla="*/ 0 60000 65536"/>
                  <a:gd name="T14" fmla="*/ 0 60000 65536"/>
                  <a:gd name="T15" fmla="*/ 0 w 300"/>
                  <a:gd name="T16" fmla="*/ 0 h 466"/>
                  <a:gd name="T17" fmla="*/ 300 w 300"/>
                  <a:gd name="T18" fmla="*/ 466 h 466"/>
                </a:gdLst>
                <a:ahLst/>
                <a:cxnLst>
                  <a:cxn ang="T10">
                    <a:pos x="T0" y="T1"/>
                  </a:cxn>
                  <a:cxn ang="T11">
                    <a:pos x="T2" y="T3"/>
                  </a:cxn>
                  <a:cxn ang="T12">
                    <a:pos x="T4" y="T5"/>
                  </a:cxn>
                  <a:cxn ang="T13">
                    <a:pos x="T6" y="T7"/>
                  </a:cxn>
                  <a:cxn ang="T14">
                    <a:pos x="T8" y="T9"/>
                  </a:cxn>
                </a:cxnLst>
                <a:rect l="T15" t="T16" r="T17" b="T18"/>
                <a:pathLst>
                  <a:path w="300" h="466">
                    <a:moveTo>
                      <a:pt x="0" y="0"/>
                    </a:moveTo>
                    <a:cubicBezTo>
                      <a:pt x="0" y="0"/>
                      <a:pt x="5" y="219"/>
                      <a:pt x="40" y="280"/>
                    </a:cubicBezTo>
                    <a:cubicBezTo>
                      <a:pt x="77" y="344"/>
                      <a:pt x="269" y="466"/>
                      <a:pt x="269" y="466"/>
                    </a:cubicBezTo>
                    <a:cubicBezTo>
                      <a:pt x="300" y="317"/>
                      <a:pt x="300" y="317"/>
                      <a:pt x="300" y="317"/>
                    </a:cubicBezTo>
                    <a:lnTo>
                      <a:pt x="0" y="0"/>
                    </a:lnTo>
                    <a:close/>
                  </a:path>
                </a:pathLst>
              </a:custGeom>
              <a:gradFill rotWithShape="1">
                <a:gsLst>
                  <a:gs pos="0">
                    <a:srgbClr val="0061B2"/>
                  </a:gs>
                  <a:gs pos="100000">
                    <a:srgbClr val="002D52"/>
                  </a:gs>
                </a:gsLst>
                <a:lin ang="189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tr-TR">
                  <a:solidFill>
                    <a:schemeClr val="tx2">
                      <a:lumMod val="50000"/>
                    </a:schemeClr>
                  </a:solidFill>
                </a:endParaRPr>
              </a:p>
            </p:txBody>
          </p:sp>
          <p:sp>
            <p:nvSpPr>
              <p:cNvPr id="20552" name="Freeform 209"/>
              <p:cNvSpPr>
                <a:spLocks/>
              </p:cNvSpPr>
              <p:nvPr/>
            </p:nvSpPr>
            <p:spPr bwMode="gray">
              <a:xfrm rot="10521890">
                <a:off x="3244" y="1312"/>
                <a:ext cx="441" cy="321"/>
              </a:xfrm>
              <a:custGeom>
                <a:avLst/>
                <a:gdLst>
                  <a:gd name="T0" fmla="*/ 0 w 435"/>
                  <a:gd name="T1" fmla="*/ 37 h 354"/>
                  <a:gd name="T2" fmla="*/ 279 w 435"/>
                  <a:gd name="T3" fmla="*/ 35 h 354"/>
                  <a:gd name="T4" fmla="*/ 435 w 435"/>
                  <a:gd name="T5" fmla="*/ 300 h 354"/>
                  <a:gd name="T6" fmla="*/ 300 w 435"/>
                  <a:gd name="T7" fmla="*/ 354 h 354"/>
                  <a:gd name="T8" fmla="*/ 0 w 435"/>
                  <a:gd name="T9" fmla="*/ 37 h 354"/>
                  <a:gd name="T10" fmla="*/ 0 60000 65536"/>
                  <a:gd name="T11" fmla="*/ 0 60000 65536"/>
                  <a:gd name="T12" fmla="*/ 0 60000 65536"/>
                  <a:gd name="T13" fmla="*/ 0 60000 65536"/>
                  <a:gd name="T14" fmla="*/ 0 60000 65536"/>
                  <a:gd name="T15" fmla="*/ 0 w 435"/>
                  <a:gd name="T16" fmla="*/ 0 h 354"/>
                  <a:gd name="T17" fmla="*/ 435 w 435"/>
                  <a:gd name="T18" fmla="*/ 354 h 354"/>
                </a:gdLst>
                <a:ahLst/>
                <a:cxnLst>
                  <a:cxn ang="T10">
                    <a:pos x="T0" y="T1"/>
                  </a:cxn>
                  <a:cxn ang="T11">
                    <a:pos x="T2" y="T3"/>
                  </a:cxn>
                  <a:cxn ang="T12">
                    <a:pos x="T4" y="T5"/>
                  </a:cxn>
                  <a:cxn ang="T13">
                    <a:pos x="T6" y="T7"/>
                  </a:cxn>
                  <a:cxn ang="T14">
                    <a:pos x="T8" y="T9"/>
                  </a:cxn>
                </a:cxnLst>
                <a:rect l="T15" t="T16" r="T17" b="T18"/>
                <a:pathLst>
                  <a:path w="435" h="354">
                    <a:moveTo>
                      <a:pt x="0" y="37"/>
                    </a:moveTo>
                    <a:cubicBezTo>
                      <a:pt x="0" y="37"/>
                      <a:pt x="219" y="0"/>
                      <a:pt x="279" y="35"/>
                    </a:cubicBezTo>
                    <a:cubicBezTo>
                      <a:pt x="346" y="73"/>
                      <a:pt x="435" y="300"/>
                      <a:pt x="435" y="300"/>
                    </a:cubicBezTo>
                    <a:cubicBezTo>
                      <a:pt x="300" y="354"/>
                      <a:pt x="300" y="354"/>
                      <a:pt x="300" y="354"/>
                    </a:cubicBezTo>
                    <a:lnTo>
                      <a:pt x="0" y="37"/>
                    </a:lnTo>
                    <a:close/>
                  </a:path>
                </a:pathLst>
              </a:custGeom>
              <a:gradFill rotWithShape="1">
                <a:gsLst>
                  <a:gs pos="0">
                    <a:srgbClr val="001D36"/>
                  </a:gs>
                  <a:gs pos="100000">
                    <a:srgbClr val="0061B2"/>
                  </a:gs>
                </a:gsLst>
                <a:lin ang="27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tr-TR">
                  <a:solidFill>
                    <a:schemeClr val="tx2">
                      <a:lumMod val="50000"/>
                    </a:schemeClr>
                  </a:solidFill>
                </a:endParaRPr>
              </a:p>
            </p:txBody>
          </p:sp>
        </p:grpSp>
        <p:grpSp>
          <p:nvGrpSpPr>
            <p:cNvPr id="20538" name="Group 210"/>
            <p:cNvGrpSpPr>
              <a:grpSpLocks/>
            </p:cNvGrpSpPr>
            <p:nvPr/>
          </p:nvGrpSpPr>
          <p:grpSpPr bwMode="auto">
            <a:xfrm>
              <a:off x="3097" y="1092"/>
              <a:ext cx="141" cy="122"/>
              <a:chOff x="3097" y="1092"/>
              <a:chExt cx="141" cy="122"/>
            </a:xfrm>
          </p:grpSpPr>
          <p:sp>
            <p:nvSpPr>
              <p:cNvPr id="20546" name="Freeform 211"/>
              <p:cNvSpPr>
                <a:spLocks/>
              </p:cNvSpPr>
              <p:nvPr/>
            </p:nvSpPr>
            <p:spPr bwMode="gray">
              <a:xfrm rot="10521890">
                <a:off x="3097" y="1092"/>
                <a:ext cx="62" cy="61"/>
              </a:xfrm>
              <a:custGeom>
                <a:avLst/>
                <a:gdLst>
                  <a:gd name="T0" fmla="*/ 61 w 61"/>
                  <a:gd name="T1" fmla="*/ 68 h 68"/>
                  <a:gd name="T2" fmla="*/ 3 w 61"/>
                  <a:gd name="T3" fmla="*/ 16 h 68"/>
                  <a:gd name="T4" fmla="*/ 0 w 61"/>
                  <a:gd name="T5" fmla="*/ 13 h 68"/>
                  <a:gd name="T6" fmla="*/ 8 w 61"/>
                  <a:gd name="T7" fmla="*/ 0 h 68"/>
                  <a:gd name="T8" fmla="*/ 10 w 61"/>
                  <a:gd name="T9" fmla="*/ 3 h 68"/>
                  <a:gd name="T10" fmla="*/ 61 w 61"/>
                  <a:gd name="T11" fmla="*/ 67 h 68"/>
                  <a:gd name="T12" fmla="*/ 61 w 61"/>
                  <a:gd name="T13" fmla="*/ 68 h 68"/>
                  <a:gd name="T14" fmla="*/ 0 60000 65536"/>
                  <a:gd name="T15" fmla="*/ 0 60000 65536"/>
                  <a:gd name="T16" fmla="*/ 0 60000 65536"/>
                  <a:gd name="T17" fmla="*/ 0 60000 65536"/>
                  <a:gd name="T18" fmla="*/ 0 60000 65536"/>
                  <a:gd name="T19" fmla="*/ 0 60000 65536"/>
                  <a:gd name="T20" fmla="*/ 0 60000 65536"/>
                  <a:gd name="T21" fmla="*/ 0 w 61"/>
                  <a:gd name="T22" fmla="*/ 0 h 68"/>
                  <a:gd name="T23" fmla="*/ 61 w 61"/>
                  <a:gd name="T24" fmla="*/ 68 h 6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1" h="68">
                    <a:moveTo>
                      <a:pt x="61" y="68"/>
                    </a:moveTo>
                    <a:cubicBezTo>
                      <a:pt x="3" y="16"/>
                      <a:pt x="3" y="16"/>
                      <a:pt x="3" y="16"/>
                    </a:cubicBezTo>
                    <a:cubicBezTo>
                      <a:pt x="0" y="13"/>
                      <a:pt x="0" y="13"/>
                      <a:pt x="0" y="13"/>
                    </a:cubicBezTo>
                    <a:cubicBezTo>
                      <a:pt x="0" y="13"/>
                      <a:pt x="4" y="4"/>
                      <a:pt x="8" y="0"/>
                    </a:cubicBezTo>
                    <a:cubicBezTo>
                      <a:pt x="10" y="3"/>
                      <a:pt x="10" y="3"/>
                      <a:pt x="10" y="3"/>
                    </a:cubicBezTo>
                    <a:cubicBezTo>
                      <a:pt x="61" y="67"/>
                      <a:pt x="61" y="67"/>
                      <a:pt x="61" y="67"/>
                    </a:cubicBezTo>
                    <a:lnTo>
                      <a:pt x="61" y="68"/>
                    </a:lnTo>
                    <a:close/>
                  </a:path>
                </a:pathLst>
              </a:custGeom>
              <a:gradFill rotWithShape="1">
                <a:gsLst>
                  <a:gs pos="0">
                    <a:srgbClr val="764C00"/>
                  </a:gs>
                  <a:gs pos="100000">
                    <a:srgbClr val="FEA501"/>
                  </a:gs>
                </a:gsLst>
                <a:lin ang="27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tr-TR">
                  <a:solidFill>
                    <a:schemeClr val="tx2">
                      <a:lumMod val="50000"/>
                    </a:schemeClr>
                  </a:solidFill>
                </a:endParaRPr>
              </a:p>
            </p:txBody>
          </p:sp>
          <p:sp>
            <p:nvSpPr>
              <p:cNvPr id="20547" name="Freeform 212"/>
              <p:cNvSpPr>
                <a:spLocks/>
              </p:cNvSpPr>
              <p:nvPr/>
            </p:nvSpPr>
            <p:spPr bwMode="gray">
              <a:xfrm rot="10521890">
                <a:off x="3131" y="1112"/>
                <a:ext cx="107" cy="102"/>
              </a:xfrm>
              <a:custGeom>
                <a:avLst/>
                <a:gdLst>
                  <a:gd name="T0" fmla="*/ 60 w 106"/>
                  <a:gd name="T1" fmla="*/ 0 h 113"/>
                  <a:gd name="T2" fmla="*/ 41 w 106"/>
                  <a:gd name="T3" fmla="*/ 41 h 113"/>
                  <a:gd name="T4" fmla="*/ 0 w 106"/>
                  <a:gd name="T5" fmla="*/ 56 h 113"/>
                  <a:gd name="T6" fmla="*/ 64 w 106"/>
                  <a:gd name="T7" fmla="*/ 106 h 113"/>
                  <a:gd name="T8" fmla="*/ 103 w 106"/>
                  <a:gd name="T9" fmla="*/ 67 h 113"/>
                  <a:gd name="T10" fmla="*/ 60 w 106"/>
                  <a:gd name="T11" fmla="*/ 0 h 113"/>
                  <a:gd name="T12" fmla="*/ 0 60000 65536"/>
                  <a:gd name="T13" fmla="*/ 0 60000 65536"/>
                  <a:gd name="T14" fmla="*/ 0 60000 65536"/>
                  <a:gd name="T15" fmla="*/ 0 60000 65536"/>
                  <a:gd name="T16" fmla="*/ 0 60000 65536"/>
                  <a:gd name="T17" fmla="*/ 0 60000 65536"/>
                  <a:gd name="T18" fmla="*/ 0 w 106"/>
                  <a:gd name="T19" fmla="*/ 0 h 113"/>
                  <a:gd name="T20" fmla="*/ 106 w 106"/>
                  <a:gd name="T21" fmla="*/ 113 h 113"/>
                </a:gdLst>
                <a:ahLst/>
                <a:cxnLst>
                  <a:cxn ang="T12">
                    <a:pos x="T0" y="T1"/>
                  </a:cxn>
                  <a:cxn ang="T13">
                    <a:pos x="T2" y="T3"/>
                  </a:cxn>
                  <a:cxn ang="T14">
                    <a:pos x="T4" y="T5"/>
                  </a:cxn>
                  <a:cxn ang="T15">
                    <a:pos x="T6" y="T7"/>
                  </a:cxn>
                  <a:cxn ang="T16">
                    <a:pos x="T8" y="T9"/>
                  </a:cxn>
                  <a:cxn ang="T17">
                    <a:pos x="T10" y="T11"/>
                  </a:cxn>
                </a:cxnLst>
                <a:rect l="T18" t="T19" r="T20" b="T21"/>
                <a:pathLst>
                  <a:path w="106" h="113">
                    <a:moveTo>
                      <a:pt x="60" y="0"/>
                    </a:moveTo>
                    <a:cubicBezTo>
                      <a:pt x="60" y="0"/>
                      <a:pt x="62" y="20"/>
                      <a:pt x="41" y="41"/>
                    </a:cubicBezTo>
                    <a:cubicBezTo>
                      <a:pt x="17" y="63"/>
                      <a:pt x="0" y="56"/>
                      <a:pt x="0" y="56"/>
                    </a:cubicBezTo>
                    <a:cubicBezTo>
                      <a:pt x="64" y="106"/>
                      <a:pt x="64" y="106"/>
                      <a:pt x="64" y="106"/>
                    </a:cubicBezTo>
                    <a:cubicBezTo>
                      <a:pt x="64" y="106"/>
                      <a:pt x="106" y="113"/>
                      <a:pt x="103" y="67"/>
                    </a:cubicBezTo>
                    <a:lnTo>
                      <a:pt x="60" y="0"/>
                    </a:lnTo>
                    <a:close/>
                  </a:path>
                </a:pathLst>
              </a:custGeom>
              <a:gradFill rotWithShape="1">
                <a:gsLst>
                  <a:gs pos="0">
                    <a:srgbClr val="000000"/>
                  </a:gs>
                  <a:gs pos="100000">
                    <a:srgbClr val="FEA501"/>
                  </a:gs>
                </a:gsLst>
                <a:lin ang="189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tr-TR">
                  <a:solidFill>
                    <a:schemeClr val="tx2">
                      <a:lumMod val="50000"/>
                    </a:schemeClr>
                  </a:solidFill>
                </a:endParaRPr>
              </a:p>
            </p:txBody>
          </p:sp>
        </p:grpSp>
        <p:grpSp>
          <p:nvGrpSpPr>
            <p:cNvPr id="20539" name="Group 213"/>
            <p:cNvGrpSpPr>
              <a:grpSpLocks/>
            </p:cNvGrpSpPr>
            <p:nvPr/>
          </p:nvGrpSpPr>
          <p:grpSpPr bwMode="auto">
            <a:xfrm rot="10521890">
              <a:off x="3137" y="1122"/>
              <a:ext cx="96" cy="86"/>
              <a:chOff x="2760" y="2156"/>
              <a:chExt cx="224" cy="225"/>
            </a:xfrm>
          </p:grpSpPr>
          <p:sp>
            <p:nvSpPr>
              <p:cNvPr id="20540" name="Freeform 214"/>
              <p:cNvSpPr>
                <a:spLocks/>
              </p:cNvSpPr>
              <p:nvPr/>
            </p:nvSpPr>
            <p:spPr bwMode="gray">
              <a:xfrm>
                <a:off x="2781" y="2180"/>
                <a:ext cx="142" cy="130"/>
              </a:xfrm>
              <a:custGeom>
                <a:avLst/>
                <a:gdLst>
                  <a:gd name="T0" fmla="*/ 57 w 60"/>
                  <a:gd name="T1" fmla="*/ 0 h 55"/>
                  <a:gd name="T2" fmla="*/ 41 w 60"/>
                  <a:gd name="T3" fmla="*/ 41 h 55"/>
                  <a:gd name="T4" fmla="*/ 0 w 60"/>
                  <a:gd name="T5" fmla="*/ 50 h 55"/>
                  <a:gd name="T6" fmla="*/ 43 w 60"/>
                  <a:gd name="T7" fmla="*/ 42 h 55"/>
                  <a:gd name="T8" fmla="*/ 57 w 60"/>
                  <a:gd name="T9" fmla="*/ 0 h 55"/>
                  <a:gd name="T10" fmla="*/ 0 60000 65536"/>
                  <a:gd name="T11" fmla="*/ 0 60000 65536"/>
                  <a:gd name="T12" fmla="*/ 0 60000 65536"/>
                  <a:gd name="T13" fmla="*/ 0 60000 65536"/>
                  <a:gd name="T14" fmla="*/ 0 60000 65536"/>
                  <a:gd name="T15" fmla="*/ 0 w 60"/>
                  <a:gd name="T16" fmla="*/ 0 h 55"/>
                  <a:gd name="T17" fmla="*/ 60 w 60"/>
                  <a:gd name="T18" fmla="*/ 55 h 55"/>
                </a:gdLst>
                <a:ahLst/>
                <a:cxnLst>
                  <a:cxn ang="T10">
                    <a:pos x="T0" y="T1"/>
                  </a:cxn>
                  <a:cxn ang="T11">
                    <a:pos x="T2" y="T3"/>
                  </a:cxn>
                  <a:cxn ang="T12">
                    <a:pos x="T4" y="T5"/>
                  </a:cxn>
                  <a:cxn ang="T13">
                    <a:pos x="T6" y="T7"/>
                  </a:cxn>
                  <a:cxn ang="T14">
                    <a:pos x="T8" y="T9"/>
                  </a:cxn>
                </a:cxnLst>
                <a:rect l="T15" t="T16" r="T17" b="T18"/>
                <a:pathLst>
                  <a:path w="60" h="55">
                    <a:moveTo>
                      <a:pt x="57" y="0"/>
                    </a:moveTo>
                    <a:cubicBezTo>
                      <a:pt x="58" y="15"/>
                      <a:pt x="53" y="31"/>
                      <a:pt x="41" y="41"/>
                    </a:cubicBezTo>
                    <a:cubicBezTo>
                      <a:pt x="30" y="51"/>
                      <a:pt x="14" y="53"/>
                      <a:pt x="0" y="50"/>
                    </a:cubicBezTo>
                    <a:cubicBezTo>
                      <a:pt x="14" y="55"/>
                      <a:pt x="31" y="53"/>
                      <a:pt x="43" y="42"/>
                    </a:cubicBezTo>
                    <a:cubicBezTo>
                      <a:pt x="55" y="32"/>
                      <a:pt x="60" y="16"/>
                      <a:pt x="57" y="0"/>
                    </a:cubicBezTo>
                    <a:close/>
                  </a:path>
                </a:pathLst>
              </a:custGeom>
              <a:gradFill rotWithShape="1">
                <a:gsLst>
                  <a:gs pos="0">
                    <a:srgbClr val="001D36"/>
                  </a:gs>
                  <a:gs pos="50000">
                    <a:srgbClr val="0061B2"/>
                  </a:gs>
                  <a:gs pos="100000">
                    <a:srgbClr val="001D36"/>
                  </a:gs>
                </a:gsLst>
                <a:lin ang="189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tr-TR">
                  <a:solidFill>
                    <a:schemeClr val="tx2">
                      <a:lumMod val="50000"/>
                    </a:schemeClr>
                  </a:solidFill>
                </a:endParaRPr>
              </a:p>
            </p:txBody>
          </p:sp>
          <p:sp>
            <p:nvSpPr>
              <p:cNvPr id="20541" name="Freeform 215"/>
              <p:cNvSpPr>
                <a:spLocks/>
              </p:cNvSpPr>
              <p:nvPr/>
            </p:nvSpPr>
            <p:spPr bwMode="gray">
              <a:xfrm>
                <a:off x="2760" y="2156"/>
                <a:ext cx="148" cy="137"/>
              </a:xfrm>
              <a:custGeom>
                <a:avLst/>
                <a:gdLst>
                  <a:gd name="T0" fmla="*/ 60 w 63"/>
                  <a:gd name="T1" fmla="*/ 0 h 58"/>
                  <a:gd name="T2" fmla="*/ 43 w 63"/>
                  <a:gd name="T3" fmla="*/ 43 h 58"/>
                  <a:gd name="T4" fmla="*/ 0 w 63"/>
                  <a:gd name="T5" fmla="*/ 53 h 58"/>
                  <a:gd name="T6" fmla="*/ 45 w 63"/>
                  <a:gd name="T7" fmla="*/ 45 h 58"/>
                  <a:gd name="T8" fmla="*/ 60 w 63"/>
                  <a:gd name="T9" fmla="*/ 0 h 58"/>
                  <a:gd name="T10" fmla="*/ 0 60000 65536"/>
                  <a:gd name="T11" fmla="*/ 0 60000 65536"/>
                  <a:gd name="T12" fmla="*/ 0 60000 65536"/>
                  <a:gd name="T13" fmla="*/ 0 60000 65536"/>
                  <a:gd name="T14" fmla="*/ 0 60000 65536"/>
                  <a:gd name="T15" fmla="*/ 0 w 63"/>
                  <a:gd name="T16" fmla="*/ 0 h 58"/>
                  <a:gd name="T17" fmla="*/ 63 w 63"/>
                  <a:gd name="T18" fmla="*/ 58 h 58"/>
                </a:gdLst>
                <a:ahLst/>
                <a:cxnLst>
                  <a:cxn ang="T10">
                    <a:pos x="T0" y="T1"/>
                  </a:cxn>
                  <a:cxn ang="T11">
                    <a:pos x="T2" y="T3"/>
                  </a:cxn>
                  <a:cxn ang="T12">
                    <a:pos x="T4" y="T5"/>
                  </a:cxn>
                  <a:cxn ang="T13">
                    <a:pos x="T6" y="T7"/>
                  </a:cxn>
                  <a:cxn ang="T14">
                    <a:pos x="T8" y="T9"/>
                  </a:cxn>
                </a:cxnLst>
                <a:rect l="T15" t="T16" r="T17" b="T18"/>
                <a:pathLst>
                  <a:path w="63" h="58">
                    <a:moveTo>
                      <a:pt x="60" y="0"/>
                    </a:moveTo>
                    <a:cubicBezTo>
                      <a:pt x="61" y="16"/>
                      <a:pt x="56" y="33"/>
                      <a:pt x="43" y="43"/>
                    </a:cubicBezTo>
                    <a:cubicBezTo>
                      <a:pt x="31" y="54"/>
                      <a:pt x="15" y="57"/>
                      <a:pt x="0" y="53"/>
                    </a:cubicBezTo>
                    <a:cubicBezTo>
                      <a:pt x="15" y="58"/>
                      <a:pt x="32" y="55"/>
                      <a:pt x="45" y="45"/>
                    </a:cubicBezTo>
                    <a:cubicBezTo>
                      <a:pt x="58" y="34"/>
                      <a:pt x="63" y="17"/>
                      <a:pt x="60" y="0"/>
                    </a:cubicBezTo>
                    <a:close/>
                  </a:path>
                </a:pathLst>
              </a:custGeom>
              <a:gradFill rotWithShape="1">
                <a:gsLst>
                  <a:gs pos="0">
                    <a:srgbClr val="001D36"/>
                  </a:gs>
                  <a:gs pos="50000">
                    <a:srgbClr val="0061B2"/>
                  </a:gs>
                  <a:gs pos="100000">
                    <a:srgbClr val="001D36"/>
                  </a:gs>
                </a:gsLst>
                <a:lin ang="189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tr-TR">
                  <a:solidFill>
                    <a:schemeClr val="tx2">
                      <a:lumMod val="50000"/>
                    </a:schemeClr>
                  </a:solidFill>
                </a:endParaRPr>
              </a:p>
            </p:txBody>
          </p:sp>
          <p:sp>
            <p:nvSpPr>
              <p:cNvPr id="20542" name="Freeform 216"/>
              <p:cNvSpPr>
                <a:spLocks/>
              </p:cNvSpPr>
              <p:nvPr/>
            </p:nvSpPr>
            <p:spPr bwMode="gray">
              <a:xfrm>
                <a:off x="2800" y="2201"/>
                <a:ext cx="137" cy="123"/>
              </a:xfrm>
              <a:custGeom>
                <a:avLst/>
                <a:gdLst>
                  <a:gd name="T0" fmla="*/ 55 w 58"/>
                  <a:gd name="T1" fmla="*/ 0 h 52"/>
                  <a:gd name="T2" fmla="*/ 40 w 58"/>
                  <a:gd name="T3" fmla="*/ 39 h 52"/>
                  <a:gd name="T4" fmla="*/ 0 w 58"/>
                  <a:gd name="T5" fmla="*/ 48 h 52"/>
                  <a:gd name="T6" fmla="*/ 41 w 58"/>
                  <a:gd name="T7" fmla="*/ 40 h 52"/>
                  <a:gd name="T8" fmla="*/ 55 w 58"/>
                  <a:gd name="T9" fmla="*/ 0 h 52"/>
                  <a:gd name="T10" fmla="*/ 0 60000 65536"/>
                  <a:gd name="T11" fmla="*/ 0 60000 65536"/>
                  <a:gd name="T12" fmla="*/ 0 60000 65536"/>
                  <a:gd name="T13" fmla="*/ 0 60000 65536"/>
                  <a:gd name="T14" fmla="*/ 0 60000 65536"/>
                  <a:gd name="T15" fmla="*/ 0 w 58"/>
                  <a:gd name="T16" fmla="*/ 0 h 52"/>
                  <a:gd name="T17" fmla="*/ 58 w 58"/>
                  <a:gd name="T18" fmla="*/ 52 h 52"/>
                </a:gdLst>
                <a:ahLst/>
                <a:cxnLst>
                  <a:cxn ang="T10">
                    <a:pos x="T0" y="T1"/>
                  </a:cxn>
                  <a:cxn ang="T11">
                    <a:pos x="T2" y="T3"/>
                  </a:cxn>
                  <a:cxn ang="T12">
                    <a:pos x="T4" y="T5"/>
                  </a:cxn>
                  <a:cxn ang="T13">
                    <a:pos x="T6" y="T7"/>
                  </a:cxn>
                  <a:cxn ang="T14">
                    <a:pos x="T8" y="T9"/>
                  </a:cxn>
                </a:cxnLst>
                <a:rect l="T15" t="T16" r="T17" b="T18"/>
                <a:pathLst>
                  <a:path w="58" h="52">
                    <a:moveTo>
                      <a:pt x="55" y="0"/>
                    </a:moveTo>
                    <a:cubicBezTo>
                      <a:pt x="57" y="15"/>
                      <a:pt x="52" y="29"/>
                      <a:pt x="40" y="39"/>
                    </a:cubicBezTo>
                    <a:cubicBezTo>
                      <a:pt x="29" y="48"/>
                      <a:pt x="14" y="51"/>
                      <a:pt x="0" y="48"/>
                    </a:cubicBezTo>
                    <a:cubicBezTo>
                      <a:pt x="15" y="52"/>
                      <a:pt x="30" y="50"/>
                      <a:pt x="41" y="40"/>
                    </a:cubicBezTo>
                    <a:cubicBezTo>
                      <a:pt x="53" y="30"/>
                      <a:pt x="58" y="15"/>
                      <a:pt x="55" y="0"/>
                    </a:cubicBezTo>
                    <a:close/>
                  </a:path>
                </a:pathLst>
              </a:custGeom>
              <a:gradFill rotWithShape="1">
                <a:gsLst>
                  <a:gs pos="0">
                    <a:srgbClr val="001D36"/>
                  </a:gs>
                  <a:gs pos="50000">
                    <a:srgbClr val="0061B2"/>
                  </a:gs>
                  <a:gs pos="100000">
                    <a:srgbClr val="001D36"/>
                  </a:gs>
                </a:gsLst>
                <a:lin ang="189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tr-TR">
                  <a:solidFill>
                    <a:schemeClr val="tx2">
                      <a:lumMod val="50000"/>
                    </a:schemeClr>
                  </a:solidFill>
                </a:endParaRPr>
              </a:p>
            </p:txBody>
          </p:sp>
          <p:sp>
            <p:nvSpPr>
              <p:cNvPr id="20543" name="Freeform 217"/>
              <p:cNvSpPr>
                <a:spLocks/>
              </p:cNvSpPr>
              <p:nvPr/>
            </p:nvSpPr>
            <p:spPr bwMode="gray">
              <a:xfrm>
                <a:off x="2856" y="2262"/>
                <a:ext cx="116" cy="104"/>
              </a:xfrm>
              <a:custGeom>
                <a:avLst/>
                <a:gdLst>
                  <a:gd name="T0" fmla="*/ 47 w 49"/>
                  <a:gd name="T1" fmla="*/ 0 h 44"/>
                  <a:gd name="T2" fmla="*/ 34 w 49"/>
                  <a:gd name="T3" fmla="*/ 33 h 44"/>
                  <a:gd name="T4" fmla="*/ 0 w 49"/>
                  <a:gd name="T5" fmla="*/ 40 h 44"/>
                  <a:gd name="T6" fmla="*/ 35 w 49"/>
                  <a:gd name="T7" fmla="*/ 34 h 44"/>
                  <a:gd name="T8" fmla="*/ 47 w 49"/>
                  <a:gd name="T9" fmla="*/ 0 h 44"/>
                  <a:gd name="T10" fmla="*/ 0 60000 65536"/>
                  <a:gd name="T11" fmla="*/ 0 60000 65536"/>
                  <a:gd name="T12" fmla="*/ 0 60000 65536"/>
                  <a:gd name="T13" fmla="*/ 0 60000 65536"/>
                  <a:gd name="T14" fmla="*/ 0 60000 65536"/>
                  <a:gd name="T15" fmla="*/ 0 w 49"/>
                  <a:gd name="T16" fmla="*/ 0 h 44"/>
                  <a:gd name="T17" fmla="*/ 49 w 49"/>
                  <a:gd name="T18" fmla="*/ 44 h 44"/>
                </a:gdLst>
                <a:ahLst/>
                <a:cxnLst>
                  <a:cxn ang="T10">
                    <a:pos x="T0" y="T1"/>
                  </a:cxn>
                  <a:cxn ang="T11">
                    <a:pos x="T2" y="T3"/>
                  </a:cxn>
                  <a:cxn ang="T12">
                    <a:pos x="T4" y="T5"/>
                  </a:cxn>
                  <a:cxn ang="T13">
                    <a:pos x="T6" y="T7"/>
                  </a:cxn>
                  <a:cxn ang="T14">
                    <a:pos x="T8" y="T9"/>
                  </a:cxn>
                </a:cxnLst>
                <a:rect l="T15" t="T16" r="T17" b="T18"/>
                <a:pathLst>
                  <a:path w="49" h="44">
                    <a:moveTo>
                      <a:pt x="47" y="0"/>
                    </a:moveTo>
                    <a:cubicBezTo>
                      <a:pt x="48" y="12"/>
                      <a:pt x="44" y="25"/>
                      <a:pt x="34" y="33"/>
                    </a:cubicBezTo>
                    <a:cubicBezTo>
                      <a:pt x="25" y="41"/>
                      <a:pt x="12" y="43"/>
                      <a:pt x="0" y="40"/>
                    </a:cubicBezTo>
                    <a:cubicBezTo>
                      <a:pt x="12" y="44"/>
                      <a:pt x="25" y="42"/>
                      <a:pt x="35" y="34"/>
                    </a:cubicBezTo>
                    <a:cubicBezTo>
                      <a:pt x="45" y="26"/>
                      <a:pt x="49" y="12"/>
                      <a:pt x="47" y="0"/>
                    </a:cubicBezTo>
                    <a:close/>
                  </a:path>
                </a:pathLst>
              </a:custGeom>
              <a:gradFill rotWithShape="1">
                <a:gsLst>
                  <a:gs pos="0">
                    <a:srgbClr val="001D36"/>
                  </a:gs>
                  <a:gs pos="50000">
                    <a:srgbClr val="0061B2"/>
                  </a:gs>
                  <a:gs pos="100000">
                    <a:srgbClr val="001D36"/>
                  </a:gs>
                </a:gsLst>
                <a:lin ang="189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tr-TR">
                  <a:solidFill>
                    <a:schemeClr val="tx2">
                      <a:lumMod val="50000"/>
                    </a:schemeClr>
                  </a:solidFill>
                </a:endParaRPr>
              </a:p>
            </p:txBody>
          </p:sp>
          <p:sp>
            <p:nvSpPr>
              <p:cNvPr id="20544" name="Freeform 218"/>
              <p:cNvSpPr>
                <a:spLocks/>
              </p:cNvSpPr>
              <p:nvPr/>
            </p:nvSpPr>
            <p:spPr bwMode="gray">
              <a:xfrm>
                <a:off x="2840" y="2244"/>
                <a:ext cx="120" cy="111"/>
              </a:xfrm>
              <a:custGeom>
                <a:avLst/>
                <a:gdLst>
                  <a:gd name="T0" fmla="*/ 49 w 51"/>
                  <a:gd name="T1" fmla="*/ 0 h 47"/>
                  <a:gd name="T2" fmla="*/ 35 w 51"/>
                  <a:gd name="T3" fmla="*/ 35 h 47"/>
                  <a:gd name="T4" fmla="*/ 0 w 51"/>
                  <a:gd name="T5" fmla="*/ 42 h 47"/>
                  <a:gd name="T6" fmla="*/ 37 w 51"/>
                  <a:gd name="T7" fmla="*/ 36 h 47"/>
                  <a:gd name="T8" fmla="*/ 49 w 51"/>
                  <a:gd name="T9" fmla="*/ 0 h 47"/>
                  <a:gd name="T10" fmla="*/ 0 60000 65536"/>
                  <a:gd name="T11" fmla="*/ 0 60000 65536"/>
                  <a:gd name="T12" fmla="*/ 0 60000 65536"/>
                  <a:gd name="T13" fmla="*/ 0 60000 65536"/>
                  <a:gd name="T14" fmla="*/ 0 60000 65536"/>
                  <a:gd name="T15" fmla="*/ 0 w 51"/>
                  <a:gd name="T16" fmla="*/ 0 h 47"/>
                  <a:gd name="T17" fmla="*/ 51 w 51"/>
                  <a:gd name="T18" fmla="*/ 47 h 47"/>
                </a:gdLst>
                <a:ahLst/>
                <a:cxnLst>
                  <a:cxn ang="T10">
                    <a:pos x="T0" y="T1"/>
                  </a:cxn>
                  <a:cxn ang="T11">
                    <a:pos x="T2" y="T3"/>
                  </a:cxn>
                  <a:cxn ang="T12">
                    <a:pos x="T4" y="T5"/>
                  </a:cxn>
                  <a:cxn ang="T13">
                    <a:pos x="T6" y="T7"/>
                  </a:cxn>
                  <a:cxn ang="T14">
                    <a:pos x="T8" y="T9"/>
                  </a:cxn>
                </a:cxnLst>
                <a:rect l="T15" t="T16" r="T17" b="T18"/>
                <a:pathLst>
                  <a:path w="51" h="47">
                    <a:moveTo>
                      <a:pt x="49" y="0"/>
                    </a:moveTo>
                    <a:cubicBezTo>
                      <a:pt x="50" y="13"/>
                      <a:pt x="46" y="26"/>
                      <a:pt x="35" y="35"/>
                    </a:cubicBezTo>
                    <a:cubicBezTo>
                      <a:pt x="26" y="43"/>
                      <a:pt x="12" y="46"/>
                      <a:pt x="0" y="42"/>
                    </a:cubicBezTo>
                    <a:cubicBezTo>
                      <a:pt x="12" y="47"/>
                      <a:pt x="26" y="45"/>
                      <a:pt x="37" y="36"/>
                    </a:cubicBezTo>
                    <a:cubicBezTo>
                      <a:pt x="47" y="27"/>
                      <a:pt x="51" y="13"/>
                      <a:pt x="49" y="0"/>
                    </a:cubicBezTo>
                    <a:close/>
                  </a:path>
                </a:pathLst>
              </a:custGeom>
              <a:gradFill rotWithShape="1">
                <a:gsLst>
                  <a:gs pos="0">
                    <a:srgbClr val="001D36"/>
                  </a:gs>
                  <a:gs pos="50000">
                    <a:srgbClr val="0061B2"/>
                  </a:gs>
                  <a:gs pos="100000">
                    <a:srgbClr val="001D36"/>
                  </a:gs>
                </a:gsLst>
                <a:lin ang="189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tr-TR">
                  <a:solidFill>
                    <a:schemeClr val="tx2">
                      <a:lumMod val="50000"/>
                    </a:schemeClr>
                  </a:solidFill>
                </a:endParaRPr>
              </a:p>
            </p:txBody>
          </p:sp>
          <p:sp>
            <p:nvSpPr>
              <p:cNvPr id="20545" name="Freeform 219"/>
              <p:cNvSpPr>
                <a:spLocks/>
              </p:cNvSpPr>
              <p:nvPr/>
            </p:nvSpPr>
            <p:spPr bwMode="gray">
              <a:xfrm>
                <a:off x="2873" y="2279"/>
                <a:ext cx="111" cy="102"/>
              </a:xfrm>
              <a:custGeom>
                <a:avLst/>
                <a:gdLst>
                  <a:gd name="T0" fmla="*/ 45 w 47"/>
                  <a:gd name="T1" fmla="*/ 0 h 43"/>
                  <a:gd name="T2" fmla="*/ 33 w 47"/>
                  <a:gd name="T3" fmla="*/ 32 h 43"/>
                  <a:gd name="T4" fmla="*/ 0 w 47"/>
                  <a:gd name="T5" fmla="*/ 39 h 43"/>
                  <a:gd name="T6" fmla="*/ 34 w 47"/>
                  <a:gd name="T7" fmla="*/ 33 h 43"/>
                  <a:gd name="T8" fmla="*/ 45 w 47"/>
                  <a:gd name="T9" fmla="*/ 0 h 43"/>
                  <a:gd name="T10" fmla="*/ 0 60000 65536"/>
                  <a:gd name="T11" fmla="*/ 0 60000 65536"/>
                  <a:gd name="T12" fmla="*/ 0 60000 65536"/>
                  <a:gd name="T13" fmla="*/ 0 60000 65536"/>
                  <a:gd name="T14" fmla="*/ 0 60000 65536"/>
                  <a:gd name="T15" fmla="*/ 0 w 47"/>
                  <a:gd name="T16" fmla="*/ 0 h 43"/>
                  <a:gd name="T17" fmla="*/ 47 w 47"/>
                  <a:gd name="T18" fmla="*/ 43 h 43"/>
                </a:gdLst>
                <a:ahLst/>
                <a:cxnLst>
                  <a:cxn ang="T10">
                    <a:pos x="T0" y="T1"/>
                  </a:cxn>
                  <a:cxn ang="T11">
                    <a:pos x="T2" y="T3"/>
                  </a:cxn>
                  <a:cxn ang="T12">
                    <a:pos x="T4" y="T5"/>
                  </a:cxn>
                  <a:cxn ang="T13">
                    <a:pos x="T6" y="T7"/>
                  </a:cxn>
                  <a:cxn ang="T14">
                    <a:pos x="T8" y="T9"/>
                  </a:cxn>
                </a:cxnLst>
                <a:rect l="T15" t="T16" r="T17" b="T18"/>
                <a:pathLst>
                  <a:path w="47" h="43">
                    <a:moveTo>
                      <a:pt x="45" y="0"/>
                    </a:moveTo>
                    <a:cubicBezTo>
                      <a:pt x="46" y="12"/>
                      <a:pt x="42" y="24"/>
                      <a:pt x="33" y="32"/>
                    </a:cubicBezTo>
                    <a:cubicBezTo>
                      <a:pt x="24" y="39"/>
                      <a:pt x="12" y="42"/>
                      <a:pt x="0" y="39"/>
                    </a:cubicBezTo>
                    <a:cubicBezTo>
                      <a:pt x="12" y="43"/>
                      <a:pt x="25" y="41"/>
                      <a:pt x="34" y="33"/>
                    </a:cubicBezTo>
                    <a:cubicBezTo>
                      <a:pt x="43" y="25"/>
                      <a:pt x="47" y="12"/>
                      <a:pt x="45" y="0"/>
                    </a:cubicBezTo>
                    <a:close/>
                  </a:path>
                </a:pathLst>
              </a:custGeom>
              <a:gradFill rotWithShape="1">
                <a:gsLst>
                  <a:gs pos="0">
                    <a:srgbClr val="001D36"/>
                  </a:gs>
                  <a:gs pos="50000">
                    <a:srgbClr val="0061B2"/>
                  </a:gs>
                  <a:gs pos="100000">
                    <a:srgbClr val="001D36"/>
                  </a:gs>
                </a:gsLst>
                <a:lin ang="189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tr-TR">
                  <a:solidFill>
                    <a:schemeClr val="tx2">
                      <a:lumMod val="50000"/>
                    </a:schemeClr>
                  </a:solidFill>
                </a:endParaRPr>
              </a:p>
            </p:txBody>
          </p:sp>
        </p:grpSp>
      </p:grpSp>
      <p:grpSp>
        <p:nvGrpSpPr>
          <p:cNvPr id="13" name="Group 257"/>
          <p:cNvGrpSpPr>
            <a:grpSpLocks/>
          </p:cNvGrpSpPr>
          <p:nvPr/>
        </p:nvGrpSpPr>
        <p:grpSpPr bwMode="auto">
          <a:xfrm>
            <a:off x="5202238" y="1912938"/>
            <a:ext cx="1846262" cy="1365250"/>
            <a:chOff x="3295" y="1211"/>
            <a:chExt cx="1163" cy="860"/>
          </a:xfrm>
        </p:grpSpPr>
        <p:grpSp>
          <p:nvGrpSpPr>
            <p:cNvPr id="20521" name="Group 254"/>
            <p:cNvGrpSpPr>
              <a:grpSpLocks/>
            </p:cNvGrpSpPr>
            <p:nvPr/>
          </p:nvGrpSpPr>
          <p:grpSpPr bwMode="auto">
            <a:xfrm>
              <a:off x="3420" y="1211"/>
              <a:ext cx="1038" cy="860"/>
              <a:chOff x="3420" y="1211"/>
              <a:chExt cx="1038" cy="860"/>
            </a:xfrm>
          </p:grpSpPr>
          <p:sp>
            <p:nvSpPr>
              <p:cNvPr id="20532" name="Freeform 239"/>
              <p:cNvSpPr>
                <a:spLocks/>
              </p:cNvSpPr>
              <p:nvPr/>
            </p:nvSpPr>
            <p:spPr bwMode="gray">
              <a:xfrm rot="7223090">
                <a:off x="3448" y="1520"/>
                <a:ext cx="491" cy="548"/>
              </a:xfrm>
              <a:custGeom>
                <a:avLst/>
                <a:gdLst>
                  <a:gd name="T0" fmla="*/ 306 w 365"/>
                  <a:gd name="T1" fmla="*/ 321 h 456"/>
                  <a:gd name="T2" fmla="*/ 210 w 365"/>
                  <a:gd name="T3" fmla="*/ 212 h 456"/>
                  <a:gd name="T4" fmla="*/ 23 w 365"/>
                  <a:gd name="T5" fmla="*/ 42 h 456"/>
                  <a:gd name="T6" fmla="*/ 23 w 365"/>
                  <a:gd name="T7" fmla="*/ 86 h 456"/>
                  <a:gd name="T8" fmla="*/ 145 w 365"/>
                  <a:gd name="T9" fmla="*/ 276 h 456"/>
                  <a:gd name="T10" fmla="*/ 238 w 365"/>
                  <a:gd name="T11" fmla="*/ 382 h 456"/>
                  <a:gd name="T12" fmla="*/ 326 w 365"/>
                  <a:gd name="T13" fmla="*/ 451 h 456"/>
                  <a:gd name="T14" fmla="*/ 365 w 365"/>
                  <a:gd name="T15" fmla="*/ 412 h 456"/>
                  <a:gd name="T16" fmla="*/ 306 w 365"/>
                  <a:gd name="T17" fmla="*/ 321 h 45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65"/>
                  <a:gd name="T28" fmla="*/ 0 h 456"/>
                  <a:gd name="T29" fmla="*/ 365 w 365"/>
                  <a:gd name="T30" fmla="*/ 456 h 45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65" h="456">
                    <a:moveTo>
                      <a:pt x="306" y="321"/>
                    </a:moveTo>
                    <a:cubicBezTo>
                      <a:pt x="210" y="212"/>
                      <a:pt x="210" y="212"/>
                      <a:pt x="210" y="212"/>
                    </a:cubicBezTo>
                    <a:cubicBezTo>
                      <a:pt x="23" y="42"/>
                      <a:pt x="23" y="42"/>
                      <a:pt x="23" y="42"/>
                    </a:cubicBezTo>
                    <a:cubicBezTo>
                      <a:pt x="23" y="42"/>
                      <a:pt x="0" y="0"/>
                      <a:pt x="23" y="86"/>
                    </a:cubicBezTo>
                    <a:cubicBezTo>
                      <a:pt x="145" y="276"/>
                      <a:pt x="145" y="276"/>
                      <a:pt x="145" y="276"/>
                    </a:cubicBezTo>
                    <a:cubicBezTo>
                      <a:pt x="238" y="382"/>
                      <a:pt x="238" y="382"/>
                      <a:pt x="238" y="382"/>
                    </a:cubicBezTo>
                    <a:cubicBezTo>
                      <a:pt x="326" y="451"/>
                      <a:pt x="326" y="451"/>
                      <a:pt x="326" y="451"/>
                    </a:cubicBezTo>
                    <a:cubicBezTo>
                      <a:pt x="326" y="451"/>
                      <a:pt x="364" y="456"/>
                      <a:pt x="365" y="412"/>
                    </a:cubicBezTo>
                    <a:lnTo>
                      <a:pt x="306" y="321"/>
                    </a:lnTo>
                    <a:close/>
                  </a:path>
                </a:pathLst>
              </a:custGeom>
              <a:gradFill rotWithShape="1">
                <a:gsLst>
                  <a:gs pos="0">
                    <a:srgbClr val="00060B"/>
                  </a:gs>
                  <a:gs pos="100000">
                    <a:srgbClr val="0061B2"/>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tr-TR">
                  <a:solidFill>
                    <a:schemeClr val="tx2">
                      <a:lumMod val="50000"/>
                    </a:schemeClr>
                  </a:solidFill>
                </a:endParaRPr>
              </a:p>
            </p:txBody>
          </p:sp>
          <p:sp>
            <p:nvSpPr>
              <p:cNvPr id="20533" name="Freeform 240"/>
              <p:cNvSpPr>
                <a:spLocks/>
              </p:cNvSpPr>
              <p:nvPr/>
            </p:nvSpPr>
            <p:spPr bwMode="gray">
              <a:xfrm rot="7223090">
                <a:off x="3694" y="1318"/>
                <a:ext cx="674" cy="459"/>
              </a:xfrm>
              <a:custGeom>
                <a:avLst/>
                <a:gdLst>
                  <a:gd name="T0" fmla="*/ 201 w 501"/>
                  <a:gd name="T1" fmla="*/ 0 h 383"/>
                  <a:gd name="T2" fmla="*/ 27 w 501"/>
                  <a:gd name="T3" fmla="*/ 50 h 383"/>
                  <a:gd name="T4" fmla="*/ 431 w 501"/>
                  <a:gd name="T5" fmla="*/ 383 h 383"/>
                  <a:gd name="T6" fmla="*/ 501 w 501"/>
                  <a:gd name="T7" fmla="*/ 317 h 383"/>
                  <a:gd name="T8" fmla="*/ 201 w 501"/>
                  <a:gd name="T9" fmla="*/ 0 h 383"/>
                  <a:gd name="T10" fmla="*/ 0 60000 65536"/>
                  <a:gd name="T11" fmla="*/ 0 60000 65536"/>
                  <a:gd name="T12" fmla="*/ 0 60000 65536"/>
                  <a:gd name="T13" fmla="*/ 0 60000 65536"/>
                  <a:gd name="T14" fmla="*/ 0 60000 65536"/>
                  <a:gd name="T15" fmla="*/ 0 w 501"/>
                  <a:gd name="T16" fmla="*/ 0 h 383"/>
                  <a:gd name="T17" fmla="*/ 501 w 501"/>
                  <a:gd name="T18" fmla="*/ 383 h 383"/>
                </a:gdLst>
                <a:ahLst/>
                <a:cxnLst>
                  <a:cxn ang="T10">
                    <a:pos x="T0" y="T1"/>
                  </a:cxn>
                  <a:cxn ang="T11">
                    <a:pos x="T2" y="T3"/>
                  </a:cxn>
                  <a:cxn ang="T12">
                    <a:pos x="T4" y="T5"/>
                  </a:cxn>
                  <a:cxn ang="T13">
                    <a:pos x="T6" y="T7"/>
                  </a:cxn>
                  <a:cxn ang="T14">
                    <a:pos x="T8" y="T9"/>
                  </a:cxn>
                </a:cxnLst>
                <a:rect l="T15" t="T16" r="T17" b="T18"/>
                <a:pathLst>
                  <a:path w="501" h="383">
                    <a:moveTo>
                      <a:pt x="201" y="0"/>
                    </a:moveTo>
                    <a:cubicBezTo>
                      <a:pt x="201" y="0"/>
                      <a:pt x="36" y="6"/>
                      <a:pt x="27" y="50"/>
                    </a:cubicBezTo>
                    <a:cubicBezTo>
                      <a:pt x="0" y="179"/>
                      <a:pt x="431" y="383"/>
                      <a:pt x="431" y="383"/>
                    </a:cubicBezTo>
                    <a:cubicBezTo>
                      <a:pt x="501" y="317"/>
                      <a:pt x="501" y="317"/>
                      <a:pt x="501" y="317"/>
                    </a:cubicBezTo>
                    <a:lnTo>
                      <a:pt x="201" y="0"/>
                    </a:lnTo>
                    <a:close/>
                  </a:path>
                </a:pathLst>
              </a:custGeom>
              <a:gradFill rotWithShape="1">
                <a:gsLst>
                  <a:gs pos="0">
                    <a:srgbClr val="69A2E1"/>
                  </a:gs>
                  <a:gs pos="100000">
                    <a:srgbClr val="A4C6ED"/>
                  </a:gs>
                </a:gsLst>
                <a:lin ang="189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tr-TR">
                  <a:solidFill>
                    <a:schemeClr val="tx2">
                      <a:lumMod val="50000"/>
                    </a:schemeClr>
                  </a:solidFill>
                </a:endParaRPr>
              </a:p>
            </p:txBody>
          </p:sp>
          <p:sp>
            <p:nvSpPr>
              <p:cNvPr id="20534" name="Freeform 241"/>
              <p:cNvSpPr>
                <a:spLocks/>
              </p:cNvSpPr>
              <p:nvPr/>
            </p:nvSpPr>
            <p:spPr bwMode="gray">
              <a:xfrm rot="7223090">
                <a:off x="3849" y="1463"/>
                <a:ext cx="515" cy="702"/>
              </a:xfrm>
              <a:custGeom>
                <a:avLst/>
                <a:gdLst>
                  <a:gd name="T0" fmla="*/ 126 w 383"/>
                  <a:gd name="T1" fmla="*/ 5 h 586"/>
                  <a:gd name="T2" fmla="*/ 0 w 383"/>
                  <a:gd name="T3" fmla="*/ 269 h 586"/>
                  <a:gd name="T4" fmla="*/ 300 w 383"/>
                  <a:gd name="T5" fmla="*/ 586 h 586"/>
                  <a:gd name="T6" fmla="*/ 383 w 383"/>
                  <a:gd name="T7" fmla="*/ 442 h 586"/>
                  <a:gd name="T8" fmla="*/ 126 w 383"/>
                  <a:gd name="T9" fmla="*/ 5 h 586"/>
                  <a:gd name="T10" fmla="*/ 0 60000 65536"/>
                  <a:gd name="T11" fmla="*/ 0 60000 65536"/>
                  <a:gd name="T12" fmla="*/ 0 60000 65536"/>
                  <a:gd name="T13" fmla="*/ 0 60000 65536"/>
                  <a:gd name="T14" fmla="*/ 0 60000 65536"/>
                  <a:gd name="T15" fmla="*/ 0 w 383"/>
                  <a:gd name="T16" fmla="*/ 0 h 586"/>
                  <a:gd name="T17" fmla="*/ 383 w 383"/>
                  <a:gd name="T18" fmla="*/ 586 h 586"/>
                </a:gdLst>
                <a:ahLst/>
                <a:cxnLst>
                  <a:cxn ang="T10">
                    <a:pos x="T0" y="T1"/>
                  </a:cxn>
                  <a:cxn ang="T11">
                    <a:pos x="T2" y="T3"/>
                  </a:cxn>
                  <a:cxn ang="T12">
                    <a:pos x="T4" y="T5"/>
                  </a:cxn>
                  <a:cxn ang="T13">
                    <a:pos x="T6" y="T7"/>
                  </a:cxn>
                  <a:cxn ang="T14">
                    <a:pos x="T8" y="T9"/>
                  </a:cxn>
                </a:cxnLst>
                <a:rect l="T15" t="T16" r="T17" b="T18"/>
                <a:pathLst>
                  <a:path w="383" h="586">
                    <a:moveTo>
                      <a:pt x="126" y="5"/>
                    </a:moveTo>
                    <a:cubicBezTo>
                      <a:pt x="53" y="8"/>
                      <a:pt x="0" y="269"/>
                      <a:pt x="0" y="269"/>
                    </a:cubicBezTo>
                    <a:cubicBezTo>
                      <a:pt x="300" y="586"/>
                      <a:pt x="300" y="586"/>
                      <a:pt x="300" y="586"/>
                    </a:cubicBezTo>
                    <a:cubicBezTo>
                      <a:pt x="383" y="442"/>
                      <a:pt x="383" y="442"/>
                      <a:pt x="383" y="442"/>
                    </a:cubicBezTo>
                    <a:cubicBezTo>
                      <a:pt x="383" y="442"/>
                      <a:pt x="252" y="0"/>
                      <a:pt x="126" y="5"/>
                    </a:cubicBezTo>
                    <a:close/>
                  </a:path>
                </a:pathLst>
              </a:custGeom>
              <a:gradFill rotWithShape="1">
                <a:gsLst>
                  <a:gs pos="0">
                    <a:srgbClr val="8CB8E8"/>
                  </a:gs>
                  <a:gs pos="100000">
                    <a:srgbClr val="69A2E1"/>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tr-TR">
                  <a:solidFill>
                    <a:schemeClr val="tx2">
                      <a:lumMod val="50000"/>
                    </a:schemeClr>
                  </a:solidFill>
                </a:endParaRPr>
              </a:p>
            </p:txBody>
          </p:sp>
          <p:sp>
            <p:nvSpPr>
              <p:cNvPr id="20535" name="Freeform 242"/>
              <p:cNvSpPr>
                <a:spLocks/>
              </p:cNvSpPr>
              <p:nvPr/>
            </p:nvSpPr>
            <p:spPr bwMode="gray">
              <a:xfrm rot="7223090">
                <a:off x="3719" y="1358"/>
                <a:ext cx="403" cy="559"/>
              </a:xfrm>
              <a:custGeom>
                <a:avLst/>
                <a:gdLst>
                  <a:gd name="T0" fmla="*/ 0 w 300"/>
                  <a:gd name="T1" fmla="*/ 0 h 466"/>
                  <a:gd name="T2" fmla="*/ 40 w 300"/>
                  <a:gd name="T3" fmla="*/ 280 h 466"/>
                  <a:gd name="T4" fmla="*/ 269 w 300"/>
                  <a:gd name="T5" fmla="*/ 466 h 466"/>
                  <a:gd name="T6" fmla="*/ 300 w 300"/>
                  <a:gd name="T7" fmla="*/ 317 h 466"/>
                  <a:gd name="T8" fmla="*/ 0 w 300"/>
                  <a:gd name="T9" fmla="*/ 0 h 466"/>
                  <a:gd name="T10" fmla="*/ 0 60000 65536"/>
                  <a:gd name="T11" fmla="*/ 0 60000 65536"/>
                  <a:gd name="T12" fmla="*/ 0 60000 65536"/>
                  <a:gd name="T13" fmla="*/ 0 60000 65536"/>
                  <a:gd name="T14" fmla="*/ 0 60000 65536"/>
                  <a:gd name="T15" fmla="*/ 0 w 300"/>
                  <a:gd name="T16" fmla="*/ 0 h 466"/>
                  <a:gd name="T17" fmla="*/ 300 w 300"/>
                  <a:gd name="T18" fmla="*/ 466 h 466"/>
                </a:gdLst>
                <a:ahLst/>
                <a:cxnLst>
                  <a:cxn ang="T10">
                    <a:pos x="T0" y="T1"/>
                  </a:cxn>
                  <a:cxn ang="T11">
                    <a:pos x="T2" y="T3"/>
                  </a:cxn>
                  <a:cxn ang="T12">
                    <a:pos x="T4" y="T5"/>
                  </a:cxn>
                  <a:cxn ang="T13">
                    <a:pos x="T6" y="T7"/>
                  </a:cxn>
                  <a:cxn ang="T14">
                    <a:pos x="T8" y="T9"/>
                  </a:cxn>
                </a:cxnLst>
                <a:rect l="T15" t="T16" r="T17" b="T18"/>
                <a:pathLst>
                  <a:path w="300" h="466">
                    <a:moveTo>
                      <a:pt x="0" y="0"/>
                    </a:moveTo>
                    <a:cubicBezTo>
                      <a:pt x="0" y="0"/>
                      <a:pt x="5" y="219"/>
                      <a:pt x="40" y="280"/>
                    </a:cubicBezTo>
                    <a:cubicBezTo>
                      <a:pt x="77" y="344"/>
                      <a:pt x="269" y="466"/>
                      <a:pt x="269" y="466"/>
                    </a:cubicBezTo>
                    <a:cubicBezTo>
                      <a:pt x="300" y="317"/>
                      <a:pt x="300" y="317"/>
                      <a:pt x="300" y="317"/>
                    </a:cubicBezTo>
                    <a:lnTo>
                      <a:pt x="0" y="0"/>
                    </a:lnTo>
                    <a:close/>
                  </a:path>
                </a:pathLst>
              </a:custGeom>
              <a:gradFill rotWithShape="1">
                <a:gsLst>
                  <a:gs pos="0">
                    <a:srgbClr val="0061B2"/>
                  </a:gs>
                  <a:gs pos="100000">
                    <a:srgbClr val="002D52"/>
                  </a:gs>
                </a:gsLst>
                <a:lin ang="189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tr-TR">
                  <a:solidFill>
                    <a:schemeClr val="tx2">
                      <a:lumMod val="50000"/>
                    </a:schemeClr>
                  </a:solidFill>
                </a:endParaRPr>
              </a:p>
            </p:txBody>
          </p:sp>
          <p:sp>
            <p:nvSpPr>
              <p:cNvPr id="20536" name="Freeform 243"/>
              <p:cNvSpPr>
                <a:spLocks/>
              </p:cNvSpPr>
              <p:nvPr/>
            </p:nvSpPr>
            <p:spPr bwMode="gray">
              <a:xfrm rot="7223090">
                <a:off x="3679" y="1560"/>
                <a:ext cx="583" cy="425"/>
              </a:xfrm>
              <a:custGeom>
                <a:avLst/>
                <a:gdLst>
                  <a:gd name="T0" fmla="*/ 0 w 435"/>
                  <a:gd name="T1" fmla="*/ 37 h 354"/>
                  <a:gd name="T2" fmla="*/ 279 w 435"/>
                  <a:gd name="T3" fmla="*/ 35 h 354"/>
                  <a:gd name="T4" fmla="*/ 435 w 435"/>
                  <a:gd name="T5" fmla="*/ 300 h 354"/>
                  <a:gd name="T6" fmla="*/ 300 w 435"/>
                  <a:gd name="T7" fmla="*/ 354 h 354"/>
                  <a:gd name="T8" fmla="*/ 0 w 435"/>
                  <a:gd name="T9" fmla="*/ 37 h 354"/>
                  <a:gd name="T10" fmla="*/ 0 60000 65536"/>
                  <a:gd name="T11" fmla="*/ 0 60000 65536"/>
                  <a:gd name="T12" fmla="*/ 0 60000 65536"/>
                  <a:gd name="T13" fmla="*/ 0 60000 65536"/>
                  <a:gd name="T14" fmla="*/ 0 60000 65536"/>
                  <a:gd name="T15" fmla="*/ 0 w 435"/>
                  <a:gd name="T16" fmla="*/ 0 h 354"/>
                  <a:gd name="T17" fmla="*/ 435 w 435"/>
                  <a:gd name="T18" fmla="*/ 354 h 354"/>
                </a:gdLst>
                <a:ahLst/>
                <a:cxnLst>
                  <a:cxn ang="T10">
                    <a:pos x="T0" y="T1"/>
                  </a:cxn>
                  <a:cxn ang="T11">
                    <a:pos x="T2" y="T3"/>
                  </a:cxn>
                  <a:cxn ang="T12">
                    <a:pos x="T4" y="T5"/>
                  </a:cxn>
                  <a:cxn ang="T13">
                    <a:pos x="T6" y="T7"/>
                  </a:cxn>
                  <a:cxn ang="T14">
                    <a:pos x="T8" y="T9"/>
                  </a:cxn>
                </a:cxnLst>
                <a:rect l="T15" t="T16" r="T17" b="T18"/>
                <a:pathLst>
                  <a:path w="435" h="354">
                    <a:moveTo>
                      <a:pt x="0" y="37"/>
                    </a:moveTo>
                    <a:cubicBezTo>
                      <a:pt x="0" y="37"/>
                      <a:pt x="219" y="0"/>
                      <a:pt x="279" y="35"/>
                    </a:cubicBezTo>
                    <a:cubicBezTo>
                      <a:pt x="346" y="73"/>
                      <a:pt x="435" y="300"/>
                      <a:pt x="435" y="300"/>
                    </a:cubicBezTo>
                    <a:cubicBezTo>
                      <a:pt x="300" y="354"/>
                      <a:pt x="300" y="354"/>
                      <a:pt x="300" y="354"/>
                    </a:cubicBezTo>
                    <a:lnTo>
                      <a:pt x="0" y="37"/>
                    </a:lnTo>
                    <a:close/>
                  </a:path>
                </a:pathLst>
              </a:custGeom>
              <a:gradFill rotWithShape="1">
                <a:gsLst>
                  <a:gs pos="0">
                    <a:srgbClr val="001D36"/>
                  </a:gs>
                  <a:gs pos="100000">
                    <a:srgbClr val="0061B2"/>
                  </a:gs>
                </a:gsLst>
                <a:lin ang="27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tr-TR">
                  <a:solidFill>
                    <a:schemeClr val="tx2">
                      <a:lumMod val="50000"/>
                    </a:schemeClr>
                  </a:solidFill>
                </a:endParaRPr>
              </a:p>
            </p:txBody>
          </p:sp>
        </p:grpSp>
        <p:grpSp>
          <p:nvGrpSpPr>
            <p:cNvPr id="20522" name="Group 256"/>
            <p:cNvGrpSpPr>
              <a:grpSpLocks/>
            </p:cNvGrpSpPr>
            <p:nvPr/>
          </p:nvGrpSpPr>
          <p:grpSpPr bwMode="auto">
            <a:xfrm>
              <a:off x="3295" y="1770"/>
              <a:ext cx="195" cy="143"/>
              <a:chOff x="3295" y="1770"/>
              <a:chExt cx="195" cy="143"/>
            </a:xfrm>
          </p:grpSpPr>
          <p:sp>
            <p:nvSpPr>
              <p:cNvPr id="20530" name="Freeform 245"/>
              <p:cNvSpPr>
                <a:spLocks/>
              </p:cNvSpPr>
              <p:nvPr/>
            </p:nvSpPr>
            <p:spPr bwMode="gray">
              <a:xfrm rot="7223090">
                <a:off x="3295" y="1831"/>
                <a:ext cx="82" cy="81"/>
              </a:xfrm>
              <a:custGeom>
                <a:avLst/>
                <a:gdLst>
                  <a:gd name="T0" fmla="*/ 61 w 61"/>
                  <a:gd name="T1" fmla="*/ 68 h 68"/>
                  <a:gd name="T2" fmla="*/ 3 w 61"/>
                  <a:gd name="T3" fmla="*/ 16 h 68"/>
                  <a:gd name="T4" fmla="*/ 0 w 61"/>
                  <a:gd name="T5" fmla="*/ 13 h 68"/>
                  <a:gd name="T6" fmla="*/ 8 w 61"/>
                  <a:gd name="T7" fmla="*/ 0 h 68"/>
                  <a:gd name="T8" fmla="*/ 10 w 61"/>
                  <a:gd name="T9" fmla="*/ 3 h 68"/>
                  <a:gd name="T10" fmla="*/ 61 w 61"/>
                  <a:gd name="T11" fmla="*/ 67 h 68"/>
                  <a:gd name="T12" fmla="*/ 61 w 61"/>
                  <a:gd name="T13" fmla="*/ 68 h 68"/>
                  <a:gd name="T14" fmla="*/ 0 60000 65536"/>
                  <a:gd name="T15" fmla="*/ 0 60000 65536"/>
                  <a:gd name="T16" fmla="*/ 0 60000 65536"/>
                  <a:gd name="T17" fmla="*/ 0 60000 65536"/>
                  <a:gd name="T18" fmla="*/ 0 60000 65536"/>
                  <a:gd name="T19" fmla="*/ 0 60000 65536"/>
                  <a:gd name="T20" fmla="*/ 0 60000 65536"/>
                  <a:gd name="T21" fmla="*/ 0 w 61"/>
                  <a:gd name="T22" fmla="*/ 0 h 68"/>
                  <a:gd name="T23" fmla="*/ 61 w 61"/>
                  <a:gd name="T24" fmla="*/ 68 h 6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1" h="68">
                    <a:moveTo>
                      <a:pt x="61" y="68"/>
                    </a:moveTo>
                    <a:cubicBezTo>
                      <a:pt x="3" y="16"/>
                      <a:pt x="3" y="16"/>
                      <a:pt x="3" y="16"/>
                    </a:cubicBezTo>
                    <a:cubicBezTo>
                      <a:pt x="0" y="13"/>
                      <a:pt x="0" y="13"/>
                      <a:pt x="0" y="13"/>
                    </a:cubicBezTo>
                    <a:cubicBezTo>
                      <a:pt x="0" y="13"/>
                      <a:pt x="4" y="4"/>
                      <a:pt x="8" y="0"/>
                    </a:cubicBezTo>
                    <a:cubicBezTo>
                      <a:pt x="10" y="3"/>
                      <a:pt x="10" y="3"/>
                      <a:pt x="10" y="3"/>
                    </a:cubicBezTo>
                    <a:cubicBezTo>
                      <a:pt x="61" y="67"/>
                      <a:pt x="61" y="67"/>
                      <a:pt x="61" y="67"/>
                    </a:cubicBezTo>
                    <a:lnTo>
                      <a:pt x="61" y="68"/>
                    </a:lnTo>
                    <a:close/>
                  </a:path>
                </a:pathLst>
              </a:custGeom>
              <a:gradFill rotWithShape="1">
                <a:gsLst>
                  <a:gs pos="0">
                    <a:srgbClr val="764C00"/>
                  </a:gs>
                  <a:gs pos="100000">
                    <a:srgbClr val="FEA501"/>
                  </a:gs>
                </a:gsLst>
                <a:lin ang="27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tr-TR">
                  <a:solidFill>
                    <a:schemeClr val="tx2">
                      <a:lumMod val="50000"/>
                    </a:schemeClr>
                  </a:solidFill>
                </a:endParaRPr>
              </a:p>
            </p:txBody>
          </p:sp>
          <p:sp>
            <p:nvSpPr>
              <p:cNvPr id="20531" name="Freeform 246"/>
              <p:cNvSpPr>
                <a:spLocks/>
              </p:cNvSpPr>
              <p:nvPr/>
            </p:nvSpPr>
            <p:spPr bwMode="gray">
              <a:xfrm rot="7223090">
                <a:off x="3352" y="1773"/>
                <a:ext cx="142" cy="135"/>
              </a:xfrm>
              <a:custGeom>
                <a:avLst/>
                <a:gdLst>
                  <a:gd name="T0" fmla="*/ 60 w 106"/>
                  <a:gd name="T1" fmla="*/ 0 h 113"/>
                  <a:gd name="T2" fmla="*/ 41 w 106"/>
                  <a:gd name="T3" fmla="*/ 41 h 113"/>
                  <a:gd name="T4" fmla="*/ 0 w 106"/>
                  <a:gd name="T5" fmla="*/ 56 h 113"/>
                  <a:gd name="T6" fmla="*/ 64 w 106"/>
                  <a:gd name="T7" fmla="*/ 106 h 113"/>
                  <a:gd name="T8" fmla="*/ 103 w 106"/>
                  <a:gd name="T9" fmla="*/ 67 h 113"/>
                  <a:gd name="T10" fmla="*/ 60 w 106"/>
                  <a:gd name="T11" fmla="*/ 0 h 113"/>
                  <a:gd name="T12" fmla="*/ 0 60000 65536"/>
                  <a:gd name="T13" fmla="*/ 0 60000 65536"/>
                  <a:gd name="T14" fmla="*/ 0 60000 65536"/>
                  <a:gd name="T15" fmla="*/ 0 60000 65536"/>
                  <a:gd name="T16" fmla="*/ 0 60000 65536"/>
                  <a:gd name="T17" fmla="*/ 0 60000 65536"/>
                  <a:gd name="T18" fmla="*/ 0 w 106"/>
                  <a:gd name="T19" fmla="*/ 0 h 113"/>
                  <a:gd name="T20" fmla="*/ 106 w 106"/>
                  <a:gd name="T21" fmla="*/ 113 h 113"/>
                </a:gdLst>
                <a:ahLst/>
                <a:cxnLst>
                  <a:cxn ang="T12">
                    <a:pos x="T0" y="T1"/>
                  </a:cxn>
                  <a:cxn ang="T13">
                    <a:pos x="T2" y="T3"/>
                  </a:cxn>
                  <a:cxn ang="T14">
                    <a:pos x="T4" y="T5"/>
                  </a:cxn>
                  <a:cxn ang="T15">
                    <a:pos x="T6" y="T7"/>
                  </a:cxn>
                  <a:cxn ang="T16">
                    <a:pos x="T8" y="T9"/>
                  </a:cxn>
                  <a:cxn ang="T17">
                    <a:pos x="T10" y="T11"/>
                  </a:cxn>
                </a:cxnLst>
                <a:rect l="T18" t="T19" r="T20" b="T21"/>
                <a:pathLst>
                  <a:path w="106" h="113">
                    <a:moveTo>
                      <a:pt x="60" y="0"/>
                    </a:moveTo>
                    <a:cubicBezTo>
                      <a:pt x="60" y="0"/>
                      <a:pt x="62" y="20"/>
                      <a:pt x="41" y="41"/>
                    </a:cubicBezTo>
                    <a:cubicBezTo>
                      <a:pt x="17" y="63"/>
                      <a:pt x="0" y="56"/>
                      <a:pt x="0" y="56"/>
                    </a:cubicBezTo>
                    <a:cubicBezTo>
                      <a:pt x="64" y="106"/>
                      <a:pt x="64" y="106"/>
                      <a:pt x="64" y="106"/>
                    </a:cubicBezTo>
                    <a:cubicBezTo>
                      <a:pt x="64" y="106"/>
                      <a:pt x="106" y="113"/>
                      <a:pt x="103" y="67"/>
                    </a:cubicBezTo>
                    <a:lnTo>
                      <a:pt x="60" y="0"/>
                    </a:lnTo>
                    <a:close/>
                  </a:path>
                </a:pathLst>
              </a:custGeom>
              <a:gradFill rotWithShape="1">
                <a:gsLst>
                  <a:gs pos="0">
                    <a:srgbClr val="000000"/>
                  </a:gs>
                  <a:gs pos="100000">
                    <a:srgbClr val="FEA501"/>
                  </a:gs>
                </a:gsLst>
                <a:lin ang="189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tr-TR">
                  <a:solidFill>
                    <a:schemeClr val="tx2">
                      <a:lumMod val="50000"/>
                    </a:schemeClr>
                  </a:solidFill>
                </a:endParaRPr>
              </a:p>
            </p:txBody>
          </p:sp>
        </p:grpSp>
        <p:grpSp>
          <p:nvGrpSpPr>
            <p:cNvPr id="20523" name="Group 255"/>
            <p:cNvGrpSpPr>
              <a:grpSpLocks/>
            </p:cNvGrpSpPr>
            <p:nvPr/>
          </p:nvGrpSpPr>
          <p:grpSpPr bwMode="auto">
            <a:xfrm>
              <a:off x="3357" y="1793"/>
              <a:ext cx="133" cy="92"/>
              <a:chOff x="3357" y="1793"/>
              <a:chExt cx="133" cy="92"/>
            </a:xfrm>
          </p:grpSpPr>
          <p:sp>
            <p:nvSpPr>
              <p:cNvPr id="20524" name="Freeform 248"/>
              <p:cNvSpPr>
                <a:spLocks/>
              </p:cNvSpPr>
              <p:nvPr/>
            </p:nvSpPr>
            <p:spPr bwMode="gray">
              <a:xfrm rot="7223090">
                <a:off x="3402" y="1805"/>
                <a:ext cx="80" cy="66"/>
              </a:xfrm>
              <a:custGeom>
                <a:avLst/>
                <a:gdLst>
                  <a:gd name="T0" fmla="*/ 57 w 60"/>
                  <a:gd name="T1" fmla="*/ 0 h 55"/>
                  <a:gd name="T2" fmla="*/ 41 w 60"/>
                  <a:gd name="T3" fmla="*/ 41 h 55"/>
                  <a:gd name="T4" fmla="*/ 0 w 60"/>
                  <a:gd name="T5" fmla="*/ 50 h 55"/>
                  <a:gd name="T6" fmla="*/ 43 w 60"/>
                  <a:gd name="T7" fmla="*/ 42 h 55"/>
                  <a:gd name="T8" fmla="*/ 57 w 60"/>
                  <a:gd name="T9" fmla="*/ 0 h 55"/>
                  <a:gd name="T10" fmla="*/ 0 60000 65536"/>
                  <a:gd name="T11" fmla="*/ 0 60000 65536"/>
                  <a:gd name="T12" fmla="*/ 0 60000 65536"/>
                  <a:gd name="T13" fmla="*/ 0 60000 65536"/>
                  <a:gd name="T14" fmla="*/ 0 60000 65536"/>
                  <a:gd name="T15" fmla="*/ 0 w 60"/>
                  <a:gd name="T16" fmla="*/ 0 h 55"/>
                  <a:gd name="T17" fmla="*/ 60 w 60"/>
                  <a:gd name="T18" fmla="*/ 55 h 55"/>
                </a:gdLst>
                <a:ahLst/>
                <a:cxnLst>
                  <a:cxn ang="T10">
                    <a:pos x="T0" y="T1"/>
                  </a:cxn>
                  <a:cxn ang="T11">
                    <a:pos x="T2" y="T3"/>
                  </a:cxn>
                  <a:cxn ang="T12">
                    <a:pos x="T4" y="T5"/>
                  </a:cxn>
                  <a:cxn ang="T13">
                    <a:pos x="T6" y="T7"/>
                  </a:cxn>
                  <a:cxn ang="T14">
                    <a:pos x="T8" y="T9"/>
                  </a:cxn>
                </a:cxnLst>
                <a:rect l="T15" t="T16" r="T17" b="T18"/>
                <a:pathLst>
                  <a:path w="60" h="55">
                    <a:moveTo>
                      <a:pt x="57" y="0"/>
                    </a:moveTo>
                    <a:cubicBezTo>
                      <a:pt x="58" y="15"/>
                      <a:pt x="53" y="31"/>
                      <a:pt x="41" y="41"/>
                    </a:cubicBezTo>
                    <a:cubicBezTo>
                      <a:pt x="30" y="51"/>
                      <a:pt x="14" y="53"/>
                      <a:pt x="0" y="50"/>
                    </a:cubicBezTo>
                    <a:cubicBezTo>
                      <a:pt x="14" y="55"/>
                      <a:pt x="31" y="53"/>
                      <a:pt x="43" y="42"/>
                    </a:cubicBezTo>
                    <a:cubicBezTo>
                      <a:pt x="55" y="32"/>
                      <a:pt x="60" y="16"/>
                      <a:pt x="57" y="0"/>
                    </a:cubicBezTo>
                    <a:close/>
                  </a:path>
                </a:pathLst>
              </a:custGeom>
              <a:gradFill rotWithShape="1">
                <a:gsLst>
                  <a:gs pos="0">
                    <a:srgbClr val="001D36"/>
                  </a:gs>
                  <a:gs pos="50000">
                    <a:srgbClr val="0061B2"/>
                  </a:gs>
                  <a:gs pos="100000">
                    <a:srgbClr val="001D36"/>
                  </a:gs>
                </a:gsLst>
                <a:lin ang="189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tr-TR">
                  <a:solidFill>
                    <a:schemeClr val="tx2">
                      <a:lumMod val="50000"/>
                    </a:schemeClr>
                  </a:solidFill>
                </a:endParaRPr>
              </a:p>
            </p:txBody>
          </p:sp>
          <p:sp>
            <p:nvSpPr>
              <p:cNvPr id="20525" name="Freeform 249"/>
              <p:cNvSpPr>
                <a:spLocks/>
              </p:cNvSpPr>
              <p:nvPr/>
            </p:nvSpPr>
            <p:spPr bwMode="gray">
              <a:xfrm rot="7223090">
                <a:off x="3414" y="1800"/>
                <a:ext cx="84" cy="69"/>
              </a:xfrm>
              <a:custGeom>
                <a:avLst/>
                <a:gdLst>
                  <a:gd name="T0" fmla="*/ 60 w 63"/>
                  <a:gd name="T1" fmla="*/ 0 h 58"/>
                  <a:gd name="T2" fmla="*/ 43 w 63"/>
                  <a:gd name="T3" fmla="*/ 43 h 58"/>
                  <a:gd name="T4" fmla="*/ 0 w 63"/>
                  <a:gd name="T5" fmla="*/ 53 h 58"/>
                  <a:gd name="T6" fmla="*/ 45 w 63"/>
                  <a:gd name="T7" fmla="*/ 45 h 58"/>
                  <a:gd name="T8" fmla="*/ 60 w 63"/>
                  <a:gd name="T9" fmla="*/ 0 h 58"/>
                  <a:gd name="T10" fmla="*/ 0 60000 65536"/>
                  <a:gd name="T11" fmla="*/ 0 60000 65536"/>
                  <a:gd name="T12" fmla="*/ 0 60000 65536"/>
                  <a:gd name="T13" fmla="*/ 0 60000 65536"/>
                  <a:gd name="T14" fmla="*/ 0 60000 65536"/>
                  <a:gd name="T15" fmla="*/ 0 w 63"/>
                  <a:gd name="T16" fmla="*/ 0 h 58"/>
                  <a:gd name="T17" fmla="*/ 63 w 63"/>
                  <a:gd name="T18" fmla="*/ 58 h 58"/>
                </a:gdLst>
                <a:ahLst/>
                <a:cxnLst>
                  <a:cxn ang="T10">
                    <a:pos x="T0" y="T1"/>
                  </a:cxn>
                  <a:cxn ang="T11">
                    <a:pos x="T2" y="T3"/>
                  </a:cxn>
                  <a:cxn ang="T12">
                    <a:pos x="T4" y="T5"/>
                  </a:cxn>
                  <a:cxn ang="T13">
                    <a:pos x="T6" y="T7"/>
                  </a:cxn>
                  <a:cxn ang="T14">
                    <a:pos x="T8" y="T9"/>
                  </a:cxn>
                </a:cxnLst>
                <a:rect l="T15" t="T16" r="T17" b="T18"/>
                <a:pathLst>
                  <a:path w="63" h="58">
                    <a:moveTo>
                      <a:pt x="60" y="0"/>
                    </a:moveTo>
                    <a:cubicBezTo>
                      <a:pt x="61" y="16"/>
                      <a:pt x="56" y="33"/>
                      <a:pt x="43" y="43"/>
                    </a:cubicBezTo>
                    <a:cubicBezTo>
                      <a:pt x="31" y="54"/>
                      <a:pt x="15" y="57"/>
                      <a:pt x="0" y="53"/>
                    </a:cubicBezTo>
                    <a:cubicBezTo>
                      <a:pt x="15" y="58"/>
                      <a:pt x="32" y="55"/>
                      <a:pt x="45" y="45"/>
                    </a:cubicBezTo>
                    <a:cubicBezTo>
                      <a:pt x="58" y="34"/>
                      <a:pt x="63" y="17"/>
                      <a:pt x="60" y="0"/>
                    </a:cubicBezTo>
                    <a:close/>
                  </a:path>
                </a:pathLst>
              </a:custGeom>
              <a:gradFill rotWithShape="1">
                <a:gsLst>
                  <a:gs pos="0">
                    <a:srgbClr val="001D36"/>
                  </a:gs>
                  <a:gs pos="50000">
                    <a:srgbClr val="0061B2"/>
                  </a:gs>
                  <a:gs pos="100000">
                    <a:srgbClr val="001D36"/>
                  </a:gs>
                </a:gsLst>
                <a:lin ang="189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tr-TR">
                  <a:solidFill>
                    <a:schemeClr val="tx2">
                      <a:lumMod val="50000"/>
                    </a:schemeClr>
                  </a:solidFill>
                </a:endParaRPr>
              </a:p>
            </p:txBody>
          </p:sp>
          <p:sp>
            <p:nvSpPr>
              <p:cNvPr id="20526" name="Freeform 250"/>
              <p:cNvSpPr>
                <a:spLocks/>
              </p:cNvSpPr>
              <p:nvPr/>
            </p:nvSpPr>
            <p:spPr bwMode="gray">
              <a:xfrm rot="7223090">
                <a:off x="3390" y="1811"/>
                <a:ext cx="77" cy="62"/>
              </a:xfrm>
              <a:custGeom>
                <a:avLst/>
                <a:gdLst>
                  <a:gd name="T0" fmla="*/ 55 w 58"/>
                  <a:gd name="T1" fmla="*/ 0 h 52"/>
                  <a:gd name="T2" fmla="*/ 40 w 58"/>
                  <a:gd name="T3" fmla="*/ 39 h 52"/>
                  <a:gd name="T4" fmla="*/ 0 w 58"/>
                  <a:gd name="T5" fmla="*/ 48 h 52"/>
                  <a:gd name="T6" fmla="*/ 41 w 58"/>
                  <a:gd name="T7" fmla="*/ 40 h 52"/>
                  <a:gd name="T8" fmla="*/ 55 w 58"/>
                  <a:gd name="T9" fmla="*/ 0 h 52"/>
                  <a:gd name="T10" fmla="*/ 0 60000 65536"/>
                  <a:gd name="T11" fmla="*/ 0 60000 65536"/>
                  <a:gd name="T12" fmla="*/ 0 60000 65536"/>
                  <a:gd name="T13" fmla="*/ 0 60000 65536"/>
                  <a:gd name="T14" fmla="*/ 0 60000 65536"/>
                  <a:gd name="T15" fmla="*/ 0 w 58"/>
                  <a:gd name="T16" fmla="*/ 0 h 52"/>
                  <a:gd name="T17" fmla="*/ 58 w 58"/>
                  <a:gd name="T18" fmla="*/ 52 h 52"/>
                </a:gdLst>
                <a:ahLst/>
                <a:cxnLst>
                  <a:cxn ang="T10">
                    <a:pos x="T0" y="T1"/>
                  </a:cxn>
                  <a:cxn ang="T11">
                    <a:pos x="T2" y="T3"/>
                  </a:cxn>
                  <a:cxn ang="T12">
                    <a:pos x="T4" y="T5"/>
                  </a:cxn>
                  <a:cxn ang="T13">
                    <a:pos x="T6" y="T7"/>
                  </a:cxn>
                  <a:cxn ang="T14">
                    <a:pos x="T8" y="T9"/>
                  </a:cxn>
                </a:cxnLst>
                <a:rect l="T15" t="T16" r="T17" b="T18"/>
                <a:pathLst>
                  <a:path w="58" h="52">
                    <a:moveTo>
                      <a:pt x="55" y="0"/>
                    </a:moveTo>
                    <a:cubicBezTo>
                      <a:pt x="57" y="15"/>
                      <a:pt x="52" y="29"/>
                      <a:pt x="40" y="39"/>
                    </a:cubicBezTo>
                    <a:cubicBezTo>
                      <a:pt x="29" y="48"/>
                      <a:pt x="14" y="51"/>
                      <a:pt x="0" y="48"/>
                    </a:cubicBezTo>
                    <a:cubicBezTo>
                      <a:pt x="15" y="52"/>
                      <a:pt x="30" y="50"/>
                      <a:pt x="41" y="40"/>
                    </a:cubicBezTo>
                    <a:cubicBezTo>
                      <a:pt x="53" y="30"/>
                      <a:pt x="58" y="15"/>
                      <a:pt x="55" y="0"/>
                    </a:cubicBezTo>
                    <a:close/>
                  </a:path>
                </a:pathLst>
              </a:custGeom>
              <a:gradFill rotWithShape="1">
                <a:gsLst>
                  <a:gs pos="0">
                    <a:srgbClr val="001D36"/>
                  </a:gs>
                  <a:gs pos="50000">
                    <a:srgbClr val="0061B2"/>
                  </a:gs>
                  <a:gs pos="100000">
                    <a:srgbClr val="001D36"/>
                  </a:gs>
                </a:gsLst>
                <a:lin ang="189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tr-TR">
                  <a:solidFill>
                    <a:schemeClr val="tx2">
                      <a:lumMod val="50000"/>
                    </a:schemeClr>
                  </a:solidFill>
                </a:endParaRPr>
              </a:p>
            </p:txBody>
          </p:sp>
          <p:sp>
            <p:nvSpPr>
              <p:cNvPr id="20527" name="Freeform 251"/>
              <p:cNvSpPr>
                <a:spLocks/>
              </p:cNvSpPr>
              <p:nvPr/>
            </p:nvSpPr>
            <p:spPr bwMode="gray">
              <a:xfrm rot="7223090">
                <a:off x="3361" y="1825"/>
                <a:ext cx="66" cy="52"/>
              </a:xfrm>
              <a:custGeom>
                <a:avLst/>
                <a:gdLst>
                  <a:gd name="T0" fmla="*/ 47 w 49"/>
                  <a:gd name="T1" fmla="*/ 0 h 44"/>
                  <a:gd name="T2" fmla="*/ 34 w 49"/>
                  <a:gd name="T3" fmla="*/ 33 h 44"/>
                  <a:gd name="T4" fmla="*/ 0 w 49"/>
                  <a:gd name="T5" fmla="*/ 40 h 44"/>
                  <a:gd name="T6" fmla="*/ 35 w 49"/>
                  <a:gd name="T7" fmla="*/ 34 h 44"/>
                  <a:gd name="T8" fmla="*/ 47 w 49"/>
                  <a:gd name="T9" fmla="*/ 0 h 44"/>
                  <a:gd name="T10" fmla="*/ 0 60000 65536"/>
                  <a:gd name="T11" fmla="*/ 0 60000 65536"/>
                  <a:gd name="T12" fmla="*/ 0 60000 65536"/>
                  <a:gd name="T13" fmla="*/ 0 60000 65536"/>
                  <a:gd name="T14" fmla="*/ 0 60000 65536"/>
                  <a:gd name="T15" fmla="*/ 0 w 49"/>
                  <a:gd name="T16" fmla="*/ 0 h 44"/>
                  <a:gd name="T17" fmla="*/ 49 w 49"/>
                  <a:gd name="T18" fmla="*/ 44 h 44"/>
                </a:gdLst>
                <a:ahLst/>
                <a:cxnLst>
                  <a:cxn ang="T10">
                    <a:pos x="T0" y="T1"/>
                  </a:cxn>
                  <a:cxn ang="T11">
                    <a:pos x="T2" y="T3"/>
                  </a:cxn>
                  <a:cxn ang="T12">
                    <a:pos x="T4" y="T5"/>
                  </a:cxn>
                  <a:cxn ang="T13">
                    <a:pos x="T6" y="T7"/>
                  </a:cxn>
                  <a:cxn ang="T14">
                    <a:pos x="T8" y="T9"/>
                  </a:cxn>
                </a:cxnLst>
                <a:rect l="T15" t="T16" r="T17" b="T18"/>
                <a:pathLst>
                  <a:path w="49" h="44">
                    <a:moveTo>
                      <a:pt x="47" y="0"/>
                    </a:moveTo>
                    <a:cubicBezTo>
                      <a:pt x="48" y="12"/>
                      <a:pt x="44" y="25"/>
                      <a:pt x="34" y="33"/>
                    </a:cubicBezTo>
                    <a:cubicBezTo>
                      <a:pt x="25" y="41"/>
                      <a:pt x="12" y="43"/>
                      <a:pt x="0" y="40"/>
                    </a:cubicBezTo>
                    <a:cubicBezTo>
                      <a:pt x="12" y="44"/>
                      <a:pt x="25" y="42"/>
                      <a:pt x="35" y="34"/>
                    </a:cubicBezTo>
                    <a:cubicBezTo>
                      <a:pt x="45" y="26"/>
                      <a:pt x="49" y="12"/>
                      <a:pt x="47" y="0"/>
                    </a:cubicBezTo>
                    <a:close/>
                  </a:path>
                </a:pathLst>
              </a:custGeom>
              <a:gradFill rotWithShape="1">
                <a:gsLst>
                  <a:gs pos="0">
                    <a:srgbClr val="001D36"/>
                  </a:gs>
                  <a:gs pos="50000">
                    <a:srgbClr val="0061B2"/>
                  </a:gs>
                  <a:gs pos="100000">
                    <a:srgbClr val="001D36"/>
                  </a:gs>
                </a:gsLst>
                <a:lin ang="189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tr-TR">
                  <a:solidFill>
                    <a:schemeClr val="tx2">
                      <a:lumMod val="50000"/>
                    </a:schemeClr>
                  </a:solidFill>
                </a:endParaRPr>
              </a:p>
            </p:txBody>
          </p:sp>
          <p:sp>
            <p:nvSpPr>
              <p:cNvPr id="20528" name="Freeform 252"/>
              <p:cNvSpPr>
                <a:spLocks/>
              </p:cNvSpPr>
              <p:nvPr/>
            </p:nvSpPr>
            <p:spPr bwMode="gray">
              <a:xfrm rot="7223090">
                <a:off x="3370" y="1819"/>
                <a:ext cx="68" cy="56"/>
              </a:xfrm>
              <a:custGeom>
                <a:avLst/>
                <a:gdLst>
                  <a:gd name="T0" fmla="*/ 49 w 51"/>
                  <a:gd name="T1" fmla="*/ 0 h 47"/>
                  <a:gd name="T2" fmla="*/ 35 w 51"/>
                  <a:gd name="T3" fmla="*/ 35 h 47"/>
                  <a:gd name="T4" fmla="*/ 0 w 51"/>
                  <a:gd name="T5" fmla="*/ 42 h 47"/>
                  <a:gd name="T6" fmla="*/ 37 w 51"/>
                  <a:gd name="T7" fmla="*/ 36 h 47"/>
                  <a:gd name="T8" fmla="*/ 49 w 51"/>
                  <a:gd name="T9" fmla="*/ 0 h 47"/>
                  <a:gd name="T10" fmla="*/ 0 60000 65536"/>
                  <a:gd name="T11" fmla="*/ 0 60000 65536"/>
                  <a:gd name="T12" fmla="*/ 0 60000 65536"/>
                  <a:gd name="T13" fmla="*/ 0 60000 65536"/>
                  <a:gd name="T14" fmla="*/ 0 60000 65536"/>
                  <a:gd name="T15" fmla="*/ 0 w 51"/>
                  <a:gd name="T16" fmla="*/ 0 h 47"/>
                  <a:gd name="T17" fmla="*/ 51 w 51"/>
                  <a:gd name="T18" fmla="*/ 47 h 47"/>
                </a:gdLst>
                <a:ahLst/>
                <a:cxnLst>
                  <a:cxn ang="T10">
                    <a:pos x="T0" y="T1"/>
                  </a:cxn>
                  <a:cxn ang="T11">
                    <a:pos x="T2" y="T3"/>
                  </a:cxn>
                  <a:cxn ang="T12">
                    <a:pos x="T4" y="T5"/>
                  </a:cxn>
                  <a:cxn ang="T13">
                    <a:pos x="T6" y="T7"/>
                  </a:cxn>
                  <a:cxn ang="T14">
                    <a:pos x="T8" y="T9"/>
                  </a:cxn>
                </a:cxnLst>
                <a:rect l="T15" t="T16" r="T17" b="T18"/>
                <a:pathLst>
                  <a:path w="51" h="47">
                    <a:moveTo>
                      <a:pt x="49" y="0"/>
                    </a:moveTo>
                    <a:cubicBezTo>
                      <a:pt x="50" y="13"/>
                      <a:pt x="46" y="26"/>
                      <a:pt x="35" y="35"/>
                    </a:cubicBezTo>
                    <a:cubicBezTo>
                      <a:pt x="26" y="43"/>
                      <a:pt x="12" y="46"/>
                      <a:pt x="0" y="42"/>
                    </a:cubicBezTo>
                    <a:cubicBezTo>
                      <a:pt x="12" y="47"/>
                      <a:pt x="26" y="45"/>
                      <a:pt x="37" y="36"/>
                    </a:cubicBezTo>
                    <a:cubicBezTo>
                      <a:pt x="47" y="27"/>
                      <a:pt x="51" y="13"/>
                      <a:pt x="49" y="0"/>
                    </a:cubicBezTo>
                    <a:close/>
                  </a:path>
                </a:pathLst>
              </a:custGeom>
              <a:gradFill rotWithShape="1">
                <a:gsLst>
                  <a:gs pos="0">
                    <a:srgbClr val="001D36"/>
                  </a:gs>
                  <a:gs pos="50000">
                    <a:srgbClr val="0061B2"/>
                  </a:gs>
                  <a:gs pos="100000">
                    <a:srgbClr val="001D36"/>
                  </a:gs>
                </a:gsLst>
                <a:lin ang="189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tr-TR">
                  <a:solidFill>
                    <a:schemeClr val="tx2">
                      <a:lumMod val="50000"/>
                    </a:schemeClr>
                  </a:solidFill>
                </a:endParaRPr>
              </a:p>
            </p:txBody>
          </p:sp>
          <p:sp>
            <p:nvSpPr>
              <p:cNvPr id="20529" name="Freeform 253"/>
              <p:cNvSpPr>
                <a:spLocks/>
              </p:cNvSpPr>
              <p:nvPr/>
            </p:nvSpPr>
            <p:spPr bwMode="gray">
              <a:xfrm rot="7223090">
                <a:off x="3351" y="1828"/>
                <a:ext cx="63" cy="52"/>
              </a:xfrm>
              <a:custGeom>
                <a:avLst/>
                <a:gdLst>
                  <a:gd name="T0" fmla="*/ 45 w 47"/>
                  <a:gd name="T1" fmla="*/ 0 h 43"/>
                  <a:gd name="T2" fmla="*/ 33 w 47"/>
                  <a:gd name="T3" fmla="*/ 32 h 43"/>
                  <a:gd name="T4" fmla="*/ 0 w 47"/>
                  <a:gd name="T5" fmla="*/ 39 h 43"/>
                  <a:gd name="T6" fmla="*/ 34 w 47"/>
                  <a:gd name="T7" fmla="*/ 33 h 43"/>
                  <a:gd name="T8" fmla="*/ 45 w 47"/>
                  <a:gd name="T9" fmla="*/ 0 h 43"/>
                  <a:gd name="T10" fmla="*/ 0 60000 65536"/>
                  <a:gd name="T11" fmla="*/ 0 60000 65536"/>
                  <a:gd name="T12" fmla="*/ 0 60000 65536"/>
                  <a:gd name="T13" fmla="*/ 0 60000 65536"/>
                  <a:gd name="T14" fmla="*/ 0 60000 65536"/>
                  <a:gd name="T15" fmla="*/ 0 w 47"/>
                  <a:gd name="T16" fmla="*/ 0 h 43"/>
                  <a:gd name="T17" fmla="*/ 47 w 47"/>
                  <a:gd name="T18" fmla="*/ 43 h 43"/>
                </a:gdLst>
                <a:ahLst/>
                <a:cxnLst>
                  <a:cxn ang="T10">
                    <a:pos x="T0" y="T1"/>
                  </a:cxn>
                  <a:cxn ang="T11">
                    <a:pos x="T2" y="T3"/>
                  </a:cxn>
                  <a:cxn ang="T12">
                    <a:pos x="T4" y="T5"/>
                  </a:cxn>
                  <a:cxn ang="T13">
                    <a:pos x="T6" y="T7"/>
                  </a:cxn>
                  <a:cxn ang="T14">
                    <a:pos x="T8" y="T9"/>
                  </a:cxn>
                </a:cxnLst>
                <a:rect l="T15" t="T16" r="T17" b="T18"/>
                <a:pathLst>
                  <a:path w="47" h="43">
                    <a:moveTo>
                      <a:pt x="45" y="0"/>
                    </a:moveTo>
                    <a:cubicBezTo>
                      <a:pt x="46" y="12"/>
                      <a:pt x="42" y="24"/>
                      <a:pt x="33" y="32"/>
                    </a:cubicBezTo>
                    <a:cubicBezTo>
                      <a:pt x="24" y="39"/>
                      <a:pt x="12" y="42"/>
                      <a:pt x="0" y="39"/>
                    </a:cubicBezTo>
                    <a:cubicBezTo>
                      <a:pt x="12" y="43"/>
                      <a:pt x="25" y="41"/>
                      <a:pt x="34" y="33"/>
                    </a:cubicBezTo>
                    <a:cubicBezTo>
                      <a:pt x="43" y="25"/>
                      <a:pt x="47" y="12"/>
                      <a:pt x="45" y="0"/>
                    </a:cubicBezTo>
                    <a:close/>
                  </a:path>
                </a:pathLst>
              </a:custGeom>
              <a:gradFill rotWithShape="1">
                <a:gsLst>
                  <a:gs pos="0">
                    <a:srgbClr val="001D36"/>
                  </a:gs>
                  <a:gs pos="50000">
                    <a:srgbClr val="0061B2"/>
                  </a:gs>
                  <a:gs pos="100000">
                    <a:srgbClr val="001D36"/>
                  </a:gs>
                </a:gsLst>
                <a:lin ang="189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tr-TR">
                  <a:solidFill>
                    <a:schemeClr val="tx2">
                      <a:lumMod val="50000"/>
                    </a:schemeClr>
                  </a:solidFill>
                </a:endParaRPr>
              </a:p>
            </p:txBody>
          </p:sp>
        </p:grpSp>
      </p:grpSp>
      <p:grpSp>
        <p:nvGrpSpPr>
          <p:cNvPr id="17" name="Group 295"/>
          <p:cNvGrpSpPr>
            <a:grpSpLocks/>
          </p:cNvGrpSpPr>
          <p:nvPr/>
        </p:nvGrpSpPr>
        <p:grpSpPr bwMode="auto">
          <a:xfrm>
            <a:off x="4562475" y="3673475"/>
            <a:ext cx="1547813" cy="1592263"/>
            <a:chOff x="2860" y="2298"/>
            <a:chExt cx="975" cy="1003"/>
          </a:xfrm>
        </p:grpSpPr>
        <p:grpSp>
          <p:nvGrpSpPr>
            <p:cNvPr id="20505" name="Group 292"/>
            <p:cNvGrpSpPr>
              <a:grpSpLocks/>
            </p:cNvGrpSpPr>
            <p:nvPr/>
          </p:nvGrpSpPr>
          <p:grpSpPr bwMode="auto">
            <a:xfrm>
              <a:off x="2900" y="2334"/>
              <a:ext cx="935" cy="967"/>
              <a:chOff x="2900" y="2334"/>
              <a:chExt cx="935" cy="967"/>
            </a:xfrm>
          </p:grpSpPr>
          <p:sp>
            <p:nvSpPr>
              <p:cNvPr id="20516" name="Freeform 277"/>
              <p:cNvSpPr>
                <a:spLocks/>
              </p:cNvSpPr>
              <p:nvPr/>
            </p:nvSpPr>
            <p:spPr bwMode="gray">
              <a:xfrm rot="-10756093">
                <a:off x="2900" y="2334"/>
                <a:ext cx="476" cy="532"/>
              </a:xfrm>
              <a:custGeom>
                <a:avLst/>
                <a:gdLst>
                  <a:gd name="T0" fmla="*/ 306 w 365"/>
                  <a:gd name="T1" fmla="*/ 321 h 456"/>
                  <a:gd name="T2" fmla="*/ 210 w 365"/>
                  <a:gd name="T3" fmla="*/ 212 h 456"/>
                  <a:gd name="T4" fmla="*/ 23 w 365"/>
                  <a:gd name="T5" fmla="*/ 42 h 456"/>
                  <a:gd name="T6" fmla="*/ 23 w 365"/>
                  <a:gd name="T7" fmla="*/ 86 h 456"/>
                  <a:gd name="T8" fmla="*/ 145 w 365"/>
                  <a:gd name="T9" fmla="*/ 276 h 456"/>
                  <a:gd name="T10" fmla="*/ 238 w 365"/>
                  <a:gd name="T11" fmla="*/ 382 h 456"/>
                  <a:gd name="T12" fmla="*/ 326 w 365"/>
                  <a:gd name="T13" fmla="*/ 451 h 456"/>
                  <a:gd name="T14" fmla="*/ 365 w 365"/>
                  <a:gd name="T15" fmla="*/ 412 h 456"/>
                  <a:gd name="T16" fmla="*/ 306 w 365"/>
                  <a:gd name="T17" fmla="*/ 321 h 45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65"/>
                  <a:gd name="T28" fmla="*/ 0 h 456"/>
                  <a:gd name="T29" fmla="*/ 365 w 365"/>
                  <a:gd name="T30" fmla="*/ 456 h 45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65" h="456">
                    <a:moveTo>
                      <a:pt x="306" y="321"/>
                    </a:moveTo>
                    <a:cubicBezTo>
                      <a:pt x="210" y="212"/>
                      <a:pt x="210" y="212"/>
                      <a:pt x="210" y="212"/>
                    </a:cubicBezTo>
                    <a:cubicBezTo>
                      <a:pt x="23" y="42"/>
                      <a:pt x="23" y="42"/>
                      <a:pt x="23" y="42"/>
                    </a:cubicBezTo>
                    <a:cubicBezTo>
                      <a:pt x="23" y="42"/>
                      <a:pt x="0" y="0"/>
                      <a:pt x="23" y="86"/>
                    </a:cubicBezTo>
                    <a:cubicBezTo>
                      <a:pt x="145" y="276"/>
                      <a:pt x="145" y="276"/>
                      <a:pt x="145" y="276"/>
                    </a:cubicBezTo>
                    <a:cubicBezTo>
                      <a:pt x="238" y="382"/>
                      <a:pt x="238" y="382"/>
                      <a:pt x="238" y="382"/>
                    </a:cubicBezTo>
                    <a:cubicBezTo>
                      <a:pt x="326" y="451"/>
                      <a:pt x="326" y="451"/>
                      <a:pt x="326" y="451"/>
                    </a:cubicBezTo>
                    <a:cubicBezTo>
                      <a:pt x="326" y="451"/>
                      <a:pt x="364" y="456"/>
                      <a:pt x="365" y="412"/>
                    </a:cubicBezTo>
                    <a:lnTo>
                      <a:pt x="306" y="321"/>
                    </a:lnTo>
                    <a:close/>
                  </a:path>
                </a:pathLst>
              </a:custGeom>
              <a:gradFill rotWithShape="1">
                <a:gsLst>
                  <a:gs pos="0">
                    <a:srgbClr val="AB0505"/>
                  </a:gs>
                  <a:gs pos="100000">
                    <a:srgbClr val="4F0202"/>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rot="10800000" vert="eaVert"/>
              <a:lstStyle/>
              <a:p>
                <a:endParaRPr lang="tr-TR">
                  <a:solidFill>
                    <a:schemeClr val="tx2">
                      <a:lumMod val="50000"/>
                    </a:schemeClr>
                  </a:solidFill>
                </a:endParaRPr>
              </a:p>
            </p:txBody>
          </p:sp>
          <p:sp>
            <p:nvSpPr>
              <p:cNvPr id="20517" name="Freeform 278"/>
              <p:cNvSpPr>
                <a:spLocks/>
              </p:cNvSpPr>
              <p:nvPr/>
            </p:nvSpPr>
            <p:spPr bwMode="gray">
              <a:xfrm rot="-10756093">
                <a:off x="3181" y="2543"/>
                <a:ext cx="654" cy="446"/>
              </a:xfrm>
              <a:custGeom>
                <a:avLst/>
                <a:gdLst>
                  <a:gd name="T0" fmla="*/ 201 w 501"/>
                  <a:gd name="T1" fmla="*/ 0 h 383"/>
                  <a:gd name="T2" fmla="*/ 27 w 501"/>
                  <a:gd name="T3" fmla="*/ 50 h 383"/>
                  <a:gd name="T4" fmla="*/ 431 w 501"/>
                  <a:gd name="T5" fmla="*/ 383 h 383"/>
                  <a:gd name="T6" fmla="*/ 501 w 501"/>
                  <a:gd name="T7" fmla="*/ 317 h 383"/>
                  <a:gd name="T8" fmla="*/ 201 w 501"/>
                  <a:gd name="T9" fmla="*/ 0 h 383"/>
                  <a:gd name="T10" fmla="*/ 0 60000 65536"/>
                  <a:gd name="T11" fmla="*/ 0 60000 65536"/>
                  <a:gd name="T12" fmla="*/ 0 60000 65536"/>
                  <a:gd name="T13" fmla="*/ 0 60000 65536"/>
                  <a:gd name="T14" fmla="*/ 0 60000 65536"/>
                  <a:gd name="T15" fmla="*/ 0 w 501"/>
                  <a:gd name="T16" fmla="*/ 0 h 383"/>
                  <a:gd name="T17" fmla="*/ 501 w 501"/>
                  <a:gd name="T18" fmla="*/ 383 h 383"/>
                </a:gdLst>
                <a:ahLst/>
                <a:cxnLst>
                  <a:cxn ang="T10">
                    <a:pos x="T0" y="T1"/>
                  </a:cxn>
                  <a:cxn ang="T11">
                    <a:pos x="T2" y="T3"/>
                  </a:cxn>
                  <a:cxn ang="T12">
                    <a:pos x="T4" y="T5"/>
                  </a:cxn>
                  <a:cxn ang="T13">
                    <a:pos x="T6" y="T7"/>
                  </a:cxn>
                  <a:cxn ang="T14">
                    <a:pos x="T8" y="T9"/>
                  </a:cxn>
                </a:cxnLst>
                <a:rect l="T15" t="T16" r="T17" b="T18"/>
                <a:pathLst>
                  <a:path w="501" h="383">
                    <a:moveTo>
                      <a:pt x="201" y="0"/>
                    </a:moveTo>
                    <a:cubicBezTo>
                      <a:pt x="201" y="0"/>
                      <a:pt x="36" y="6"/>
                      <a:pt x="27" y="50"/>
                    </a:cubicBezTo>
                    <a:cubicBezTo>
                      <a:pt x="0" y="179"/>
                      <a:pt x="431" y="383"/>
                      <a:pt x="431" y="383"/>
                    </a:cubicBezTo>
                    <a:cubicBezTo>
                      <a:pt x="501" y="317"/>
                      <a:pt x="501" y="317"/>
                      <a:pt x="501" y="317"/>
                    </a:cubicBezTo>
                    <a:lnTo>
                      <a:pt x="201" y="0"/>
                    </a:lnTo>
                    <a:close/>
                  </a:path>
                </a:pathLst>
              </a:custGeom>
              <a:solidFill>
                <a:srgbClr val="AB0505"/>
              </a:solidFill>
              <a:ln>
                <a:noFill/>
              </a:ln>
              <a:extLst>
                <a:ext uri="{91240B29-F687-4F45-9708-019B960494DF}">
                  <a14:hiddenLine xmlns:a14="http://schemas.microsoft.com/office/drawing/2010/main" w="9525">
                    <a:solidFill>
                      <a:srgbClr val="000000"/>
                    </a:solidFill>
                    <a:round/>
                    <a:headEnd/>
                    <a:tailEnd/>
                  </a14:hiddenLine>
                </a:ext>
              </a:extLst>
            </p:spPr>
            <p:txBody>
              <a:bodyPr rot="10800000" vert="eaVert"/>
              <a:lstStyle/>
              <a:p>
                <a:endParaRPr lang="tr-TR">
                  <a:solidFill>
                    <a:schemeClr val="tx2">
                      <a:lumMod val="50000"/>
                    </a:schemeClr>
                  </a:solidFill>
                </a:endParaRPr>
              </a:p>
            </p:txBody>
          </p:sp>
          <p:sp>
            <p:nvSpPr>
              <p:cNvPr id="20518" name="Freeform 279"/>
              <p:cNvSpPr>
                <a:spLocks/>
              </p:cNvSpPr>
              <p:nvPr/>
            </p:nvSpPr>
            <p:spPr bwMode="gray">
              <a:xfrm rot="-10756093">
                <a:off x="3070" y="2619"/>
                <a:ext cx="499" cy="682"/>
              </a:xfrm>
              <a:custGeom>
                <a:avLst/>
                <a:gdLst>
                  <a:gd name="T0" fmla="*/ 126 w 383"/>
                  <a:gd name="T1" fmla="*/ 5 h 586"/>
                  <a:gd name="T2" fmla="*/ 0 w 383"/>
                  <a:gd name="T3" fmla="*/ 269 h 586"/>
                  <a:gd name="T4" fmla="*/ 300 w 383"/>
                  <a:gd name="T5" fmla="*/ 586 h 586"/>
                  <a:gd name="T6" fmla="*/ 383 w 383"/>
                  <a:gd name="T7" fmla="*/ 442 h 586"/>
                  <a:gd name="T8" fmla="*/ 126 w 383"/>
                  <a:gd name="T9" fmla="*/ 5 h 586"/>
                  <a:gd name="T10" fmla="*/ 0 60000 65536"/>
                  <a:gd name="T11" fmla="*/ 0 60000 65536"/>
                  <a:gd name="T12" fmla="*/ 0 60000 65536"/>
                  <a:gd name="T13" fmla="*/ 0 60000 65536"/>
                  <a:gd name="T14" fmla="*/ 0 60000 65536"/>
                  <a:gd name="T15" fmla="*/ 0 w 383"/>
                  <a:gd name="T16" fmla="*/ 0 h 586"/>
                  <a:gd name="T17" fmla="*/ 383 w 383"/>
                  <a:gd name="T18" fmla="*/ 586 h 586"/>
                </a:gdLst>
                <a:ahLst/>
                <a:cxnLst>
                  <a:cxn ang="T10">
                    <a:pos x="T0" y="T1"/>
                  </a:cxn>
                  <a:cxn ang="T11">
                    <a:pos x="T2" y="T3"/>
                  </a:cxn>
                  <a:cxn ang="T12">
                    <a:pos x="T4" y="T5"/>
                  </a:cxn>
                  <a:cxn ang="T13">
                    <a:pos x="T6" y="T7"/>
                  </a:cxn>
                  <a:cxn ang="T14">
                    <a:pos x="T8" y="T9"/>
                  </a:cxn>
                </a:cxnLst>
                <a:rect l="T15" t="T16" r="T17" b="T18"/>
                <a:pathLst>
                  <a:path w="383" h="586">
                    <a:moveTo>
                      <a:pt x="126" y="5"/>
                    </a:moveTo>
                    <a:cubicBezTo>
                      <a:pt x="53" y="8"/>
                      <a:pt x="0" y="269"/>
                      <a:pt x="0" y="269"/>
                    </a:cubicBezTo>
                    <a:cubicBezTo>
                      <a:pt x="300" y="586"/>
                      <a:pt x="300" y="586"/>
                      <a:pt x="300" y="586"/>
                    </a:cubicBezTo>
                    <a:cubicBezTo>
                      <a:pt x="383" y="442"/>
                      <a:pt x="383" y="442"/>
                      <a:pt x="383" y="442"/>
                    </a:cubicBezTo>
                    <a:cubicBezTo>
                      <a:pt x="383" y="442"/>
                      <a:pt x="252" y="0"/>
                      <a:pt x="126" y="5"/>
                    </a:cubicBezTo>
                    <a:close/>
                  </a:path>
                </a:pathLst>
              </a:custGeom>
              <a:solidFill>
                <a:srgbClr val="AB0505"/>
              </a:solidFill>
              <a:ln>
                <a:noFill/>
              </a:ln>
              <a:extLst>
                <a:ext uri="{91240B29-F687-4F45-9708-019B960494DF}">
                  <a14:hiddenLine xmlns:a14="http://schemas.microsoft.com/office/drawing/2010/main" w="9525">
                    <a:solidFill>
                      <a:srgbClr val="000000"/>
                    </a:solidFill>
                    <a:round/>
                    <a:headEnd/>
                    <a:tailEnd/>
                  </a14:hiddenLine>
                </a:ext>
              </a:extLst>
            </p:spPr>
            <p:txBody>
              <a:bodyPr rot="10800000" vert="eaVert"/>
              <a:lstStyle/>
              <a:p>
                <a:endParaRPr lang="tr-TR">
                  <a:solidFill>
                    <a:schemeClr val="tx2">
                      <a:lumMod val="50000"/>
                    </a:schemeClr>
                  </a:solidFill>
                </a:endParaRPr>
              </a:p>
            </p:txBody>
          </p:sp>
          <p:sp>
            <p:nvSpPr>
              <p:cNvPr id="20519" name="Freeform 280"/>
              <p:cNvSpPr>
                <a:spLocks/>
              </p:cNvSpPr>
              <p:nvPr/>
            </p:nvSpPr>
            <p:spPr bwMode="gray">
              <a:xfrm rot="-10756093">
                <a:off x="3183" y="2446"/>
                <a:ext cx="391" cy="542"/>
              </a:xfrm>
              <a:custGeom>
                <a:avLst/>
                <a:gdLst>
                  <a:gd name="T0" fmla="*/ 0 w 300"/>
                  <a:gd name="T1" fmla="*/ 0 h 466"/>
                  <a:gd name="T2" fmla="*/ 40 w 300"/>
                  <a:gd name="T3" fmla="*/ 280 h 466"/>
                  <a:gd name="T4" fmla="*/ 269 w 300"/>
                  <a:gd name="T5" fmla="*/ 466 h 466"/>
                  <a:gd name="T6" fmla="*/ 300 w 300"/>
                  <a:gd name="T7" fmla="*/ 317 h 466"/>
                  <a:gd name="T8" fmla="*/ 0 w 300"/>
                  <a:gd name="T9" fmla="*/ 0 h 466"/>
                  <a:gd name="T10" fmla="*/ 0 60000 65536"/>
                  <a:gd name="T11" fmla="*/ 0 60000 65536"/>
                  <a:gd name="T12" fmla="*/ 0 60000 65536"/>
                  <a:gd name="T13" fmla="*/ 0 60000 65536"/>
                  <a:gd name="T14" fmla="*/ 0 60000 65536"/>
                  <a:gd name="T15" fmla="*/ 0 w 300"/>
                  <a:gd name="T16" fmla="*/ 0 h 466"/>
                  <a:gd name="T17" fmla="*/ 300 w 300"/>
                  <a:gd name="T18" fmla="*/ 466 h 466"/>
                </a:gdLst>
                <a:ahLst/>
                <a:cxnLst>
                  <a:cxn ang="T10">
                    <a:pos x="T0" y="T1"/>
                  </a:cxn>
                  <a:cxn ang="T11">
                    <a:pos x="T2" y="T3"/>
                  </a:cxn>
                  <a:cxn ang="T12">
                    <a:pos x="T4" y="T5"/>
                  </a:cxn>
                  <a:cxn ang="T13">
                    <a:pos x="T6" y="T7"/>
                  </a:cxn>
                  <a:cxn ang="T14">
                    <a:pos x="T8" y="T9"/>
                  </a:cxn>
                </a:cxnLst>
                <a:rect l="T15" t="T16" r="T17" b="T18"/>
                <a:pathLst>
                  <a:path w="300" h="466">
                    <a:moveTo>
                      <a:pt x="0" y="0"/>
                    </a:moveTo>
                    <a:cubicBezTo>
                      <a:pt x="0" y="0"/>
                      <a:pt x="5" y="219"/>
                      <a:pt x="40" y="280"/>
                    </a:cubicBezTo>
                    <a:cubicBezTo>
                      <a:pt x="77" y="344"/>
                      <a:pt x="269" y="466"/>
                      <a:pt x="269" y="466"/>
                    </a:cubicBezTo>
                    <a:cubicBezTo>
                      <a:pt x="300" y="317"/>
                      <a:pt x="300" y="317"/>
                      <a:pt x="300" y="317"/>
                    </a:cubicBezTo>
                    <a:lnTo>
                      <a:pt x="0" y="0"/>
                    </a:lnTo>
                    <a:close/>
                  </a:path>
                </a:pathLst>
              </a:custGeom>
              <a:gradFill rotWithShape="1">
                <a:gsLst>
                  <a:gs pos="0">
                    <a:srgbClr val="C40505"/>
                  </a:gs>
                  <a:gs pos="100000">
                    <a:srgbClr val="5B0202"/>
                  </a:gs>
                </a:gsLst>
                <a:lin ang="189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tr-TR">
                  <a:solidFill>
                    <a:schemeClr val="tx2">
                      <a:lumMod val="50000"/>
                    </a:schemeClr>
                  </a:solidFill>
                </a:endParaRPr>
              </a:p>
            </p:txBody>
          </p:sp>
          <p:sp>
            <p:nvSpPr>
              <p:cNvPr id="20520" name="Freeform 281"/>
              <p:cNvSpPr>
                <a:spLocks/>
              </p:cNvSpPr>
              <p:nvPr/>
            </p:nvSpPr>
            <p:spPr bwMode="gray">
              <a:xfrm rot="-10756093">
                <a:off x="3006" y="2617"/>
                <a:ext cx="566" cy="413"/>
              </a:xfrm>
              <a:custGeom>
                <a:avLst/>
                <a:gdLst>
                  <a:gd name="T0" fmla="*/ 0 w 435"/>
                  <a:gd name="T1" fmla="*/ 37 h 354"/>
                  <a:gd name="T2" fmla="*/ 279 w 435"/>
                  <a:gd name="T3" fmla="*/ 35 h 354"/>
                  <a:gd name="T4" fmla="*/ 435 w 435"/>
                  <a:gd name="T5" fmla="*/ 300 h 354"/>
                  <a:gd name="T6" fmla="*/ 300 w 435"/>
                  <a:gd name="T7" fmla="*/ 354 h 354"/>
                  <a:gd name="T8" fmla="*/ 0 w 435"/>
                  <a:gd name="T9" fmla="*/ 37 h 354"/>
                  <a:gd name="T10" fmla="*/ 0 60000 65536"/>
                  <a:gd name="T11" fmla="*/ 0 60000 65536"/>
                  <a:gd name="T12" fmla="*/ 0 60000 65536"/>
                  <a:gd name="T13" fmla="*/ 0 60000 65536"/>
                  <a:gd name="T14" fmla="*/ 0 60000 65536"/>
                  <a:gd name="T15" fmla="*/ 0 w 435"/>
                  <a:gd name="T16" fmla="*/ 0 h 354"/>
                  <a:gd name="T17" fmla="*/ 435 w 435"/>
                  <a:gd name="T18" fmla="*/ 354 h 354"/>
                </a:gdLst>
                <a:ahLst/>
                <a:cxnLst>
                  <a:cxn ang="T10">
                    <a:pos x="T0" y="T1"/>
                  </a:cxn>
                  <a:cxn ang="T11">
                    <a:pos x="T2" y="T3"/>
                  </a:cxn>
                  <a:cxn ang="T12">
                    <a:pos x="T4" y="T5"/>
                  </a:cxn>
                  <a:cxn ang="T13">
                    <a:pos x="T6" y="T7"/>
                  </a:cxn>
                  <a:cxn ang="T14">
                    <a:pos x="T8" y="T9"/>
                  </a:cxn>
                </a:cxnLst>
                <a:rect l="T15" t="T16" r="T17" b="T18"/>
                <a:pathLst>
                  <a:path w="435" h="354">
                    <a:moveTo>
                      <a:pt x="0" y="37"/>
                    </a:moveTo>
                    <a:cubicBezTo>
                      <a:pt x="0" y="37"/>
                      <a:pt x="219" y="0"/>
                      <a:pt x="279" y="35"/>
                    </a:cubicBezTo>
                    <a:cubicBezTo>
                      <a:pt x="346" y="73"/>
                      <a:pt x="435" y="300"/>
                      <a:pt x="435" y="300"/>
                    </a:cubicBezTo>
                    <a:cubicBezTo>
                      <a:pt x="300" y="354"/>
                      <a:pt x="300" y="354"/>
                      <a:pt x="300" y="354"/>
                    </a:cubicBezTo>
                    <a:lnTo>
                      <a:pt x="0" y="37"/>
                    </a:lnTo>
                    <a:close/>
                  </a:path>
                </a:pathLst>
              </a:custGeom>
              <a:gradFill rotWithShape="1">
                <a:gsLst>
                  <a:gs pos="0">
                    <a:srgbClr val="6D0303"/>
                  </a:gs>
                  <a:gs pos="100000">
                    <a:srgbClr val="320101"/>
                  </a:gs>
                </a:gsLst>
                <a:lin ang="2700000" scaled="1"/>
              </a:gradFill>
              <a:ln>
                <a:noFill/>
              </a:ln>
              <a:extLst>
                <a:ext uri="{91240B29-F687-4F45-9708-019B960494DF}">
                  <a14:hiddenLine xmlns:a14="http://schemas.microsoft.com/office/drawing/2010/main" w="9525">
                    <a:solidFill>
                      <a:srgbClr val="000000"/>
                    </a:solidFill>
                    <a:round/>
                    <a:headEnd/>
                    <a:tailEnd/>
                  </a14:hiddenLine>
                </a:ext>
              </a:extLst>
            </p:spPr>
            <p:txBody>
              <a:bodyPr rot="10800000" vert="eaVert"/>
              <a:lstStyle/>
              <a:p>
                <a:endParaRPr lang="tr-TR">
                  <a:solidFill>
                    <a:schemeClr val="tx2">
                      <a:lumMod val="50000"/>
                    </a:schemeClr>
                  </a:solidFill>
                </a:endParaRPr>
              </a:p>
            </p:txBody>
          </p:sp>
        </p:grpSp>
        <p:grpSp>
          <p:nvGrpSpPr>
            <p:cNvPr id="20506" name="Group 294"/>
            <p:cNvGrpSpPr>
              <a:grpSpLocks/>
            </p:cNvGrpSpPr>
            <p:nvPr/>
          </p:nvGrpSpPr>
          <p:grpSpPr bwMode="auto">
            <a:xfrm>
              <a:off x="2860" y="2298"/>
              <a:ext cx="176" cy="164"/>
              <a:chOff x="2860" y="2298"/>
              <a:chExt cx="176" cy="164"/>
            </a:xfrm>
          </p:grpSpPr>
          <p:sp>
            <p:nvSpPr>
              <p:cNvPr id="20514" name="Freeform 283"/>
              <p:cNvSpPr>
                <a:spLocks/>
              </p:cNvSpPr>
              <p:nvPr/>
            </p:nvSpPr>
            <p:spPr bwMode="gray">
              <a:xfrm rot="-10756093">
                <a:off x="2860" y="2298"/>
                <a:ext cx="80" cy="79"/>
              </a:xfrm>
              <a:custGeom>
                <a:avLst/>
                <a:gdLst>
                  <a:gd name="T0" fmla="*/ 61 w 61"/>
                  <a:gd name="T1" fmla="*/ 68 h 68"/>
                  <a:gd name="T2" fmla="*/ 3 w 61"/>
                  <a:gd name="T3" fmla="*/ 16 h 68"/>
                  <a:gd name="T4" fmla="*/ 0 w 61"/>
                  <a:gd name="T5" fmla="*/ 13 h 68"/>
                  <a:gd name="T6" fmla="*/ 8 w 61"/>
                  <a:gd name="T7" fmla="*/ 0 h 68"/>
                  <a:gd name="T8" fmla="*/ 10 w 61"/>
                  <a:gd name="T9" fmla="*/ 3 h 68"/>
                  <a:gd name="T10" fmla="*/ 61 w 61"/>
                  <a:gd name="T11" fmla="*/ 67 h 68"/>
                  <a:gd name="T12" fmla="*/ 61 w 61"/>
                  <a:gd name="T13" fmla="*/ 68 h 68"/>
                  <a:gd name="T14" fmla="*/ 0 60000 65536"/>
                  <a:gd name="T15" fmla="*/ 0 60000 65536"/>
                  <a:gd name="T16" fmla="*/ 0 60000 65536"/>
                  <a:gd name="T17" fmla="*/ 0 60000 65536"/>
                  <a:gd name="T18" fmla="*/ 0 60000 65536"/>
                  <a:gd name="T19" fmla="*/ 0 60000 65536"/>
                  <a:gd name="T20" fmla="*/ 0 60000 65536"/>
                  <a:gd name="T21" fmla="*/ 0 w 61"/>
                  <a:gd name="T22" fmla="*/ 0 h 68"/>
                  <a:gd name="T23" fmla="*/ 61 w 61"/>
                  <a:gd name="T24" fmla="*/ 68 h 6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1" h="68">
                    <a:moveTo>
                      <a:pt x="61" y="68"/>
                    </a:moveTo>
                    <a:cubicBezTo>
                      <a:pt x="3" y="16"/>
                      <a:pt x="3" y="16"/>
                      <a:pt x="3" y="16"/>
                    </a:cubicBezTo>
                    <a:cubicBezTo>
                      <a:pt x="0" y="13"/>
                      <a:pt x="0" y="13"/>
                      <a:pt x="0" y="13"/>
                    </a:cubicBezTo>
                    <a:cubicBezTo>
                      <a:pt x="0" y="13"/>
                      <a:pt x="4" y="4"/>
                      <a:pt x="8" y="0"/>
                    </a:cubicBezTo>
                    <a:cubicBezTo>
                      <a:pt x="10" y="3"/>
                      <a:pt x="10" y="3"/>
                      <a:pt x="10" y="3"/>
                    </a:cubicBezTo>
                    <a:cubicBezTo>
                      <a:pt x="61" y="67"/>
                      <a:pt x="61" y="67"/>
                      <a:pt x="61" y="67"/>
                    </a:cubicBezTo>
                    <a:lnTo>
                      <a:pt x="61" y="68"/>
                    </a:lnTo>
                    <a:close/>
                  </a:path>
                </a:pathLst>
              </a:custGeom>
              <a:gradFill rotWithShape="1">
                <a:gsLst>
                  <a:gs pos="0">
                    <a:srgbClr val="666666"/>
                  </a:gs>
                  <a:gs pos="100000">
                    <a:srgbClr val="DDDDDD"/>
                  </a:gs>
                </a:gsLst>
                <a:lin ang="27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tr-TR">
                  <a:solidFill>
                    <a:schemeClr val="tx2">
                      <a:lumMod val="50000"/>
                    </a:schemeClr>
                  </a:solidFill>
                </a:endParaRPr>
              </a:p>
            </p:txBody>
          </p:sp>
          <p:sp>
            <p:nvSpPr>
              <p:cNvPr id="20515" name="Freeform 284"/>
              <p:cNvSpPr>
                <a:spLocks/>
              </p:cNvSpPr>
              <p:nvPr/>
            </p:nvSpPr>
            <p:spPr bwMode="gray">
              <a:xfrm rot="-10756093">
                <a:off x="2899" y="2331"/>
                <a:ext cx="137" cy="131"/>
              </a:xfrm>
              <a:custGeom>
                <a:avLst/>
                <a:gdLst>
                  <a:gd name="T0" fmla="*/ 60 w 106"/>
                  <a:gd name="T1" fmla="*/ 0 h 113"/>
                  <a:gd name="T2" fmla="*/ 41 w 106"/>
                  <a:gd name="T3" fmla="*/ 41 h 113"/>
                  <a:gd name="T4" fmla="*/ 0 w 106"/>
                  <a:gd name="T5" fmla="*/ 56 h 113"/>
                  <a:gd name="T6" fmla="*/ 64 w 106"/>
                  <a:gd name="T7" fmla="*/ 106 h 113"/>
                  <a:gd name="T8" fmla="*/ 103 w 106"/>
                  <a:gd name="T9" fmla="*/ 67 h 113"/>
                  <a:gd name="T10" fmla="*/ 60 w 106"/>
                  <a:gd name="T11" fmla="*/ 0 h 113"/>
                  <a:gd name="T12" fmla="*/ 0 60000 65536"/>
                  <a:gd name="T13" fmla="*/ 0 60000 65536"/>
                  <a:gd name="T14" fmla="*/ 0 60000 65536"/>
                  <a:gd name="T15" fmla="*/ 0 60000 65536"/>
                  <a:gd name="T16" fmla="*/ 0 60000 65536"/>
                  <a:gd name="T17" fmla="*/ 0 60000 65536"/>
                  <a:gd name="T18" fmla="*/ 0 w 106"/>
                  <a:gd name="T19" fmla="*/ 0 h 113"/>
                  <a:gd name="T20" fmla="*/ 106 w 106"/>
                  <a:gd name="T21" fmla="*/ 113 h 113"/>
                </a:gdLst>
                <a:ahLst/>
                <a:cxnLst>
                  <a:cxn ang="T12">
                    <a:pos x="T0" y="T1"/>
                  </a:cxn>
                  <a:cxn ang="T13">
                    <a:pos x="T2" y="T3"/>
                  </a:cxn>
                  <a:cxn ang="T14">
                    <a:pos x="T4" y="T5"/>
                  </a:cxn>
                  <a:cxn ang="T15">
                    <a:pos x="T6" y="T7"/>
                  </a:cxn>
                  <a:cxn ang="T16">
                    <a:pos x="T8" y="T9"/>
                  </a:cxn>
                  <a:cxn ang="T17">
                    <a:pos x="T10" y="T11"/>
                  </a:cxn>
                </a:cxnLst>
                <a:rect l="T18" t="T19" r="T20" b="T21"/>
                <a:pathLst>
                  <a:path w="106" h="113">
                    <a:moveTo>
                      <a:pt x="60" y="0"/>
                    </a:moveTo>
                    <a:cubicBezTo>
                      <a:pt x="60" y="0"/>
                      <a:pt x="62" y="20"/>
                      <a:pt x="41" y="41"/>
                    </a:cubicBezTo>
                    <a:cubicBezTo>
                      <a:pt x="17" y="63"/>
                      <a:pt x="0" y="56"/>
                      <a:pt x="0" y="56"/>
                    </a:cubicBezTo>
                    <a:cubicBezTo>
                      <a:pt x="64" y="106"/>
                      <a:pt x="64" y="106"/>
                      <a:pt x="64" y="106"/>
                    </a:cubicBezTo>
                    <a:cubicBezTo>
                      <a:pt x="64" y="106"/>
                      <a:pt x="106" y="113"/>
                      <a:pt x="103" y="67"/>
                    </a:cubicBezTo>
                    <a:lnTo>
                      <a:pt x="60" y="0"/>
                    </a:lnTo>
                    <a:close/>
                  </a:path>
                </a:pathLst>
              </a:custGeom>
              <a:gradFill rotWithShape="1">
                <a:gsLst>
                  <a:gs pos="0">
                    <a:srgbClr val="000000"/>
                  </a:gs>
                  <a:gs pos="100000">
                    <a:srgbClr val="FEA501"/>
                  </a:gs>
                </a:gsLst>
                <a:lin ang="18900000" scaled="1"/>
              </a:gradFill>
              <a:ln>
                <a:noFill/>
              </a:ln>
              <a:extLst>
                <a:ext uri="{91240B29-F687-4F45-9708-019B960494DF}">
                  <a14:hiddenLine xmlns:a14="http://schemas.microsoft.com/office/drawing/2010/main" w="9525">
                    <a:solidFill>
                      <a:srgbClr val="000000"/>
                    </a:solidFill>
                    <a:round/>
                    <a:headEnd/>
                    <a:tailEnd/>
                  </a14:hiddenLine>
                </a:ext>
              </a:extLst>
            </p:spPr>
            <p:txBody>
              <a:bodyPr rot="10800000" vert="eaVert"/>
              <a:lstStyle/>
              <a:p>
                <a:endParaRPr lang="tr-TR">
                  <a:solidFill>
                    <a:schemeClr val="tx2">
                      <a:lumMod val="50000"/>
                    </a:schemeClr>
                  </a:solidFill>
                </a:endParaRPr>
              </a:p>
            </p:txBody>
          </p:sp>
        </p:grpSp>
        <p:grpSp>
          <p:nvGrpSpPr>
            <p:cNvPr id="20507" name="Group 293"/>
            <p:cNvGrpSpPr>
              <a:grpSpLocks/>
            </p:cNvGrpSpPr>
            <p:nvPr/>
          </p:nvGrpSpPr>
          <p:grpSpPr bwMode="auto">
            <a:xfrm>
              <a:off x="2905" y="2343"/>
              <a:ext cx="124" cy="110"/>
              <a:chOff x="2905" y="2343"/>
              <a:chExt cx="124" cy="110"/>
            </a:xfrm>
          </p:grpSpPr>
          <p:sp>
            <p:nvSpPr>
              <p:cNvPr id="20508" name="Freeform 286"/>
              <p:cNvSpPr>
                <a:spLocks/>
              </p:cNvSpPr>
              <p:nvPr/>
            </p:nvSpPr>
            <p:spPr bwMode="gray">
              <a:xfrm rot="-10756093">
                <a:off x="2939" y="2378"/>
                <a:ext cx="78" cy="63"/>
              </a:xfrm>
              <a:custGeom>
                <a:avLst/>
                <a:gdLst>
                  <a:gd name="T0" fmla="*/ 57 w 60"/>
                  <a:gd name="T1" fmla="*/ 0 h 55"/>
                  <a:gd name="T2" fmla="*/ 41 w 60"/>
                  <a:gd name="T3" fmla="*/ 41 h 55"/>
                  <a:gd name="T4" fmla="*/ 0 w 60"/>
                  <a:gd name="T5" fmla="*/ 50 h 55"/>
                  <a:gd name="T6" fmla="*/ 43 w 60"/>
                  <a:gd name="T7" fmla="*/ 42 h 55"/>
                  <a:gd name="T8" fmla="*/ 57 w 60"/>
                  <a:gd name="T9" fmla="*/ 0 h 55"/>
                  <a:gd name="T10" fmla="*/ 0 60000 65536"/>
                  <a:gd name="T11" fmla="*/ 0 60000 65536"/>
                  <a:gd name="T12" fmla="*/ 0 60000 65536"/>
                  <a:gd name="T13" fmla="*/ 0 60000 65536"/>
                  <a:gd name="T14" fmla="*/ 0 60000 65536"/>
                  <a:gd name="T15" fmla="*/ 0 w 60"/>
                  <a:gd name="T16" fmla="*/ 0 h 55"/>
                  <a:gd name="T17" fmla="*/ 60 w 60"/>
                  <a:gd name="T18" fmla="*/ 55 h 55"/>
                </a:gdLst>
                <a:ahLst/>
                <a:cxnLst>
                  <a:cxn ang="T10">
                    <a:pos x="T0" y="T1"/>
                  </a:cxn>
                  <a:cxn ang="T11">
                    <a:pos x="T2" y="T3"/>
                  </a:cxn>
                  <a:cxn ang="T12">
                    <a:pos x="T4" y="T5"/>
                  </a:cxn>
                  <a:cxn ang="T13">
                    <a:pos x="T6" y="T7"/>
                  </a:cxn>
                  <a:cxn ang="T14">
                    <a:pos x="T8" y="T9"/>
                  </a:cxn>
                </a:cxnLst>
                <a:rect l="T15" t="T16" r="T17" b="T18"/>
                <a:pathLst>
                  <a:path w="60" h="55">
                    <a:moveTo>
                      <a:pt x="57" y="0"/>
                    </a:moveTo>
                    <a:cubicBezTo>
                      <a:pt x="58" y="15"/>
                      <a:pt x="53" y="31"/>
                      <a:pt x="41" y="41"/>
                    </a:cubicBezTo>
                    <a:cubicBezTo>
                      <a:pt x="30" y="51"/>
                      <a:pt x="14" y="53"/>
                      <a:pt x="0" y="50"/>
                    </a:cubicBezTo>
                    <a:cubicBezTo>
                      <a:pt x="14" y="55"/>
                      <a:pt x="31" y="53"/>
                      <a:pt x="43" y="42"/>
                    </a:cubicBezTo>
                    <a:cubicBezTo>
                      <a:pt x="55" y="32"/>
                      <a:pt x="60" y="16"/>
                      <a:pt x="57" y="0"/>
                    </a:cubicBezTo>
                    <a:close/>
                  </a:path>
                </a:pathLst>
              </a:custGeom>
              <a:gradFill rotWithShape="1">
                <a:gsLst>
                  <a:gs pos="0">
                    <a:srgbClr val="3F1111"/>
                  </a:gs>
                  <a:gs pos="50000">
                    <a:srgbClr val="D03737"/>
                  </a:gs>
                  <a:gs pos="100000">
                    <a:srgbClr val="3F1111"/>
                  </a:gs>
                </a:gsLst>
                <a:lin ang="189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tr-TR">
                  <a:solidFill>
                    <a:schemeClr val="tx2">
                      <a:lumMod val="50000"/>
                    </a:schemeClr>
                  </a:solidFill>
                </a:endParaRPr>
              </a:p>
            </p:txBody>
          </p:sp>
          <p:sp>
            <p:nvSpPr>
              <p:cNvPr id="20509" name="Freeform 287"/>
              <p:cNvSpPr>
                <a:spLocks/>
              </p:cNvSpPr>
              <p:nvPr/>
            </p:nvSpPr>
            <p:spPr bwMode="gray">
              <a:xfrm rot="-10756093">
                <a:off x="2947" y="2386"/>
                <a:ext cx="82" cy="67"/>
              </a:xfrm>
              <a:custGeom>
                <a:avLst/>
                <a:gdLst>
                  <a:gd name="T0" fmla="*/ 60 w 63"/>
                  <a:gd name="T1" fmla="*/ 0 h 58"/>
                  <a:gd name="T2" fmla="*/ 43 w 63"/>
                  <a:gd name="T3" fmla="*/ 43 h 58"/>
                  <a:gd name="T4" fmla="*/ 0 w 63"/>
                  <a:gd name="T5" fmla="*/ 53 h 58"/>
                  <a:gd name="T6" fmla="*/ 45 w 63"/>
                  <a:gd name="T7" fmla="*/ 45 h 58"/>
                  <a:gd name="T8" fmla="*/ 60 w 63"/>
                  <a:gd name="T9" fmla="*/ 0 h 58"/>
                  <a:gd name="T10" fmla="*/ 0 60000 65536"/>
                  <a:gd name="T11" fmla="*/ 0 60000 65536"/>
                  <a:gd name="T12" fmla="*/ 0 60000 65536"/>
                  <a:gd name="T13" fmla="*/ 0 60000 65536"/>
                  <a:gd name="T14" fmla="*/ 0 60000 65536"/>
                  <a:gd name="T15" fmla="*/ 0 w 63"/>
                  <a:gd name="T16" fmla="*/ 0 h 58"/>
                  <a:gd name="T17" fmla="*/ 63 w 63"/>
                  <a:gd name="T18" fmla="*/ 58 h 58"/>
                </a:gdLst>
                <a:ahLst/>
                <a:cxnLst>
                  <a:cxn ang="T10">
                    <a:pos x="T0" y="T1"/>
                  </a:cxn>
                  <a:cxn ang="T11">
                    <a:pos x="T2" y="T3"/>
                  </a:cxn>
                  <a:cxn ang="T12">
                    <a:pos x="T4" y="T5"/>
                  </a:cxn>
                  <a:cxn ang="T13">
                    <a:pos x="T6" y="T7"/>
                  </a:cxn>
                  <a:cxn ang="T14">
                    <a:pos x="T8" y="T9"/>
                  </a:cxn>
                </a:cxnLst>
                <a:rect l="T15" t="T16" r="T17" b="T18"/>
                <a:pathLst>
                  <a:path w="63" h="58">
                    <a:moveTo>
                      <a:pt x="60" y="0"/>
                    </a:moveTo>
                    <a:cubicBezTo>
                      <a:pt x="61" y="16"/>
                      <a:pt x="56" y="33"/>
                      <a:pt x="43" y="43"/>
                    </a:cubicBezTo>
                    <a:cubicBezTo>
                      <a:pt x="31" y="54"/>
                      <a:pt x="15" y="57"/>
                      <a:pt x="0" y="53"/>
                    </a:cubicBezTo>
                    <a:cubicBezTo>
                      <a:pt x="15" y="58"/>
                      <a:pt x="32" y="55"/>
                      <a:pt x="45" y="45"/>
                    </a:cubicBezTo>
                    <a:cubicBezTo>
                      <a:pt x="58" y="34"/>
                      <a:pt x="63" y="17"/>
                      <a:pt x="60" y="0"/>
                    </a:cubicBezTo>
                    <a:close/>
                  </a:path>
                </a:pathLst>
              </a:custGeom>
              <a:gradFill rotWithShape="1">
                <a:gsLst>
                  <a:gs pos="0">
                    <a:srgbClr val="3F1111"/>
                  </a:gs>
                  <a:gs pos="50000">
                    <a:srgbClr val="D03737"/>
                  </a:gs>
                  <a:gs pos="100000">
                    <a:srgbClr val="3F1111"/>
                  </a:gs>
                </a:gsLst>
                <a:lin ang="189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tr-TR">
                  <a:solidFill>
                    <a:schemeClr val="tx2">
                      <a:lumMod val="50000"/>
                    </a:schemeClr>
                  </a:solidFill>
                </a:endParaRPr>
              </a:p>
            </p:txBody>
          </p:sp>
          <p:sp>
            <p:nvSpPr>
              <p:cNvPr id="20510" name="Freeform 288"/>
              <p:cNvSpPr>
                <a:spLocks/>
              </p:cNvSpPr>
              <p:nvPr/>
            </p:nvSpPr>
            <p:spPr bwMode="gray">
              <a:xfrm rot="-10756093">
                <a:off x="2931" y="2372"/>
                <a:ext cx="76" cy="60"/>
              </a:xfrm>
              <a:custGeom>
                <a:avLst/>
                <a:gdLst>
                  <a:gd name="T0" fmla="*/ 55 w 58"/>
                  <a:gd name="T1" fmla="*/ 0 h 52"/>
                  <a:gd name="T2" fmla="*/ 40 w 58"/>
                  <a:gd name="T3" fmla="*/ 39 h 52"/>
                  <a:gd name="T4" fmla="*/ 0 w 58"/>
                  <a:gd name="T5" fmla="*/ 48 h 52"/>
                  <a:gd name="T6" fmla="*/ 41 w 58"/>
                  <a:gd name="T7" fmla="*/ 40 h 52"/>
                  <a:gd name="T8" fmla="*/ 55 w 58"/>
                  <a:gd name="T9" fmla="*/ 0 h 52"/>
                  <a:gd name="T10" fmla="*/ 0 60000 65536"/>
                  <a:gd name="T11" fmla="*/ 0 60000 65536"/>
                  <a:gd name="T12" fmla="*/ 0 60000 65536"/>
                  <a:gd name="T13" fmla="*/ 0 60000 65536"/>
                  <a:gd name="T14" fmla="*/ 0 60000 65536"/>
                  <a:gd name="T15" fmla="*/ 0 w 58"/>
                  <a:gd name="T16" fmla="*/ 0 h 52"/>
                  <a:gd name="T17" fmla="*/ 58 w 58"/>
                  <a:gd name="T18" fmla="*/ 52 h 52"/>
                </a:gdLst>
                <a:ahLst/>
                <a:cxnLst>
                  <a:cxn ang="T10">
                    <a:pos x="T0" y="T1"/>
                  </a:cxn>
                  <a:cxn ang="T11">
                    <a:pos x="T2" y="T3"/>
                  </a:cxn>
                  <a:cxn ang="T12">
                    <a:pos x="T4" y="T5"/>
                  </a:cxn>
                  <a:cxn ang="T13">
                    <a:pos x="T6" y="T7"/>
                  </a:cxn>
                  <a:cxn ang="T14">
                    <a:pos x="T8" y="T9"/>
                  </a:cxn>
                </a:cxnLst>
                <a:rect l="T15" t="T16" r="T17" b="T18"/>
                <a:pathLst>
                  <a:path w="58" h="52">
                    <a:moveTo>
                      <a:pt x="55" y="0"/>
                    </a:moveTo>
                    <a:cubicBezTo>
                      <a:pt x="57" y="15"/>
                      <a:pt x="52" y="29"/>
                      <a:pt x="40" y="39"/>
                    </a:cubicBezTo>
                    <a:cubicBezTo>
                      <a:pt x="29" y="48"/>
                      <a:pt x="14" y="51"/>
                      <a:pt x="0" y="48"/>
                    </a:cubicBezTo>
                    <a:cubicBezTo>
                      <a:pt x="15" y="52"/>
                      <a:pt x="30" y="50"/>
                      <a:pt x="41" y="40"/>
                    </a:cubicBezTo>
                    <a:cubicBezTo>
                      <a:pt x="53" y="30"/>
                      <a:pt x="58" y="15"/>
                      <a:pt x="55" y="0"/>
                    </a:cubicBezTo>
                    <a:close/>
                  </a:path>
                </a:pathLst>
              </a:custGeom>
              <a:gradFill rotWithShape="1">
                <a:gsLst>
                  <a:gs pos="0">
                    <a:srgbClr val="3F1111"/>
                  </a:gs>
                  <a:gs pos="50000">
                    <a:srgbClr val="D03737"/>
                  </a:gs>
                  <a:gs pos="100000">
                    <a:srgbClr val="3F1111"/>
                  </a:gs>
                </a:gsLst>
                <a:lin ang="189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tr-TR">
                  <a:solidFill>
                    <a:schemeClr val="tx2">
                      <a:lumMod val="50000"/>
                    </a:schemeClr>
                  </a:solidFill>
                </a:endParaRPr>
              </a:p>
            </p:txBody>
          </p:sp>
          <p:sp>
            <p:nvSpPr>
              <p:cNvPr id="20511" name="Freeform 289"/>
              <p:cNvSpPr>
                <a:spLocks/>
              </p:cNvSpPr>
              <p:nvPr/>
            </p:nvSpPr>
            <p:spPr bwMode="gray">
              <a:xfrm rot="-10756093">
                <a:off x="2913" y="2349"/>
                <a:ext cx="64" cy="51"/>
              </a:xfrm>
              <a:custGeom>
                <a:avLst/>
                <a:gdLst>
                  <a:gd name="T0" fmla="*/ 47 w 49"/>
                  <a:gd name="T1" fmla="*/ 0 h 44"/>
                  <a:gd name="T2" fmla="*/ 34 w 49"/>
                  <a:gd name="T3" fmla="*/ 33 h 44"/>
                  <a:gd name="T4" fmla="*/ 0 w 49"/>
                  <a:gd name="T5" fmla="*/ 40 h 44"/>
                  <a:gd name="T6" fmla="*/ 35 w 49"/>
                  <a:gd name="T7" fmla="*/ 34 h 44"/>
                  <a:gd name="T8" fmla="*/ 47 w 49"/>
                  <a:gd name="T9" fmla="*/ 0 h 44"/>
                  <a:gd name="T10" fmla="*/ 0 60000 65536"/>
                  <a:gd name="T11" fmla="*/ 0 60000 65536"/>
                  <a:gd name="T12" fmla="*/ 0 60000 65536"/>
                  <a:gd name="T13" fmla="*/ 0 60000 65536"/>
                  <a:gd name="T14" fmla="*/ 0 60000 65536"/>
                  <a:gd name="T15" fmla="*/ 0 w 49"/>
                  <a:gd name="T16" fmla="*/ 0 h 44"/>
                  <a:gd name="T17" fmla="*/ 49 w 49"/>
                  <a:gd name="T18" fmla="*/ 44 h 44"/>
                </a:gdLst>
                <a:ahLst/>
                <a:cxnLst>
                  <a:cxn ang="T10">
                    <a:pos x="T0" y="T1"/>
                  </a:cxn>
                  <a:cxn ang="T11">
                    <a:pos x="T2" y="T3"/>
                  </a:cxn>
                  <a:cxn ang="T12">
                    <a:pos x="T4" y="T5"/>
                  </a:cxn>
                  <a:cxn ang="T13">
                    <a:pos x="T6" y="T7"/>
                  </a:cxn>
                  <a:cxn ang="T14">
                    <a:pos x="T8" y="T9"/>
                  </a:cxn>
                </a:cxnLst>
                <a:rect l="T15" t="T16" r="T17" b="T18"/>
                <a:pathLst>
                  <a:path w="49" h="44">
                    <a:moveTo>
                      <a:pt x="47" y="0"/>
                    </a:moveTo>
                    <a:cubicBezTo>
                      <a:pt x="48" y="12"/>
                      <a:pt x="44" y="25"/>
                      <a:pt x="34" y="33"/>
                    </a:cubicBezTo>
                    <a:cubicBezTo>
                      <a:pt x="25" y="41"/>
                      <a:pt x="12" y="43"/>
                      <a:pt x="0" y="40"/>
                    </a:cubicBezTo>
                    <a:cubicBezTo>
                      <a:pt x="12" y="44"/>
                      <a:pt x="25" y="42"/>
                      <a:pt x="35" y="34"/>
                    </a:cubicBezTo>
                    <a:cubicBezTo>
                      <a:pt x="45" y="26"/>
                      <a:pt x="49" y="12"/>
                      <a:pt x="47" y="0"/>
                    </a:cubicBezTo>
                    <a:close/>
                  </a:path>
                </a:pathLst>
              </a:custGeom>
              <a:gradFill rotWithShape="1">
                <a:gsLst>
                  <a:gs pos="0">
                    <a:srgbClr val="3F1111"/>
                  </a:gs>
                  <a:gs pos="50000">
                    <a:srgbClr val="D03737"/>
                  </a:gs>
                  <a:gs pos="100000">
                    <a:srgbClr val="3F1111"/>
                  </a:gs>
                </a:gsLst>
                <a:lin ang="189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tr-TR">
                  <a:solidFill>
                    <a:schemeClr val="tx2">
                      <a:lumMod val="50000"/>
                    </a:schemeClr>
                  </a:solidFill>
                </a:endParaRPr>
              </a:p>
            </p:txBody>
          </p:sp>
          <p:sp>
            <p:nvSpPr>
              <p:cNvPr id="20512" name="Freeform 290"/>
              <p:cNvSpPr>
                <a:spLocks/>
              </p:cNvSpPr>
              <p:nvPr/>
            </p:nvSpPr>
            <p:spPr bwMode="gray">
              <a:xfrm rot="-10756093">
                <a:off x="2918" y="2356"/>
                <a:ext cx="67" cy="54"/>
              </a:xfrm>
              <a:custGeom>
                <a:avLst/>
                <a:gdLst>
                  <a:gd name="T0" fmla="*/ 49 w 51"/>
                  <a:gd name="T1" fmla="*/ 0 h 47"/>
                  <a:gd name="T2" fmla="*/ 35 w 51"/>
                  <a:gd name="T3" fmla="*/ 35 h 47"/>
                  <a:gd name="T4" fmla="*/ 0 w 51"/>
                  <a:gd name="T5" fmla="*/ 42 h 47"/>
                  <a:gd name="T6" fmla="*/ 37 w 51"/>
                  <a:gd name="T7" fmla="*/ 36 h 47"/>
                  <a:gd name="T8" fmla="*/ 49 w 51"/>
                  <a:gd name="T9" fmla="*/ 0 h 47"/>
                  <a:gd name="T10" fmla="*/ 0 60000 65536"/>
                  <a:gd name="T11" fmla="*/ 0 60000 65536"/>
                  <a:gd name="T12" fmla="*/ 0 60000 65536"/>
                  <a:gd name="T13" fmla="*/ 0 60000 65536"/>
                  <a:gd name="T14" fmla="*/ 0 60000 65536"/>
                  <a:gd name="T15" fmla="*/ 0 w 51"/>
                  <a:gd name="T16" fmla="*/ 0 h 47"/>
                  <a:gd name="T17" fmla="*/ 51 w 51"/>
                  <a:gd name="T18" fmla="*/ 47 h 47"/>
                </a:gdLst>
                <a:ahLst/>
                <a:cxnLst>
                  <a:cxn ang="T10">
                    <a:pos x="T0" y="T1"/>
                  </a:cxn>
                  <a:cxn ang="T11">
                    <a:pos x="T2" y="T3"/>
                  </a:cxn>
                  <a:cxn ang="T12">
                    <a:pos x="T4" y="T5"/>
                  </a:cxn>
                  <a:cxn ang="T13">
                    <a:pos x="T6" y="T7"/>
                  </a:cxn>
                  <a:cxn ang="T14">
                    <a:pos x="T8" y="T9"/>
                  </a:cxn>
                </a:cxnLst>
                <a:rect l="T15" t="T16" r="T17" b="T18"/>
                <a:pathLst>
                  <a:path w="51" h="47">
                    <a:moveTo>
                      <a:pt x="49" y="0"/>
                    </a:moveTo>
                    <a:cubicBezTo>
                      <a:pt x="50" y="13"/>
                      <a:pt x="46" y="26"/>
                      <a:pt x="35" y="35"/>
                    </a:cubicBezTo>
                    <a:cubicBezTo>
                      <a:pt x="26" y="43"/>
                      <a:pt x="12" y="46"/>
                      <a:pt x="0" y="42"/>
                    </a:cubicBezTo>
                    <a:cubicBezTo>
                      <a:pt x="12" y="47"/>
                      <a:pt x="26" y="45"/>
                      <a:pt x="37" y="36"/>
                    </a:cubicBezTo>
                    <a:cubicBezTo>
                      <a:pt x="47" y="27"/>
                      <a:pt x="51" y="13"/>
                      <a:pt x="49" y="0"/>
                    </a:cubicBezTo>
                    <a:close/>
                  </a:path>
                </a:pathLst>
              </a:custGeom>
              <a:gradFill rotWithShape="1">
                <a:gsLst>
                  <a:gs pos="0">
                    <a:srgbClr val="3F1111"/>
                  </a:gs>
                  <a:gs pos="50000">
                    <a:srgbClr val="D03737"/>
                  </a:gs>
                  <a:gs pos="100000">
                    <a:srgbClr val="3F1111"/>
                  </a:gs>
                </a:gsLst>
                <a:lin ang="189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tr-TR">
                  <a:solidFill>
                    <a:schemeClr val="tx2">
                      <a:lumMod val="50000"/>
                    </a:schemeClr>
                  </a:solidFill>
                </a:endParaRPr>
              </a:p>
            </p:txBody>
          </p:sp>
          <p:sp>
            <p:nvSpPr>
              <p:cNvPr id="20513" name="Freeform 291"/>
              <p:cNvSpPr>
                <a:spLocks/>
              </p:cNvSpPr>
              <p:nvPr/>
            </p:nvSpPr>
            <p:spPr bwMode="gray">
              <a:xfrm rot="-10756093">
                <a:off x="2905" y="2343"/>
                <a:ext cx="61" cy="50"/>
              </a:xfrm>
              <a:custGeom>
                <a:avLst/>
                <a:gdLst>
                  <a:gd name="T0" fmla="*/ 45 w 47"/>
                  <a:gd name="T1" fmla="*/ 0 h 43"/>
                  <a:gd name="T2" fmla="*/ 33 w 47"/>
                  <a:gd name="T3" fmla="*/ 32 h 43"/>
                  <a:gd name="T4" fmla="*/ 0 w 47"/>
                  <a:gd name="T5" fmla="*/ 39 h 43"/>
                  <a:gd name="T6" fmla="*/ 34 w 47"/>
                  <a:gd name="T7" fmla="*/ 33 h 43"/>
                  <a:gd name="T8" fmla="*/ 45 w 47"/>
                  <a:gd name="T9" fmla="*/ 0 h 43"/>
                  <a:gd name="T10" fmla="*/ 0 60000 65536"/>
                  <a:gd name="T11" fmla="*/ 0 60000 65536"/>
                  <a:gd name="T12" fmla="*/ 0 60000 65536"/>
                  <a:gd name="T13" fmla="*/ 0 60000 65536"/>
                  <a:gd name="T14" fmla="*/ 0 60000 65536"/>
                  <a:gd name="T15" fmla="*/ 0 w 47"/>
                  <a:gd name="T16" fmla="*/ 0 h 43"/>
                  <a:gd name="T17" fmla="*/ 47 w 47"/>
                  <a:gd name="T18" fmla="*/ 43 h 43"/>
                </a:gdLst>
                <a:ahLst/>
                <a:cxnLst>
                  <a:cxn ang="T10">
                    <a:pos x="T0" y="T1"/>
                  </a:cxn>
                  <a:cxn ang="T11">
                    <a:pos x="T2" y="T3"/>
                  </a:cxn>
                  <a:cxn ang="T12">
                    <a:pos x="T4" y="T5"/>
                  </a:cxn>
                  <a:cxn ang="T13">
                    <a:pos x="T6" y="T7"/>
                  </a:cxn>
                  <a:cxn ang="T14">
                    <a:pos x="T8" y="T9"/>
                  </a:cxn>
                </a:cxnLst>
                <a:rect l="T15" t="T16" r="T17" b="T18"/>
                <a:pathLst>
                  <a:path w="47" h="43">
                    <a:moveTo>
                      <a:pt x="45" y="0"/>
                    </a:moveTo>
                    <a:cubicBezTo>
                      <a:pt x="46" y="12"/>
                      <a:pt x="42" y="24"/>
                      <a:pt x="33" y="32"/>
                    </a:cubicBezTo>
                    <a:cubicBezTo>
                      <a:pt x="24" y="39"/>
                      <a:pt x="12" y="42"/>
                      <a:pt x="0" y="39"/>
                    </a:cubicBezTo>
                    <a:cubicBezTo>
                      <a:pt x="12" y="43"/>
                      <a:pt x="25" y="41"/>
                      <a:pt x="34" y="33"/>
                    </a:cubicBezTo>
                    <a:cubicBezTo>
                      <a:pt x="43" y="25"/>
                      <a:pt x="47" y="12"/>
                      <a:pt x="45" y="0"/>
                    </a:cubicBezTo>
                    <a:close/>
                  </a:path>
                </a:pathLst>
              </a:custGeom>
              <a:gradFill rotWithShape="1">
                <a:gsLst>
                  <a:gs pos="0">
                    <a:srgbClr val="3F1111"/>
                  </a:gs>
                  <a:gs pos="50000">
                    <a:srgbClr val="D03737"/>
                  </a:gs>
                  <a:gs pos="100000">
                    <a:srgbClr val="3F1111"/>
                  </a:gs>
                </a:gsLst>
                <a:lin ang="189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tr-TR">
                  <a:solidFill>
                    <a:schemeClr val="tx2">
                      <a:lumMod val="50000"/>
                    </a:schemeClr>
                  </a:solidFill>
                </a:endParaRPr>
              </a:p>
            </p:txBody>
          </p:sp>
        </p:grpSp>
      </p:grpSp>
      <p:sp>
        <p:nvSpPr>
          <p:cNvPr id="20496" name="Rectangle 296"/>
          <p:cNvSpPr>
            <a:spLocks noChangeArrowheads="1"/>
          </p:cNvSpPr>
          <p:nvPr/>
        </p:nvSpPr>
        <p:spPr bwMode="auto">
          <a:xfrm rot="5400000">
            <a:off x="4514850" y="2343150"/>
            <a:ext cx="114300" cy="9144000"/>
          </a:xfrm>
          <a:prstGeom prst="rect">
            <a:avLst/>
          </a:prstGeom>
          <a:solidFill>
            <a:schemeClr val="bg1">
              <a:alpha val="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tr-TR">
              <a:solidFill>
                <a:schemeClr val="tx2">
                  <a:lumMod val="50000"/>
                </a:schemeClr>
              </a:solidFill>
            </a:endParaRPr>
          </a:p>
        </p:txBody>
      </p:sp>
      <p:sp>
        <p:nvSpPr>
          <p:cNvPr id="279850" name="Rectangle 298"/>
          <p:cNvSpPr>
            <a:spLocks noChangeArrowheads="1"/>
          </p:cNvSpPr>
          <p:nvPr/>
        </p:nvSpPr>
        <p:spPr bwMode="auto">
          <a:xfrm rot="5400000">
            <a:off x="4514850" y="2343150"/>
            <a:ext cx="114300" cy="9144000"/>
          </a:xfrm>
          <a:prstGeom prst="rect">
            <a:avLst/>
          </a:prstGeom>
          <a:solidFill>
            <a:schemeClr val="bg1">
              <a:alpha val="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tr-TR">
              <a:solidFill>
                <a:schemeClr val="tx2">
                  <a:lumMod val="50000"/>
                </a:schemeClr>
              </a:solidFill>
            </a:endParaRPr>
          </a:p>
        </p:txBody>
      </p:sp>
      <p:grpSp>
        <p:nvGrpSpPr>
          <p:cNvPr id="113" name="Group 117"/>
          <p:cNvGrpSpPr>
            <a:grpSpLocks/>
          </p:cNvGrpSpPr>
          <p:nvPr/>
        </p:nvGrpSpPr>
        <p:grpSpPr bwMode="auto">
          <a:xfrm>
            <a:off x="3787998" y="3676854"/>
            <a:ext cx="609600" cy="609600"/>
            <a:chOff x="-180" y="2946"/>
            <a:chExt cx="384" cy="384"/>
          </a:xfrm>
        </p:grpSpPr>
        <p:sp>
          <p:nvSpPr>
            <p:cNvPr id="114" name="Oval 113"/>
            <p:cNvSpPr>
              <a:spLocks noChangeArrowheads="1"/>
            </p:cNvSpPr>
            <p:nvPr/>
          </p:nvSpPr>
          <p:spPr bwMode="auto">
            <a:xfrm>
              <a:off x="-120" y="3006"/>
              <a:ext cx="264" cy="264"/>
            </a:xfrm>
            <a:prstGeom prst="ellipse">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tr-TR">
                <a:solidFill>
                  <a:schemeClr val="tx2">
                    <a:lumMod val="50000"/>
                  </a:schemeClr>
                </a:solidFill>
              </a:endParaRPr>
            </a:p>
          </p:txBody>
        </p:sp>
        <p:sp>
          <p:nvSpPr>
            <p:cNvPr id="115" name="Oval 115"/>
            <p:cNvSpPr>
              <a:spLocks noChangeArrowheads="1"/>
            </p:cNvSpPr>
            <p:nvPr/>
          </p:nvSpPr>
          <p:spPr bwMode="auto">
            <a:xfrm>
              <a:off x="-44" y="3082"/>
              <a:ext cx="112" cy="112"/>
            </a:xfrm>
            <a:prstGeom prst="ellipse">
              <a:avLst/>
            </a:prstGeom>
            <a:solidFill>
              <a:srgbClr val="BCBCBC"/>
            </a:solidFill>
            <a:ln w="9525">
              <a:solidFill>
                <a:schemeClr val="tx1"/>
              </a:solidFill>
              <a:round/>
              <a:headEnd/>
              <a:tailEnd/>
            </a:ln>
          </p:spPr>
          <p:txBody>
            <a:bodyPr wrap="none" anchor="ctr"/>
            <a:lstStyle/>
            <a:p>
              <a:endParaRPr lang="tr-TR">
                <a:solidFill>
                  <a:schemeClr val="tx2">
                    <a:lumMod val="50000"/>
                  </a:schemeClr>
                </a:solidFill>
              </a:endParaRPr>
            </a:p>
          </p:txBody>
        </p:sp>
        <p:sp>
          <p:nvSpPr>
            <p:cNvPr id="116" name="Oval 116"/>
            <p:cNvSpPr>
              <a:spLocks noChangeArrowheads="1"/>
            </p:cNvSpPr>
            <p:nvPr/>
          </p:nvSpPr>
          <p:spPr bwMode="auto">
            <a:xfrm>
              <a:off x="-180" y="2946"/>
              <a:ext cx="384" cy="384"/>
            </a:xfrm>
            <a:prstGeom prst="ellipse">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tr-TR">
                <a:solidFill>
                  <a:schemeClr val="tx2">
                    <a:lumMod val="50000"/>
                  </a:schemeClr>
                </a:solidFill>
              </a:endParaRPr>
            </a:p>
          </p:txBody>
        </p:sp>
      </p:grpSp>
      <p:grpSp>
        <p:nvGrpSpPr>
          <p:cNvPr id="96" name="Group 203"/>
          <p:cNvGrpSpPr>
            <a:grpSpLocks/>
          </p:cNvGrpSpPr>
          <p:nvPr/>
        </p:nvGrpSpPr>
        <p:grpSpPr bwMode="auto">
          <a:xfrm rot="8297255">
            <a:off x="2116240" y="3186657"/>
            <a:ext cx="1655763" cy="1571625"/>
            <a:chOff x="3097" y="1092"/>
            <a:chExt cx="788" cy="748"/>
          </a:xfrm>
        </p:grpSpPr>
        <p:grpSp>
          <p:nvGrpSpPr>
            <p:cNvPr id="97" name="Group 204"/>
            <p:cNvGrpSpPr>
              <a:grpSpLocks/>
            </p:cNvGrpSpPr>
            <p:nvPr/>
          </p:nvGrpSpPr>
          <p:grpSpPr bwMode="auto">
            <a:xfrm>
              <a:off x="3146" y="1103"/>
              <a:ext cx="739" cy="737"/>
              <a:chOff x="3146" y="1103"/>
              <a:chExt cx="739" cy="737"/>
            </a:xfrm>
          </p:grpSpPr>
          <p:sp>
            <p:nvSpPr>
              <p:cNvPr id="108" name="Freeform 205"/>
              <p:cNvSpPr>
                <a:spLocks/>
              </p:cNvSpPr>
              <p:nvPr/>
            </p:nvSpPr>
            <p:spPr bwMode="gray">
              <a:xfrm rot="10521890">
                <a:off x="3146" y="1103"/>
                <a:ext cx="371" cy="414"/>
              </a:xfrm>
              <a:custGeom>
                <a:avLst/>
                <a:gdLst>
                  <a:gd name="T0" fmla="*/ 306 w 365"/>
                  <a:gd name="T1" fmla="*/ 321 h 456"/>
                  <a:gd name="T2" fmla="*/ 210 w 365"/>
                  <a:gd name="T3" fmla="*/ 212 h 456"/>
                  <a:gd name="T4" fmla="*/ 23 w 365"/>
                  <a:gd name="T5" fmla="*/ 42 h 456"/>
                  <a:gd name="T6" fmla="*/ 23 w 365"/>
                  <a:gd name="T7" fmla="*/ 86 h 456"/>
                  <a:gd name="T8" fmla="*/ 145 w 365"/>
                  <a:gd name="T9" fmla="*/ 276 h 456"/>
                  <a:gd name="T10" fmla="*/ 238 w 365"/>
                  <a:gd name="T11" fmla="*/ 382 h 456"/>
                  <a:gd name="T12" fmla="*/ 326 w 365"/>
                  <a:gd name="T13" fmla="*/ 451 h 456"/>
                  <a:gd name="T14" fmla="*/ 365 w 365"/>
                  <a:gd name="T15" fmla="*/ 412 h 456"/>
                  <a:gd name="T16" fmla="*/ 306 w 365"/>
                  <a:gd name="T17" fmla="*/ 321 h 45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65"/>
                  <a:gd name="T28" fmla="*/ 0 h 456"/>
                  <a:gd name="T29" fmla="*/ 365 w 365"/>
                  <a:gd name="T30" fmla="*/ 456 h 45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65" h="456">
                    <a:moveTo>
                      <a:pt x="306" y="321"/>
                    </a:moveTo>
                    <a:cubicBezTo>
                      <a:pt x="210" y="212"/>
                      <a:pt x="210" y="212"/>
                      <a:pt x="210" y="212"/>
                    </a:cubicBezTo>
                    <a:cubicBezTo>
                      <a:pt x="23" y="42"/>
                      <a:pt x="23" y="42"/>
                      <a:pt x="23" y="42"/>
                    </a:cubicBezTo>
                    <a:cubicBezTo>
                      <a:pt x="23" y="42"/>
                      <a:pt x="0" y="0"/>
                      <a:pt x="23" y="86"/>
                    </a:cubicBezTo>
                    <a:cubicBezTo>
                      <a:pt x="145" y="276"/>
                      <a:pt x="145" y="276"/>
                      <a:pt x="145" y="276"/>
                    </a:cubicBezTo>
                    <a:cubicBezTo>
                      <a:pt x="238" y="382"/>
                      <a:pt x="238" y="382"/>
                      <a:pt x="238" y="382"/>
                    </a:cubicBezTo>
                    <a:cubicBezTo>
                      <a:pt x="326" y="451"/>
                      <a:pt x="326" y="451"/>
                      <a:pt x="326" y="451"/>
                    </a:cubicBezTo>
                    <a:cubicBezTo>
                      <a:pt x="326" y="451"/>
                      <a:pt x="364" y="456"/>
                      <a:pt x="365" y="412"/>
                    </a:cubicBezTo>
                    <a:lnTo>
                      <a:pt x="306" y="321"/>
                    </a:lnTo>
                    <a:close/>
                  </a:path>
                </a:pathLst>
              </a:custGeom>
              <a:gradFill rotWithShape="1">
                <a:gsLst>
                  <a:gs pos="0">
                    <a:srgbClr val="00060B"/>
                  </a:gs>
                  <a:gs pos="100000">
                    <a:srgbClr val="0061B2"/>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tr-TR">
                  <a:solidFill>
                    <a:schemeClr val="tx2">
                      <a:lumMod val="50000"/>
                    </a:schemeClr>
                  </a:solidFill>
                </a:endParaRPr>
              </a:p>
            </p:txBody>
          </p:sp>
          <p:sp>
            <p:nvSpPr>
              <p:cNvPr id="109" name="Freeform 206"/>
              <p:cNvSpPr>
                <a:spLocks/>
              </p:cNvSpPr>
              <p:nvPr/>
            </p:nvSpPr>
            <p:spPr bwMode="gray">
              <a:xfrm rot="10521890">
                <a:off x="3376" y="1238"/>
                <a:ext cx="509" cy="347"/>
              </a:xfrm>
              <a:custGeom>
                <a:avLst/>
                <a:gdLst>
                  <a:gd name="T0" fmla="*/ 201 w 501"/>
                  <a:gd name="T1" fmla="*/ 0 h 383"/>
                  <a:gd name="T2" fmla="*/ 27 w 501"/>
                  <a:gd name="T3" fmla="*/ 50 h 383"/>
                  <a:gd name="T4" fmla="*/ 431 w 501"/>
                  <a:gd name="T5" fmla="*/ 383 h 383"/>
                  <a:gd name="T6" fmla="*/ 501 w 501"/>
                  <a:gd name="T7" fmla="*/ 317 h 383"/>
                  <a:gd name="T8" fmla="*/ 201 w 501"/>
                  <a:gd name="T9" fmla="*/ 0 h 383"/>
                  <a:gd name="T10" fmla="*/ 0 60000 65536"/>
                  <a:gd name="T11" fmla="*/ 0 60000 65536"/>
                  <a:gd name="T12" fmla="*/ 0 60000 65536"/>
                  <a:gd name="T13" fmla="*/ 0 60000 65536"/>
                  <a:gd name="T14" fmla="*/ 0 60000 65536"/>
                  <a:gd name="T15" fmla="*/ 0 w 501"/>
                  <a:gd name="T16" fmla="*/ 0 h 383"/>
                  <a:gd name="T17" fmla="*/ 501 w 501"/>
                  <a:gd name="T18" fmla="*/ 383 h 383"/>
                </a:gdLst>
                <a:ahLst/>
                <a:cxnLst>
                  <a:cxn ang="T10">
                    <a:pos x="T0" y="T1"/>
                  </a:cxn>
                  <a:cxn ang="T11">
                    <a:pos x="T2" y="T3"/>
                  </a:cxn>
                  <a:cxn ang="T12">
                    <a:pos x="T4" y="T5"/>
                  </a:cxn>
                  <a:cxn ang="T13">
                    <a:pos x="T6" y="T7"/>
                  </a:cxn>
                  <a:cxn ang="T14">
                    <a:pos x="T8" y="T9"/>
                  </a:cxn>
                </a:cxnLst>
                <a:rect l="T15" t="T16" r="T17" b="T18"/>
                <a:pathLst>
                  <a:path w="501" h="383">
                    <a:moveTo>
                      <a:pt x="201" y="0"/>
                    </a:moveTo>
                    <a:cubicBezTo>
                      <a:pt x="201" y="0"/>
                      <a:pt x="36" y="6"/>
                      <a:pt x="27" y="50"/>
                    </a:cubicBezTo>
                    <a:cubicBezTo>
                      <a:pt x="0" y="179"/>
                      <a:pt x="431" y="383"/>
                      <a:pt x="431" y="383"/>
                    </a:cubicBezTo>
                    <a:cubicBezTo>
                      <a:pt x="501" y="317"/>
                      <a:pt x="501" y="317"/>
                      <a:pt x="501" y="317"/>
                    </a:cubicBezTo>
                    <a:lnTo>
                      <a:pt x="201" y="0"/>
                    </a:lnTo>
                    <a:close/>
                  </a:path>
                </a:pathLst>
              </a:custGeom>
              <a:gradFill rotWithShape="1">
                <a:gsLst>
                  <a:gs pos="0">
                    <a:srgbClr val="69A2E1"/>
                  </a:gs>
                  <a:gs pos="100000">
                    <a:srgbClr val="A4C6ED"/>
                  </a:gs>
                </a:gsLst>
                <a:lin ang="189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tr-TR">
                  <a:solidFill>
                    <a:schemeClr val="tx2">
                      <a:lumMod val="50000"/>
                    </a:schemeClr>
                  </a:solidFill>
                </a:endParaRPr>
              </a:p>
            </p:txBody>
          </p:sp>
          <p:sp>
            <p:nvSpPr>
              <p:cNvPr id="110" name="Freeform 207"/>
              <p:cNvSpPr>
                <a:spLocks/>
              </p:cNvSpPr>
              <p:nvPr/>
            </p:nvSpPr>
            <p:spPr bwMode="gray">
              <a:xfrm rot="10521890">
                <a:off x="3304" y="1309"/>
                <a:ext cx="389" cy="531"/>
              </a:xfrm>
              <a:custGeom>
                <a:avLst/>
                <a:gdLst>
                  <a:gd name="T0" fmla="*/ 126 w 383"/>
                  <a:gd name="T1" fmla="*/ 5 h 586"/>
                  <a:gd name="T2" fmla="*/ 0 w 383"/>
                  <a:gd name="T3" fmla="*/ 269 h 586"/>
                  <a:gd name="T4" fmla="*/ 300 w 383"/>
                  <a:gd name="T5" fmla="*/ 586 h 586"/>
                  <a:gd name="T6" fmla="*/ 383 w 383"/>
                  <a:gd name="T7" fmla="*/ 442 h 586"/>
                  <a:gd name="T8" fmla="*/ 126 w 383"/>
                  <a:gd name="T9" fmla="*/ 5 h 586"/>
                  <a:gd name="T10" fmla="*/ 0 60000 65536"/>
                  <a:gd name="T11" fmla="*/ 0 60000 65536"/>
                  <a:gd name="T12" fmla="*/ 0 60000 65536"/>
                  <a:gd name="T13" fmla="*/ 0 60000 65536"/>
                  <a:gd name="T14" fmla="*/ 0 60000 65536"/>
                  <a:gd name="T15" fmla="*/ 0 w 383"/>
                  <a:gd name="T16" fmla="*/ 0 h 586"/>
                  <a:gd name="T17" fmla="*/ 383 w 383"/>
                  <a:gd name="T18" fmla="*/ 586 h 586"/>
                </a:gdLst>
                <a:ahLst/>
                <a:cxnLst>
                  <a:cxn ang="T10">
                    <a:pos x="T0" y="T1"/>
                  </a:cxn>
                  <a:cxn ang="T11">
                    <a:pos x="T2" y="T3"/>
                  </a:cxn>
                  <a:cxn ang="T12">
                    <a:pos x="T4" y="T5"/>
                  </a:cxn>
                  <a:cxn ang="T13">
                    <a:pos x="T6" y="T7"/>
                  </a:cxn>
                  <a:cxn ang="T14">
                    <a:pos x="T8" y="T9"/>
                  </a:cxn>
                </a:cxnLst>
                <a:rect l="T15" t="T16" r="T17" b="T18"/>
                <a:pathLst>
                  <a:path w="383" h="586">
                    <a:moveTo>
                      <a:pt x="126" y="5"/>
                    </a:moveTo>
                    <a:cubicBezTo>
                      <a:pt x="53" y="8"/>
                      <a:pt x="0" y="269"/>
                      <a:pt x="0" y="269"/>
                    </a:cubicBezTo>
                    <a:cubicBezTo>
                      <a:pt x="300" y="586"/>
                      <a:pt x="300" y="586"/>
                      <a:pt x="300" y="586"/>
                    </a:cubicBezTo>
                    <a:cubicBezTo>
                      <a:pt x="383" y="442"/>
                      <a:pt x="383" y="442"/>
                      <a:pt x="383" y="442"/>
                    </a:cubicBezTo>
                    <a:cubicBezTo>
                      <a:pt x="383" y="442"/>
                      <a:pt x="252" y="0"/>
                      <a:pt x="126" y="5"/>
                    </a:cubicBezTo>
                    <a:close/>
                  </a:path>
                </a:pathLst>
              </a:custGeom>
              <a:gradFill rotWithShape="1">
                <a:gsLst>
                  <a:gs pos="0">
                    <a:srgbClr val="8CB8E8"/>
                  </a:gs>
                  <a:gs pos="100000">
                    <a:srgbClr val="69A2E1"/>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tr-TR">
                  <a:solidFill>
                    <a:schemeClr val="tx2">
                      <a:lumMod val="50000"/>
                    </a:schemeClr>
                  </a:solidFill>
                </a:endParaRPr>
              </a:p>
            </p:txBody>
          </p:sp>
          <p:sp>
            <p:nvSpPr>
              <p:cNvPr id="111" name="Freeform 208"/>
              <p:cNvSpPr>
                <a:spLocks/>
              </p:cNvSpPr>
              <p:nvPr/>
            </p:nvSpPr>
            <p:spPr bwMode="gray">
              <a:xfrm rot="10521890">
                <a:off x="3374" y="1172"/>
                <a:ext cx="305" cy="422"/>
              </a:xfrm>
              <a:custGeom>
                <a:avLst/>
                <a:gdLst>
                  <a:gd name="T0" fmla="*/ 0 w 300"/>
                  <a:gd name="T1" fmla="*/ 0 h 466"/>
                  <a:gd name="T2" fmla="*/ 40 w 300"/>
                  <a:gd name="T3" fmla="*/ 280 h 466"/>
                  <a:gd name="T4" fmla="*/ 269 w 300"/>
                  <a:gd name="T5" fmla="*/ 466 h 466"/>
                  <a:gd name="T6" fmla="*/ 300 w 300"/>
                  <a:gd name="T7" fmla="*/ 317 h 466"/>
                  <a:gd name="T8" fmla="*/ 0 w 300"/>
                  <a:gd name="T9" fmla="*/ 0 h 466"/>
                  <a:gd name="T10" fmla="*/ 0 60000 65536"/>
                  <a:gd name="T11" fmla="*/ 0 60000 65536"/>
                  <a:gd name="T12" fmla="*/ 0 60000 65536"/>
                  <a:gd name="T13" fmla="*/ 0 60000 65536"/>
                  <a:gd name="T14" fmla="*/ 0 60000 65536"/>
                  <a:gd name="T15" fmla="*/ 0 w 300"/>
                  <a:gd name="T16" fmla="*/ 0 h 466"/>
                  <a:gd name="T17" fmla="*/ 300 w 300"/>
                  <a:gd name="T18" fmla="*/ 466 h 466"/>
                </a:gdLst>
                <a:ahLst/>
                <a:cxnLst>
                  <a:cxn ang="T10">
                    <a:pos x="T0" y="T1"/>
                  </a:cxn>
                  <a:cxn ang="T11">
                    <a:pos x="T2" y="T3"/>
                  </a:cxn>
                  <a:cxn ang="T12">
                    <a:pos x="T4" y="T5"/>
                  </a:cxn>
                  <a:cxn ang="T13">
                    <a:pos x="T6" y="T7"/>
                  </a:cxn>
                  <a:cxn ang="T14">
                    <a:pos x="T8" y="T9"/>
                  </a:cxn>
                </a:cxnLst>
                <a:rect l="T15" t="T16" r="T17" b="T18"/>
                <a:pathLst>
                  <a:path w="300" h="466">
                    <a:moveTo>
                      <a:pt x="0" y="0"/>
                    </a:moveTo>
                    <a:cubicBezTo>
                      <a:pt x="0" y="0"/>
                      <a:pt x="5" y="219"/>
                      <a:pt x="40" y="280"/>
                    </a:cubicBezTo>
                    <a:cubicBezTo>
                      <a:pt x="77" y="344"/>
                      <a:pt x="269" y="466"/>
                      <a:pt x="269" y="466"/>
                    </a:cubicBezTo>
                    <a:cubicBezTo>
                      <a:pt x="300" y="317"/>
                      <a:pt x="300" y="317"/>
                      <a:pt x="300" y="317"/>
                    </a:cubicBezTo>
                    <a:lnTo>
                      <a:pt x="0" y="0"/>
                    </a:lnTo>
                    <a:close/>
                  </a:path>
                </a:pathLst>
              </a:custGeom>
              <a:gradFill rotWithShape="1">
                <a:gsLst>
                  <a:gs pos="0">
                    <a:srgbClr val="0061B2"/>
                  </a:gs>
                  <a:gs pos="100000">
                    <a:srgbClr val="002D52"/>
                  </a:gs>
                </a:gsLst>
                <a:lin ang="189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tr-TR">
                  <a:solidFill>
                    <a:schemeClr val="tx2">
                      <a:lumMod val="50000"/>
                    </a:schemeClr>
                  </a:solidFill>
                </a:endParaRPr>
              </a:p>
            </p:txBody>
          </p:sp>
          <p:sp>
            <p:nvSpPr>
              <p:cNvPr id="112" name="Freeform 209"/>
              <p:cNvSpPr>
                <a:spLocks/>
              </p:cNvSpPr>
              <p:nvPr/>
            </p:nvSpPr>
            <p:spPr bwMode="gray">
              <a:xfrm rot="10521890">
                <a:off x="3244" y="1312"/>
                <a:ext cx="441" cy="321"/>
              </a:xfrm>
              <a:custGeom>
                <a:avLst/>
                <a:gdLst>
                  <a:gd name="T0" fmla="*/ 0 w 435"/>
                  <a:gd name="T1" fmla="*/ 37 h 354"/>
                  <a:gd name="T2" fmla="*/ 279 w 435"/>
                  <a:gd name="T3" fmla="*/ 35 h 354"/>
                  <a:gd name="T4" fmla="*/ 435 w 435"/>
                  <a:gd name="T5" fmla="*/ 300 h 354"/>
                  <a:gd name="T6" fmla="*/ 300 w 435"/>
                  <a:gd name="T7" fmla="*/ 354 h 354"/>
                  <a:gd name="T8" fmla="*/ 0 w 435"/>
                  <a:gd name="T9" fmla="*/ 37 h 354"/>
                  <a:gd name="T10" fmla="*/ 0 60000 65536"/>
                  <a:gd name="T11" fmla="*/ 0 60000 65536"/>
                  <a:gd name="T12" fmla="*/ 0 60000 65536"/>
                  <a:gd name="T13" fmla="*/ 0 60000 65536"/>
                  <a:gd name="T14" fmla="*/ 0 60000 65536"/>
                  <a:gd name="T15" fmla="*/ 0 w 435"/>
                  <a:gd name="T16" fmla="*/ 0 h 354"/>
                  <a:gd name="T17" fmla="*/ 435 w 435"/>
                  <a:gd name="T18" fmla="*/ 354 h 354"/>
                </a:gdLst>
                <a:ahLst/>
                <a:cxnLst>
                  <a:cxn ang="T10">
                    <a:pos x="T0" y="T1"/>
                  </a:cxn>
                  <a:cxn ang="T11">
                    <a:pos x="T2" y="T3"/>
                  </a:cxn>
                  <a:cxn ang="T12">
                    <a:pos x="T4" y="T5"/>
                  </a:cxn>
                  <a:cxn ang="T13">
                    <a:pos x="T6" y="T7"/>
                  </a:cxn>
                  <a:cxn ang="T14">
                    <a:pos x="T8" y="T9"/>
                  </a:cxn>
                </a:cxnLst>
                <a:rect l="T15" t="T16" r="T17" b="T18"/>
                <a:pathLst>
                  <a:path w="435" h="354">
                    <a:moveTo>
                      <a:pt x="0" y="37"/>
                    </a:moveTo>
                    <a:cubicBezTo>
                      <a:pt x="0" y="37"/>
                      <a:pt x="219" y="0"/>
                      <a:pt x="279" y="35"/>
                    </a:cubicBezTo>
                    <a:cubicBezTo>
                      <a:pt x="346" y="73"/>
                      <a:pt x="435" y="300"/>
                      <a:pt x="435" y="300"/>
                    </a:cubicBezTo>
                    <a:cubicBezTo>
                      <a:pt x="300" y="354"/>
                      <a:pt x="300" y="354"/>
                      <a:pt x="300" y="354"/>
                    </a:cubicBezTo>
                    <a:lnTo>
                      <a:pt x="0" y="37"/>
                    </a:lnTo>
                    <a:close/>
                  </a:path>
                </a:pathLst>
              </a:custGeom>
              <a:gradFill rotWithShape="1">
                <a:gsLst>
                  <a:gs pos="0">
                    <a:srgbClr val="001D36"/>
                  </a:gs>
                  <a:gs pos="100000">
                    <a:srgbClr val="0061B2"/>
                  </a:gs>
                </a:gsLst>
                <a:lin ang="27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tr-TR">
                  <a:solidFill>
                    <a:schemeClr val="tx2">
                      <a:lumMod val="50000"/>
                    </a:schemeClr>
                  </a:solidFill>
                </a:endParaRPr>
              </a:p>
            </p:txBody>
          </p:sp>
        </p:grpSp>
        <p:grpSp>
          <p:nvGrpSpPr>
            <p:cNvPr id="98" name="Group 210"/>
            <p:cNvGrpSpPr>
              <a:grpSpLocks/>
            </p:cNvGrpSpPr>
            <p:nvPr/>
          </p:nvGrpSpPr>
          <p:grpSpPr bwMode="auto">
            <a:xfrm>
              <a:off x="3097" y="1092"/>
              <a:ext cx="141" cy="122"/>
              <a:chOff x="3097" y="1092"/>
              <a:chExt cx="141" cy="122"/>
            </a:xfrm>
          </p:grpSpPr>
          <p:sp>
            <p:nvSpPr>
              <p:cNvPr id="106" name="Freeform 211"/>
              <p:cNvSpPr>
                <a:spLocks/>
              </p:cNvSpPr>
              <p:nvPr/>
            </p:nvSpPr>
            <p:spPr bwMode="gray">
              <a:xfrm rot="10521890">
                <a:off x="3097" y="1092"/>
                <a:ext cx="62" cy="61"/>
              </a:xfrm>
              <a:custGeom>
                <a:avLst/>
                <a:gdLst>
                  <a:gd name="T0" fmla="*/ 61 w 61"/>
                  <a:gd name="T1" fmla="*/ 68 h 68"/>
                  <a:gd name="T2" fmla="*/ 3 w 61"/>
                  <a:gd name="T3" fmla="*/ 16 h 68"/>
                  <a:gd name="T4" fmla="*/ 0 w 61"/>
                  <a:gd name="T5" fmla="*/ 13 h 68"/>
                  <a:gd name="T6" fmla="*/ 8 w 61"/>
                  <a:gd name="T7" fmla="*/ 0 h 68"/>
                  <a:gd name="T8" fmla="*/ 10 w 61"/>
                  <a:gd name="T9" fmla="*/ 3 h 68"/>
                  <a:gd name="T10" fmla="*/ 61 w 61"/>
                  <a:gd name="T11" fmla="*/ 67 h 68"/>
                  <a:gd name="T12" fmla="*/ 61 w 61"/>
                  <a:gd name="T13" fmla="*/ 68 h 68"/>
                  <a:gd name="T14" fmla="*/ 0 60000 65536"/>
                  <a:gd name="T15" fmla="*/ 0 60000 65536"/>
                  <a:gd name="T16" fmla="*/ 0 60000 65536"/>
                  <a:gd name="T17" fmla="*/ 0 60000 65536"/>
                  <a:gd name="T18" fmla="*/ 0 60000 65536"/>
                  <a:gd name="T19" fmla="*/ 0 60000 65536"/>
                  <a:gd name="T20" fmla="*/ 0 60000 65536"/>
                  <a:gd name="T21" fmla="*/ 0 w 61"/>
                  <a:gd name="T22" fmla="*/ 0 h 68"/>
                  <a:gd name="T23" fmla="*/ 61 w 61"/>
                  <a:gd name="T24" fmla="*/ 68 h 6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1" h="68">
                    <a:moveTo>
                      <a:pt x="61" y="68"/>
                    </a:moveTo>
                    <a:cubicBezTo>
                      <a:pt x="3" y="16"/>
                      <a:pt x="3" y="16"/>
                      <a:pt x="3" y="16"/>
                    </a:cubicBezTo>
                    <a:cubicBezTo>
                      <a:pt x="0" y="13"/>
                      <a:pt x="0" y="13"/>
                      <a:pt x="0" y="13"/>
                    </a:cubicBezTo>
                    <a:cubicBezTo>
                      <a:pt x="0" y="13"/>
                      <a:pt x="4" y="4"/>
                      <a:pt x="8" y="0"/>
                    </a:cubicBezTo>
                    <a:cubicBezTo>
                      <a:pt x="10" y="3"/>
                      <a:pt x="10" y="3"/>
                      <a:pt x="10" y="3"/>
                    </a:cubicBezTo>
                    <a:cubicBezTo>
                      <a:pt x="61" y="67"/>
                      <a:pt x="61" y="67"/>
                      <a:pt x="61" y="67"/>
                    </a:cubicBezTo>
                    <a:lnTo>
                      <a:pt x="61" y="68"/>
                    </a:lnTo>
                    <a:close/>
                  </a:path>
                </a:pathLst>
              </a:custGeom>
              <a:gradFill rotWithShape="1">
                <a:gsLst>
                  <a:gs pos="0">
                    <a:srgbClr val="764C00"/>
                  </a:gs>
                  <a:gs pos="100000">
                    <a:srgbClr val="FEA501"/>
                  </a:gs>
                </a:gsLst>
                <a:lin ang="27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tr-TR">
                  <a:solidFill>
                    <a:schemeClr val="tx2">
                      <a:lumMod val="50000"/>
                    </a:schemeClr>
                  </a:solidFill>
                </a:endParaRPr>
              </a:p>
            </p:txBody>
          </p:sp>
          <p:sp>
            <p:nvSpPr>
              <p:cNvPr id="107" name="Freeform 212"/>
              <p:cNvSpPr>
                <a:spLocks/>
              </p:cNvSpPr>
              <p:nvPr/>
            </p:nvSpPr>
            <p:spPr bwMode="gray">
              <a:xfrm rot="10521890">
                <a:off x="3131" y="1112"/>
                <a:ext cx="107" cy="102"/>
              </a:xfrm>
              <a:custGeom>
                <a:avLst/>
                <a:gdLst>
                  <a:gd name="T0" fmla="*/ 60 w 106"/>
                  <a:gd name="T1" fmla="*/ 0 h 113"/>
                  <a:gd name="T2" fmla="*/ 41 w 106"/>
                  <a:gd name="T3" fmla="*/ 41 h 113"/>
                  <a:gd name="T4" fmla="*/ 0 w 106"/>
                  <a:gd name="T5" fmla="*/ 56 h 113"/>
                  <a:gd name="T6" fmla="*/ 64 w 106"/>
                  <a:gd name="T7" fmla="*/ 106 h 113"/>
                  <a:gd name="T8" fmla="*/ 103 w 106"/>
                  <a:gd name="T9" fmla="*/ 67 h 113"/>
                  <a:gd name="T10" fmla="*/ 60 w 106"/>
                  <a:gd name="T11" fmla="*/ 0 h 113"/>
                  <a:gd name="T12" fmla="*/ 0 60000 65536"/>
                  <a:gd name="T13" fmla="*/ 0 60000 65536"/>
                  <a:gd name="T14" fmla="*/ 0 60000 65536"/>
                  <a:gd name="T15" fmla="*/ 0 60000 65536"/>
                  <a:gd name="T16" fmla="*/ 0 60000 65536"/>
                  <a:gd name="T17" fmla="*/ 0 60000 65536"/>
                  <a:gd name="T18" fmla="*/ 0 w 106"/>
                  <a:gd name="T19" fmla="*/ 0 h 113"/>
                  <a:gd name="T20" fmla="*/ 106 w 106"/>
                  <a:gd name="T21" fmla="*/ 113 h 113"/>
                </a:gdLst>
                <a:ahLst/>
                <a:cxnLst>
                  <a:cxn ang="T12">
                    <a:pos x="T0" y="T1"/>
                  </a:cxn>
                  <a:cxn ang="T13">
                    <a:pos x="T2" y="T3"/>
                  </a:cxn>
                  <a:cxn ang="T14">
                    <a:pos x="T4" y="T5"/>
                  </a:cxn>
                  <a:cxn ang="T15">
                    <a:pos x="T6" y="T7"/>
                  </a:cxn>
                  <a:cxn ang="T16">
                    <a:pos x="T8" y="T9"/>
                  </a:cxn>
                  <a:cxn ang="T17">
                    <a:pos x="T10" y="T11"/>
                  </a:cxn>
                </a:cxnLst>
                <a:rect l="T18" t="T19" r="T20" b="T21"/>
                <a:pathLst>
                  <a:path w="106" h="113">
                    <a:moveTo>
                      <a:pt x="60" y="0"/>
                    </a:moveTo>
                    <a:cubicBezTo>
                      <a:pt x="60" y="0"/>
                      <a:pt x="62" y="20"/>
                      <a:pt x="41" y="41"/>
                    </a:cubicBezTo>
                    <a:cubicBezTo>
                      <a:pt x="17" y="63"/>
                      <a:pt x="0" y="56"/>
                      <a:pt x="0" y="56"/>
                    </a:cubicBezTo>
                    <a:cubicBezTo>
                      <a:pt x="64" y="106"/>
                      <a:pt x="64" y="106"/>
                      <a:pt x="64" y="106"/>
                    </a:cubicBezTo>
                    <a:cubicBezTo>
                      <a:pt x="64" y="106"/>
                      <a:pt x="106" y="113"/>
                      <a:pt x="103" y="67"/>
                    </a:cubicBezTo>
                    <a:lnTo>
                      <a:pt x="60" y="0"/>
                    </a:lnTo>
                    <a:close/>
                  </a:path>
                </a:pathLst>
              </a:custGeom>
              <a:gradFill rotWithShape="1">
                <a:gsLst>
                  <a:gs pos="0">
                    <a:srgbClr val="000000"/>
                  </a:gs>
                  <a:gs pos="100000">
                    <a:srgbClr val="FEA501"/>
                  </a:gs>
                </a:gsLst>
                <a:lin ang="189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tr-TR">
                  <a:solidFill>
                    <a:schemeClr val="tx2">
                      <a:lumMod val="50000"/>
                    </a:schemeClr>
                  </a:solidFill>
                </a:endParaRPr>
              </a:p>
            </p:txBody>
          </p:sp>
        </p:grpSp>
        <p:grpSp>
          <p:nvGrpSpPr>
            <p:cNvPr id="99" name="Group 213"/>
            <p:cNvGrpSpPr>
              <a:grpSpLocks/>
            </p:cNvGrpSpPr>
            <p:nvPr/>
          </p:nvGrpSpPr>
          <p:grpSpPr bwMode="auto">
            <a:xfrm rot="10521890">
              <a:off x="3137" y="1122"/>
              <a:ext cx="96" cy="86"/>
              <a:chOff x="2760" y="2156"/>
              <a:chExt cx="224" cy="225"/>
            </a:xfrm>
          </p:grpSpPr>
          <p:sp>
            <p:nvSpPr>
              <p:cNvPr id="100" name="Freeform 214"/>
              <p:cNvSpPr>
                <a:spLocks/>
              </p:cNvSpPr>
              <p:nvPr/>
            </p:nvSpPr>
            <p:spPr bwMode="gray">
              <a:xfrm>
                <a:off x="2781" y="2180"/>
                <a:ext cx="142" cy="130"/>
              </a:xfrm>
              <a:custGeom>
                <a:avLst/>
                <a:gdLst>
                  <a:gd name="T0" fmla="*/ 57 w 60"/>
                  <a:gd name="T1" fmla="*/ 0 h 55"/>
                  <a:gd name="T2" fmla="*/ 41 w 60"/>
                  <a:gd name="T3" fmla="*/ 41 h 55"/>
                  <a:gd name="T4" fmla="*/ 0 w 60"/>
                  <a:gd name="T5" fmla="*/ 50 h 55"/>
                  <a:gd name="T6" fmla="*/ 43 w 60"/>
                  <a:gd name="T7" fmla="*/ 42 h 55"/>
                  <a:gd name="T8" fmla="*/ 57 w 60"/>
                  <a:gd name="T9" fmla="*/ 0 h 55"/>
                  <a:gd name="T10" fmla="*/ 0 60000 65536"/>
                  <a:gd name="T11" fmla="*/ 0 60000 65536"/>
                  <a:gd name="T12" fmla="*/ 0 60000 65536"/>
                  <a:gd name="T13" fmla="*/ 0 60000 65536"/>
                  <a:gd name="T14" fmla="*/ 0 60000 65536"/>
                  <a:gd name="T15" fmla="*/ 0 w 60"/>
                  <a:gd name="T16" fmla="*/ 0 h 55"/>
                  <a:gd name="T17" fmla="*/ 60 w 60"/>
                  <a:gd name="T18" fmla="*/ 55 h 55"/>
                </a:gdLst>
                <a:ahLst/>
                <a:cxnLst>
                  <a:cxn ang="T10">
                    <a:pos x="T0" y="T1"/>
                  </a:cxn>
                  <a:cxn ang="T11">
                    <a:pos x="T2" y="T3"/>
                  </a:cxn>
                  <a:cxn ang="T12">
                    <a:pos x="T4" y="T5"/>
                  </a:cxn>
                  <a:cxn ang="T13">
                    <a:pos x="T6" y="T7"/>
                  </a:cxn>
                  <a:cxn ang="T14">
                    <a:pos x="T8" y="T9"/>
                  </a:cxn>
                </a:cxnLst>
                <a:rect l="T15" t="T16" r="T17" b="T18"/>
                <a:pathLst>
                  <a:path w="60" h="55">
                    <a:moveTo>
                      <a:pt x="57" y="0"/>
                    </a:moveTo>
                    <a:cubicBezTo>
                      <a:pt x="58" y="15"/>
                      <a:pt x="53" y="31"/>
                      <a:pt x="41" y="41"/>
                    </a:cubicBezTo>
                    <a:cubicBezTo>
                      <a:pt x="30" y="51"/>
                      <a:pt x="14" y="53"/>
                      <a:pt x="0" y="50"/>
                    </a:cubicBezTo>
                    <a:cubicBezTo>
                      <a:pt x="14" y="55"/>
                      <a:pt x="31" y="53"/>
                      <a:pt x="43" y="42"/>
                    </a:cubicBezTo>
                    <a:cubicBezTo>
                      <a:pt x="55" y="32"/>
                      <a:pt x="60" y="16"/>
                      <a:pt x="57" y="0"/>
                    </a:cubicBezTo>
                    <a:close/>
                  </a:path>
                </a:pathLst>
              </a:custGeom>
              <a:gradFill rotWithShape="1">
                <a:gsLst>
                  <a:gs pos="0">
                    <a:srgbClr val="001D36"/>
                  </a:gs>
                  <a:gs pos="50000">
                    <a:srgbClr val="0061B2"/>
                  </a:gs>
                  <a:gs pos="100000">
                    <a:srgbClr val="001D36"/>
                  </a:gs>
                </a:gsLst>
                <a:lin ang="189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tr-TR">
                  <a:solidFill>
                    <a:schemeClr val="tx2">
                      <a:lumMod val="50000"/>
                    </a:schemeClr>
                  </a:solidFill>
                </a:endParaRPr>
              </a:p>
            </p:txBody>
          </p:sp>
          <p:sp>
            <p:nvSpPr>
              <p:cNvPr id="101" name="Freeform 215"/>
              <p:cNvSpPr>
                <a:spLocks/>
              </p:cNvSpPr>
              <p:nvPr/>
            </p:nvSpPr>
            <p:spPr bwMode="gray">
              <a:xfrm>
                <a:off x="2760" y="2156"/>
                <a:ext cx="148" cy="137"/>
              </a:xfrm>
              <a:custGeom>
                <a:avLst/>
                <a:gdLst>
                  <a:gd name="T0" fmla="*/ 60 w 63"/>
                  <a:gd name="T1" fmla="*/ 0 h 58"/>
                  <a:gd name="T2" fmla="*/ 43 w 63"/>
                  <a:gd name="T3" fmla="*/ 43 h 58"/>
                  <a:gd name="T4" fmla="*/ 0 w 63"/>
                  <a:gd name="T5" fmla="*/ 53 h 58"/>
                  <a:gd name="T6" fmla="*/ 45 w 63"/>
                  <a:gd name="T7" fmla="*/ 45 h 58"/>
                  <a:gd name="T8" fmla="*/ 60 w 63"/>
                  <a:gd name="T9" fmla="*/ 0 h 58"/>
                  <a:gd name="T10" fmla="*/ 0 60000 65536"/>
                  <a:gd name="T11" fmla="*/ 0 60000 65536"/>
                  <a:gd name="T12" fmla="*/ 0 60000 65536"/>
                  <a:gd name="T13" fmla="*/ 0 60000 65536"/>
                  <a:gd name="T14" fmla="*/ 0 60000 65536"/>
                  <a:gd name="T15" fmla="*/ 0 w 63"/>
                  <a:gd name="T16" fmla="*/ 0 h 58"/>
                  <a:gd name="T17" fmla="*/ 63 w 63"/>
                  <a:gd name="T18" fmla="*/ 58 h 58"/>
                </a:gdLst>
                <a:ahLst/>
                <a:cxnLst>
                  <a:cxn ang="T10">
                    <a:pos x="T0" y="T1"/>
                  </a:cxn>
                  <a:cxn ang="T11">
                    <a:pos x="T2" y="T3"/>
                  </a:cxn>
                  <a:cxn ang="T12">
                    <a:pos x="T4" y="T5"/>
                  </a:cxn>
                  <a:cxn ang="T13">
                    <a:pos x="T6" y="T7"/>
                  </a:cxn>
                  <a:cxn ang="T14">
                    <a:pos x="T8" y="T9"/>
                  </a:cxn>
                </a:cxnLst>
                <a:rect l="T15" t="T16" r="T17" b="T18"/>
                <a:pathLst>
                  <a:path w="63" h="58">
                    <a:moveTo>
                      <a:pt x="60" y="0"/>
                    </a:moveTo>
                    <a:cubicBezTo>
                      <a:pt x="61" y="16"/>
                      <a:pt x="56" y="33"/>
                      <a:pt x="43" y="43"/>
                    </a:cubicBezTo>
                    <a:cubicBezTo>
                      <a:pt x="31" y="54"/>
                      <a:pt x="15" y="57"/>
                      <a:pt x="0" y="53"/>
                    </a:cubicBezTo>
                    <a:cubicBezTo>
                      <a:pt x="15" y="58"/>
                      <a:pt x="32" y="55"/>
                      <a:pt x="45" y="45"/>
                    </a:cubicBezTo>
                    <a:cubicBezTo>
                      <a:pt x="58" y="34"/>
                      <a:pt x="63" y="17"/>
                      <a:pt x="60" y="0"/>
                    </a:cubicBezTo>
                    <a:close/>
                  </a:path>
                </a:pathLst>
              </a:custGeom>
              <a:gradFill rotWithShape="1">
                <a:gsLst>
                  <a:gs pos="0">
                    <a:srgbClr val="001D36"/>
                  </a:gs>
                  <a:gs pos="50000">
                    <a:srgbClr val="0061B2"/>
                  </a:gs>
                  <a:gs pos="100000">
                    <a:srgbClr val="001D36"/>
                  </a:gs>
                </a:gsLst>
                <a:lin ang="189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tr-TR">
                  <a:solidFill>
                    <a:schemeClr val="tx2">
                      <a:lumMod val="50000"/>
                    </a:schemeClr>
                  </a:solidFill>
                </a:endParaRPr>
              </a:p>
            </p:txBody>
          </p:sp>
          <p:sp>
            <p:nvSpPr>
              <p:cNvPr id="102" name="Freeform 216"/>
              <p:cNvSpPr>
                <a:spLocks/>
              </p:cNvSpPr>
              <p:nvPr/>
            </p:nvSpPr>
            <p:spPr bwMode="gray">
              <a:xfrm>
                <a:off x="2800" y="2201"/>
                <a:ext cx="137" cy="123"/>
              </a:xfrm>
              <a:custGeom>
                <a:avLst/>
                <a:gdLst>
                  <a:gd name="T0" fmla="*/ 55 w 58"/>
                  <a:gd name="T1" fmla="*/ 0 h 52"/>
                  <a:gd name="T2" fmla="*/ 40 w 58"/>
                  <a:gd name="T3" fmla="*/ 39 h 52"/>
                  <a:gd name="T4" fmla="*/ 0 w 58"/>
                  <a:gd name="T5" fmla="*/ 48 h 52"/>
                  <a:gd name="T6" fmla="*/ 41 w 58"/>
                  <a:gd name="T7" fmla="*/ 40 h 52"/>
                  <a:gd name="T8" fmla="*/ 55 w 58"/>
                  <a:gd name="T9" fmla="*/ 0 h 52"/>
                  <a:gd name="T10" fmla="*/ 0 60000 65536"/>
                  <a:gd name="T11" fmla="*/ 0 60000 65536"/>
                  <a:gd name="T12" fmla="*/ 0 60000 65536"/>
                  <a:gd name="T13" fmla="*/ 0 60000 65536"/>
                  <a:gd name="T14" fmla="*/ 0 60000 65536"/>
                  <a:gd name="T15" fmla="*/ 0 w 58"/>
                  <a:gd name="T16" fmla="*/ 0 h 52"/>
                  <a:gd name="T17" fmla="*/ 58 w 58"/>
                  <a:gd name="T18" fmla="*/ 52 h 52"/>
                </a:gdLst>
                <a:ahLst/>
                <a:cxnLst>
                  <a:cxn ang="T10">
                    <a:pos x="T0" y="T1"/>
                  </a:cxn>
                  <a:cxn ang="T11">
                    <a:pos x="T2" y="T3"/>
                  </a:cxn>
                  <a:cxn ang="T12">
                    <a:pos x="T4" y="T5"/>
                  </a:cxn>
                  <a:cxn ang="T13">
                    <a:pos x="T6" y="T7"/>
                  </a:cxn>
                  <a:cxn ang="T14">
                    <a:pos x="T8" y="T9"/>
                  </a:cxn>
                </a:cxnLst>
                <a:rect l="T15" t="T16" r="T17" b="T18"/>
                <a:pathLst>
                  <a:path w="58" h="52">
                    <a:moveTo>
                      <a:pt x="55" y="0"/>
                    </a:moveTo>
                    <a:cubicBezTo>
                      <a:pt x="57" y="15"/>
                      <a:pt x="52" y="29"/>
                      <a:pt x="40" y="39"/>
                    </a:cubicBezTo>
                    <a:cubicBezTo>
                      <a:pt x="29" y="48"/>
                      <a:pt x="14" y="51"/>
                      <a:pt x="0" y="48"/>
                    </a:cubicBezTo>
                    <a:cubicBezTo>
                      <a:pt x="15" y="52"/>
                      <a:pt x="30" y="50"/>
                      <a:pt x="41" y="40"/>
                    </a:cubicBezTo>
                    <a:cubicBezTo>
                      <a:pt x="53" y="30"/>
                      <a:pt x="58" y="15"/>
                      <a:pt x="55" y="0"/>
                    </a:cubicBezTo>
                    <a:close/>
                  </a:path>
                </a:pathLst>
              </a:custGeom>
              <a:gradFill rotWithShape="1">
                <a:gsLst>
                  <a:gs pos="0">
                    <a:srgbClr val="001D36"/>
                  </a:gs>
                  <a:gs pos="50000">
                    <a:srgbClr val="0061B2"/>
                  </a:gs>
                  <a:gs pos="100000">
                    <a:srgbClr val="001D36"/>
                  </a:gs>
                </a:gsLst>
                <a:lin ang="189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tr-TR">
                  <a:solidFill>
                    <a:schemeClr val="tx2">
                      <a:lumMod val="50000"/>
                    </a:schemeClr>
                  </a:solidFill>
                </a:endParaRPr>
              </a:p>
            </p:txBody>
          </p:sp>
          <p:sp>
            <p:nvSpPr>
              <p:cNvPr id="103" name="Freeform 217"/>
              <p:cNvSpPr>
                <a:spLocks/>
              </p:cNvSpPr>
              <p:nvPr/>
            </p:nvSpPr>
            <p:spPr bwMode="gray">
              <a:xfrm>
                <a:off x="2856" y="2262"/>
                <a:ext cx="116" cy="104"/>
              </a:xfrm>
              <a:custGeom>
                <a:avLst/>
                <a:gdLst>
                  <a:gd name="T0" fmla="*/ 47 w 49"/>
                  <a:gd name="T1" fmla="*/ 0 h 44"/>
                  <a:gd name="T2" fmla="*/ 34 w 49"/>
                  <a:gd name="T3" fmla="*/ 33 h 44"/>
                  <a:gd name="T4" fmla="*/ 0 w 49"/>
                  <a:gd name="T5" fmla="*/ 40 h 44"/>
                  <a:gd name="T6" fmla="*/ 35 w 49"/>
                  <a:gd name="T7" fmla="*/ 34 h 44"/>
                  <a:gd name="T8" fmla="*/ 47 w 49"/>
                  <a:gd name="T9" fmla="*/ 0 h 44"/>
                  <a:gd name="T10" fmla="*/ 0 60000 65536"/>
                  <a:gd name="T11" fmla="*/ 0 60000 65536"/>
                  <a:gd name="T12" fmla="*/ 0 60000 65536"/>
                  <a:gd name="T13" fmla="*/ 0 60000 65536"/>
                  <a:gd name="T14" fmla="*/ 0 60000 65536"/>
                  <a:gd name="T15" fmla="*/ 0 w 49"/>
                  <a:gd name="T16" fmla="*/ 0 h 44"/>
                  <a:gd name="T17" fmla="*/ 49 w 49"/>
                  <a:gd name="T18" fmla="*/ 44 h 44"/>
                </a:gdLst>
                <a:ahLst/>
                <a:cxnLst>
                  <a:cxn ang="T10">
                    <a:pos x="T0" y="T1"/>
                  </a:cxn>
                  <a:cxn ang="T11">
                    <a:pos x="T2" y="T3"/>
                  </a:cxn>
                  <a:cxn ang="T12">
                    <a:pos x="T4" y="T5"/>
                  </a:cxn>
                  <a:cxn ang="T13">
                    <a:pos x="T6" y="T7"/>
                  </a:cxn>
                  <a:cxn ang="T14">
                    <a:pos x="T8" y="T9"/>
                  </a:cxn>
                </a:cxnLst>
                <a:rect l="T15" t="T16" r="T17" b="T18"/>
                <a:pathLst>
                  <a:path w="49" h="44">
                    <a:moveTo>
                      <a:pt x="47" y="0"/>
                    </a:moveTo>
                    <a:cubicBezTo>
                      <a:pt x="48" y="12"/>
                      <a:pt x="44" y="25"/>
                      <a:pt x="34" y="33"/>
                    </a:cubicBezTo>
                    <a:cubicBezTo>
                      <a:pt x="25" y="41"/>
                      <a:pt x="12" y="43"/>
                      <a:pt x="0" y="40"/>
                    </a:cubicBezTo>
                    <a:cubicBezTo>
                      <a:pt x="12" y="44"/>
                      <a:pt x="25" y="42"/>
                      <a:pt x="35" y="34"/>
                    </a:cubicBezTo>
                    <a:cubicBezTo>
                      <a:pt x="45" y="26"/>
                      <a:pt x="49" y="12"/>
                      <a:pt x="47" y="0"/>
                    </a:cubicBezTo>
                    <a:close/>
                  </a:path>
                </a:pathLst>
              </a:custGeom>
              <a:gradFill rotWithShape="1">
                <a:gsLst>
                  <a:gs pos="0">
                    <a:srgbClr val="001D36"/>
                  </a:gs>
                  <a:gs pos="50000">
                    <a:srgbClr val="0061B2"/>
                  </a:gs>
                  <a:gs pos="100000">
                    <a:srgbClr val="001D36"/>
                  </a:gs>
                </a:gsLst>
                <a:lin ang="189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tr-TR">
                  <a:solidFill>
                    <a:schemeClr val="tx2">
                      <a:lumMod val="50000"/>
                    </a:schemeClr>
                  </a:solidFill>
                </a:endParaRPr>
              </a:p>
            </p:txBody>
          </p:sp>
          <p:sp>
            <p:nvSpPr>
              <p:cNvPr id="104" name="Freeform 218"/>
              <p:cNvSpPr>
                <a:spLocks/>
              </p:cNvSpPr>
              <p:nvPr/>
            </p:nvSpPr>
            <p:spPr bwMode="gray">
              <a:xfrm>
                <a:off x="2840" y="2244"/>
                <a:ext cx="120" cy="111"/>
              </a:xfrm>
              <a:custGeom>
                <a:avLst/>
                <a:gdLst>
                  <a:gd name="T0" fmla="*/ 49 w 51"/>
                  <a:gd name="T1" fmla="*/ 0 h 47"/>
                  <a:gd name="T2" fmla="*/ 35 w 51"/>
                  <a:gd name="T3" fmla="*/ 35 h 47"/>
                  <a:gd name="T4" fmla="*/ 0 w 51"/>
                  <a:gd name="T5" fmla="*/ 42 h 47"/>
                  <a:gd name="T6" fmla="*/ 37 w 51"/>
                  <a:gd name="T7" fmla="*/ 36 h 47"/>
                  <a:gd name="T8" fmla="*/ 49 w 51"/>
                  <a:gd name="T9" fmla="*/ 0 h 47"/>
                  <a:gd name="T10" fmla="*/ 0 60000 65536"/>
                  <a:gd name="T11" fmla="*/ 0 60000 65536"/>
                  <a:gd name="T12" fmla="*/ 0 60000 65536"/>
                  <a:gd name="T13" fmla="*/ 0 60000 65536"/>
                  <a:gd name="T14" fmla="*/ 0 60000 65536"/>
                  <a:gd name="T15" fmla="*/ 0 w 51"/>
                  <a:gd name="T16" fmla="*/ 0 h 47"/>
                  <a:gd name="T17" fmla="*/ 51 w 51"/>
                  <a:gd name="T18" fmla="*/ 47 h 47"/>
                </a:gdLst>
                <a:ahLst/>
                <a:cxnLst>
                  <a:cxn ang="T10">
                    <a:pos x="T0" y="T1"/>
                  </a:cxn>
                  <a:cxn ang="T11">
                    <a:pos x="T2" y="T3"/>
                  </a:cxn>
                  <a:cxn ang="T12">
                    <a:pos x="T4" y="T5"/>
                  </a:cxn>
                  <a:cxn ang="T13">
                    <a:pos x="T6" y="T7"/>
                  </a:cxn>
                  <a:cxn ang="T14">
                    <a:pos x="T8" y="T9"/>
                  </a:cxn>
                </a:cxnLst>
                <a:rect l="T15" t="T16" r="T17" b="T18"/>
                <a:pathLst>
                  <a:path w="51" h="47">
                    <a:moveTo>
                      <a:pt x="49" y="0"/>
                    </a:moveTo>
                    <a:cubicBezTo>
                      <a:pt x="50" y="13"/>
                      <a:pt x="46" y="26"/>
                      <a:pt x="35" y="35"/>
                    </a:cubicBezTo>
                    <a:cubicBezTo>
                      <a:pt x="26" y="43"/>
                      <a:pt x="12" y="46"/>
                      <a:pt x="0" y="42"/>
                    </a:cubicBezTo>
                    <a:cubicBezTo>
                      <a:pt x="12" y="47"/>
                      <a:pt x="26" y="45"/>
                      <a:pt x="37" y="36"/>
                    </a:cubicBezTo>
                    <a:cubicBezTo>
                      <a:pt x="47" y="27"/>
                      <a:pt x="51" y="13"/>
                      <a:pt x="49" y="0"/>
                    </a:cubicBezTo>
                    <a:close/>
                  </a:path>
                </a:pathLst>
              </a:custGeom>
              <a:gradFill rotWithShape="1">
                <a:gsLst>
                  <a:gs pos="0">
                    <a:srgbClr val="001D36"/>
                  </a:gs>
                  <a:gs pos="50000">
                    <a:srgbClr val="0061B2"/>
                  </a:gs>
                  <a:gs pos="100000">
                    <a:srgbClr val="001D36"/>
                  </a:gs>
                </a:gsLst>
                <a:lin ang="189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tr-TR">
                  <a:solidFill>
                    <a:schemeClr val="tx2">
                      <a:lumMod val="50000"/>
                    </a:schemeClr>
                  </a:solidFill>
                </a:endParaRPr>
              </a:p>
            </p:txBody>
          </p:sp>
          <p:sp>
            <p:nvSpPr>
              <p:cNvPr id="105" name="Freeform 219"/>
              <p:cNvSpPr>
                <a:spLocks/>
              </p:cNvSpPr>
              <p:nvPr/>
            </p:nvSpPr>
            <p:spPr bwMode="gray">
              <a:xfrm>
                <a:off x="2873" y="2279"/>
                <a:ext cx="111" cy="102"/>
              </a:xfrm>
              <a:custGeom>
                <a:avLst/>
                <a:gdLst>
                  <a:gd name="T0" fmla="*/ 45 w 47"/>
                  <a:gd name="T1" fmla="*/ 0 h 43"/>
                  <a:gd name="T2" fmla="*/ 33 w 47"/>
                  <a:gd name="T3" fmla="*/ 32 h 43"/>
                  <a:gd name="T4" fmla="*/ 0 w 47"/>
                  <a:gd name="T5" fmla="*/ 39 h 43"/>
                  <a:gd name="T6" fmla="*/ 34 w 47"/>
                  <a:gd name="T7" fmla="*/ 33 h 43"/>
                  <a:gd name="T8" fmla="*/ 45 w 47"/>
                  <a:gd name="T9" fmla="*/ 0 h 43"/>
                  <a:gd name="T10" fmla="*/ 0 60000 65536"/>
                  <a:gd name="T11" fmla="*/ 0 60000 65536"/>
                  <a:gd name="T12" fmla="*/ 0 60000 65536"/>
                  <a:gd name="T13" fmla="*/ 0 60000 65536"/>
                  <a:gd name="T14" fmla="*/ 0 60000 65536"/>
                  <a:gd name="T15" fmla="*/ 0 w 47"/>
                  <a:gd name="T16" fmla="*/ 0 h 43"/>
                  <a:gd name="T17" fmla="*/ 47 w 47"/>
                  <a:gd name="T18" fmla="*/ 43 h 43"/>
                </a:gdLst>
                <a:ahLst/>
                <a:cxnLst>
                  <a:cxn ang="T10">
                    <a:pos x="T0" y="T1"/>
                  </a:cxn>
                  <a:cxn ang="T11">
                    <a:pos x="T2" y="T3"/>
                  </a:cxn>
                  <a:cxn ang="T12">
                    <a:pos x="T4" y="T5"/>
                  </a:cxn>
                  <a:cxn ang="T13">
                    <a:pos x="T6" y="T7"/>
                  </a:cxn>
                  <a:cxn ang="T14">
                    <a:pos x="T8" y="T9"/>
                  </a:cxn>
                </a:cxnLst>
                <a:rect l="T15" t="T16" r="T17" b="T18"/>
                <a:pathLst>
                  <a:path w="47" h="43">
                    <a:moveTo>
                      <a:pt x="45" y="0"/>
                    </a:moveTo>
                    <a:cubicBezTo>
                      <a:pt x="46" y="12"/>
                      <a:pt x="42" y="24"/>
                      <a:pt x="33" y="32"/>
                    </a:cubicBezTo>
                    <a:cubicBezTo>
                      <a:pt x="24" y="39"/>
                      <a:pt x="12" y="42"/>
                      <a:pt x="0" y="39"/>
                    </a:cubicBezTo>
                    <a:cubicBezTo>
                      <a:pt x="12" y="43"/>
                      <a:pt x="25" y="41"/>
                      <a:pt x="34" y="33"/>
                    </a:cubicBezTo>
                    <a:cubicBezTo>
                      <a:pt x="43" y="25"/>
                      <a:pt x="47" y="12"/>
                      <a:pt x="45" y="0"/>
                    </a:cubicBezTo>
                    <a:close/>
                  </a:path>
                </a:pathLst>
              </a:custGeom>
              <a:gradFill rotWithShape="1">
                <a:gsLst>
                  <a:gs pos="0">
                    <a:srgbClr val="001D36"/>
                  </a:gs>
                  <a:gs pos="50000">
                    <a:srgbClr val="0061B2"/>
                  </a:gs>
                  <a:gs pos="100000">
                    <a:srgbClr val="001D36"/>
                  </a:gs>
                </a:gsLst>
                <a:lin ang="189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tr-TR">
                  <a:solidFill>
                    <a:schemeClr val="tx2">
                      <a:lumMod val="50000"/>
                    </a:schemeClr>
                  </a:solidFill>
                </a:endParaRPr>
              </a:p>
            </p:txBody>
          </p:sp>
        </p:grpSp>
      </p:grpSp>
      <p:sp>
        <p:nvSpPr>
          <p:cNvPr id="5" name="Dikdörtgen 4"/>
          <p:cNvSpPr/>
          <p:nvPr/>
        </p:nvSpPr>
        <p:spPr>
          <a:xfrm>
            <a:off x="6257106" y="3127368"/>
            <a:ext cx="2779390" cy="1200329"/>
          </a:xfrm>
          <a:prstGeom prst="rect">
            <a:avLst/>
          </a:prstGeom>
        </p:spPr>
        <p:txBody>
          <a:bodyPr wrap="square">
            <a:spAutoFit/>
          </a:bodyPr>
          <a:lstStyle/>
          <a:p>
            <a:pPr marL="360363" indent="-360363">
              <a:spcBef>
                <a:spcPct val="20000"/>
              </a:spcBef>
              <a:buFont typeface="Arial" pitchFamily="34" charset="0"/>
              <a:buChar char="•"/>
              <a:defRPr/>
            </a:pPr>
            <a:r>
              <a:rPr lang="tr-TR" b="1" kern="0" dirty="0">
                <a:solidFill>
                  <a:schemeClr val="tx2">
                    <a:lumMod val="50000"/>
                  </a:schemeClr>
                </a:solidFill>
              </a:rPr>
              <a:t>Kamuya gönderilecek faturaların e-fatura </a:t>
            </a:r>
            <a:r>
              <a:rPr lang="tr-TR" b="1" kern="0" dirty="0" smtClean="0">
                <a:solidFill>
                  <a:schemeClr val="tx2">
                    <a:lumMod val="50000"/>
                  </a:schemeClr>
                </a:solidFill>
              </a:rPr>
              <a:t>olması zorunlu olacaktır</a:t>
            </a:r>
            <a:endParaRPr lang="tr-TR" b="1" kern="0" dirty="0">
              <a:solidFill>
                <a:schemeClr val="tx2">
                  <a:lumMod val="50000"/>
                </a:schemeClr>
              </a:solidFill>
            </a:endParaRPr>
          </a:p>
        </p:txBody>
      </p:sp>
      <p:sp>
        <p:nvSpPr>
          <p:cNvPr id="10" name="Dikdörtgen 9"/>
          <p:cNvSpPr/>
          <p:nvPr/>
        </p:nvSpPr>
        <p:spPr>
          <a:xfrm>
            <a:off x="2257" y="4624422"/>
            <a:ext cx="3855337" cy="646331"/>
          </a:xfrm>
          <a:prstGeom prst="rect">
            <a:avLst/>
          </a:prstGeom>
        </p:spPr>
        <p:txBody>
          <a:bodyPr wrap="square">
            <a:spAutoFit/>
          </a:bodyPr>
          <a:lstStyle/>
          <a:p>
            <a:pPr marL="285750" indent="-285750">
              <a:buFont typeface="Arial" pitchFamily="34" charset="0"/>
              <a:buChar char="•"/>
            </a:pPr>
            <a:r>
              <a:rPr lang="tr-TR" b="1" kern="0" dirty="0">
                <a:solidFill>
                  <a:schemeClr val="tx2">
                    <a:lumMod val="50000"/>
                  </a:schemeClr>
                </a:solidFill>
              </a:rPr>
              <a:t>Ödeme entegrasyonu </a:t>
            </a:r>
            <a:r>
              <a:rPr lang="tr-TR" b="1" kern="0" dirty="0" smtClean="0">
                <a:solidFill>
                  <a:schemeClr val="tx2">
                    <a:lumMod val="50000"/>
                  </a:schemeClr>
                </a:solidFill>
              </a:rPr>
              <a:t>gerçekleştirilecektir</a:t>
            </a:r>
            <a:endParaRPr lang="tr-TR" dirty="0">
              <a:solidFill>
                <a:schemeClr val="tx2">
                  <a:lumMod val="50000"/>
                </a:schemeClr>
              </a:solidFill>
            </a:endParaRPr>
          </a:p>
        </p:txBody>
      </p:sp>
      <p:sp>
        <p:nvSpPr>
          <p:cNvPr id="11" name="Dikdörtgen 10"/>
          <p:cNvSpPr/>
          <p:nvPr/>
        </p:nvSpPr>
        <p:spPr>
          <a:xfrm>
            <a:off x="89031" y="1192808"/>
            <a:ext cx="3584175" cy="923330"/>
          </a:xfrm>
          <a:prstGeom prst="rect">
            <a:avLst/>
          </a:prstGeom>
        </p:spPr>
        <p:txBody>
          <a:bodyPr wrap="square">
            <a:spAutoFit/>
          </a:bodyPr>
          <a:lstStyle/>
          <a:p>
            <a:pPr marL="342900" indent="-342900">
              <a:spcBef>
                <a:spcPct val="20000"/>
              </a:spcBef>
              <a:buFont typeface="Arial" pitchFamily="34" charset="0"/>
              <a:buChar char="•"/>
              <a:defRPr/>
            </a:pPr>
            <a:r>
              <a:rPr lang="tr-TR" b="1" kern="0" dirty="0">
                <a:solidFill>
                  <a:schemeClr val="tx2">
                    <a:lumMod val="50000"/>
                  </a:schemeClr>
                </a:solidFill>
              </a:rPr>
              <a:t>E-defter ve e-fatura uygulamalarının yaygınlaştırılması </a:t>
            </a:r>
            <a:r>
              <a:rPr lang="tr-TR" b="1" kern="0" dirty="0" smtClean="0">
                <a:solidFill>
                  <a:schemeClr val="tx2">
                    <a:lumMod val="50000"/>
                  </a:schemeClr>
                </a:solidFill>
              </a:rPr>
              <a:t>sağlanacaktır</a:t>
            </a:r>
            <a:endParaRPr lang="tr-TR" dirty="0">
              <a:solidFill>
                <a:schemeClr val="tx2">
                  <a:lumMod val="50000"/>
                </a:schemeClr>
              </a:solidFill>
            </a:endParaRPr>
          </a:p>
        </p:txBody>
      </p:sp>
      <p:sp>
        <p:nvSpPr>
          <p:cNvPr id="12" name="Dikdörtgen 11"/>
          <p:cNvSpPr/>
          <p:nvPr/>
        </p:nvSpPr>
        <p:spPr>
          <a:xfrm>
            <a:off x="4495842" y="5373216"/>
            <a:ext cx="4273624" cy="646331"/>
          </a:xfrm>
          <a:prstGeom prst="rect">
            <a:avLst/>
          </a:prstGeom>
        </p:spPr>
        <p:txBody>
          <a:bodyPr wrap="square">
            <a:spAutoFit/>
          </a:bodyPr>
          <a:lstStyle/>
          <a:p>
            <a:pPr marL="342900" indent="-342900">
              <a:spcBef>
                <a:spcPct val="20000"/>
              </a:spcBef>
              <a:buFont typeface="Arial" pitchFamily="34" charset="0"/>
              <a:buChar char="•"/>
              <a:defRPr/>
            </a:pPr>
            <a:r>
              <a:rPr lang="tr-TR" b="1" kern="0" dirty="0">
                <a:solidFill>
                  <a:schemeClr val="tx2">
                    <a:lumMod val="50000"/>
                  </a:schemeClr>
                </a:solidFill>
              </a:rPr>
              <a:t>E-faturanın uluslararası dolaşımı </a:t>
            </a:r>
            <a:r>
              <a:rPr lang="tr-TR" b="1" kern="0" dirty="0" smtClean="0">
                <a:solidFill>
                  <a:schemeClr val="tx2">
                    <a:lumMod val="50000"/>
                  </a:schemeClr>
                </a:solidFill>
              </a:rPr>
              <a:t>sağlanacaktır</a:t>
            </a:r>
            <a:endParaRPr lang="tr-TR" b="1" kern="0" dirty="0">
              <a:solidFill>
                <a:schemeClr val="tx2">
                  <a:lumMod val="50000"/>
                </a:schemeClr>
              </a:solidFill>
            </a:endParaRPr>
          </a:p>
        </p:txBody>
      </p:sp>
      <p:sp>
        <p:nvSpPr>
          <p:cNvPr id="14" name="Metin kutusu 13"/>
          <p:cNvSpPr txBox="1"/>
          <p:nvPr/>
        </p:nvSpPr>
        <p:spPr>
          <a:xfrm>
            <a:off x="3131840" y="404664"/>
            <a:ext cx="2810387" cy="523220"/>
          </a:xfrm>
          <a:prstGeom prst="rect">
            <a:avLst/>
          </a:prstGeom>
          <a:noFill/>
        </p:spPr>
        <p:txBody>
          <a:bodyPr wrap="square" rtlCol="0">
            <a:spAutoFit/>
          </a:bodyPr>
          <a:lstStyle/>
          <a:p>
            <a:pPr algn="ctr">
              <a:spcBef>
                <a:spcPct val="0"/>
              </a:spcBef>
            </a:pPr>
            <a:r>
              <a:rPr lang="tr-TR" sz="2800" b="1" dirty="0">
                <a:solidFill>
                  <a:schemeClr val="tx2">
                    <a:lumMod val="50000"/>
                  </a:schemeClr>
                </a:solidFill>
                <a:latin typeface="+mj-lt"/>
              </a:rPr>
              <a:t>HEDEFLER </a:t>
            </a:r>
          </a:p>
        </p:txBody>
      </p:sp>
    </p:spTree>
    <p:extLst>
      <p:ext uri="{BB962C8B-B14F-4D97-AF65-F5344CB8AC3E}">
        <p14:creationId xmlns:p14="http://schemas.microsoft.com/office/powerpoint/2010/main" val="3413205049"/>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2" presetClass="entr" presetSubtype="8"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700" fill="hold"/>
                                        <p:tgtEl>
                                          <p:spTgt spid="9"/>
                                        </p:tgtEl>
                                        <p:attrNameLst>
                                          <p:attrName>ppt_x</p:attrName>
                                        </p:attrNameLst>
                                      </p:cBhvr>
                                      <p:tavLst>
                                        <p:tav tm="0">
                                          <p:val>
                                            <p:strVal val="0-#ppt_w/2"/>
                                          </p:val>
                                        </p:tav>
                                        <p:tav tm="100000">
                                          <p:val>
                                            <p:strVal val="#ppt_x"/>
                                          </p:val>
                                        </p:tav>
                                      </p:tavLst>
                                    </p:anim>
                                    <p:anim calcmode="lin" valueType="num">
                                      <p:cBhvr additive="base">
                                        <p:cTn id="8" dur="700" fill="hold"/>
                                        <p:tgtEl>
                                          <p:spTgt spid="9"/>
                                        </p:tgtEl>
                                        <p:attrNameLst>
                                          <p:attrName>ppt_y</p:attrName>
                                        </p:attrNameLst>
                                      </p:cBhvr>
                                      <p:tavLst>
                                        <p:tav tm="0">
                                          <p:val>
                                            <p:strVal val="#ppt_y"/>
                                          </p:val>
                                        </p:tav>
                                        <p:tav tm="100000">
                                          <p:val>
                                            <p:strVal val="#ppt_y"/>
                                          </p:val>
                                        </p:tav>
                                      </p:tavLst>
                                    </p:anim>
                                  </p:childTnLst>
                                </p:cTn>
                              </p:par>
                            </p:childTnLst>
                          </p:cTn>
                        </p:par>
                        <p:par>
                          <p:cTn id="9" fill="hold">
                            <p:stCondLst>
                              <p:cond delay="700"/>
                            </p:stCondLst>
                            <p:childTnLst>
                              <p:par>
                                <p:cTn id="10" presetID="10" presetClass="entr" presetSubtype="0" fill="hold" grpId="0" nodeType="after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par>
                          <p:cTn id="13" fill="hold">
                            <p:stCondLst>
                              <p:cond delay="1200"/>
                            </p:stCondLst>
                            <p:childTnLst>
                              <p:par>
                                <p:cTn id="14" presetID="2" presetClass="entr" presetSubtype="2" fill="hold" nodeType="afterEffect">
                                  <p:stCondLst>
                                    <p:cond delay="200"/>
                                  </p:stCondLst>
                                  <p:childTnLst>
                                    <p:set>
                                      <p:cBhvr>
                                        <p:cTn id="15" dur="1" fill="hold">
                                          <p:stCondLst>
                                            <p:cond delay="0"/>
                                          </p:stCondLst>
                                        </p:cTn>
                                        <p:tgtEl>
                                          <p:spTgt spid="13"/>
                                        </p:tgtEl>
                                        <p:attrNameLst>
                                          <p:attrName>style.visibility</p:attrName>
                                        </p:attrNameLst>
                                      </p:cBhvr>
                                      <p:to>
                                        <p:strVal val="visible"/>
                                      </p:to>
                                    </p:set>
                                    <p:anim calcmode="lin" valueType="num">
                                      <p:cBhvr additive="base">
                                        <p:cTn id="16" dur="300" fill="hold"/>
                                        <p:tgtEl>
                                          <p:spTgt spid="13"/>
                                        </p:tgtEl>
                                        <p:attrNameLst>
                                          <p:attrName>ppt_x</p:attrName>
                                        </p:attrNameLst>
                                      </p:cBhvr>
                                      <p:tavLst>
                                        <p:tav tm="0">
                                          <p:val>
                                            <p:strVal val="1+#ppt_w/2"/>
                                          </p:val>
                                        </p:tav>
                                        <p:tav tm="100000">
                                          <p:val>
                                            <p:strVal val="#ppt_x"/>
                                          </p:val>
                                        </p:tav>
                                      </p:tavLst>
                                    </p:anim>
                                    <p:anim calcmode="lin" valueType="num">
                                      <p:cBhvr additive="base">
                                        <p:cTn id="17" dur="300" fill="hold"/>
                                        <p:tgtEl>
                                          <p:spTgt spid="13"/>
                                        </p:tgtEl>
                                        <p:attrNameLst>
                                          <p:attrName>ppt_y</p:attrName>
                                        </p:attrNameLst>
                                      </p:cBhvr>
                                      <p:tavLst>
                                        <p:tav tm="0">
                                          <p:val>
                                            <p:strVal val="#ppt_y"/>
                                          </p:val>
                                        </p:tav>
                                        <p:tav tm="100000">
                                          <p:val>
                                            <p:strVal val="#ppt_y"/>
                                          </p:val>
                                        </p:tav>
                                      </p:tavLst>
                                    </p:anim>
                                  </p:childTnLst>
                                </p:cTn>
                              </p:par>
                              <p:par>
                                <p:cTn id="18" presetID="6" presetClass="entr" presetSubtype="32" fill="hold" nodeType="withEffect">
                                  <p:stCondLst>
                                    <p:cond delay="300"/>
                                  </p:stCondLst>
                                  <p:childTnLst>
                                    <p:set>
                                      <p:cBhvr>
                                        <p:cTn id="19" dur="1" fill="hold">
                                          <p:stCondLst>
                                            <p:cond delay="0"/>
                                          </p:stCondLst>
                                        </p:cTn>
                                        <p:tgtEl>
                                          <p:spTgt spid="7"/>
                                        </p:tgtEl>
                                        <p:attrNameLst>
                                          <p:attrName>style.visibility</p:attrName>
                                        </p:attrNameLst>
                                      </p:cBhvr>
                                      <p:to>
                                        <p:strVal val="visible"/>
                                      </p:to>
                                    </p:set>
                                    <p:animEffect transition="in" filter="circle(out)">
                                      <p:cBhvr>
                                        <p:cTn id="20" dur="500"/>
                                        <p:tgtEl>
                                          <p:spTgt spid="7"/>
                                        </p:tgtEl>
                                      </p:cBhvr>
                                    </p:animEffect>
                                  </p:childTnLst>
                                </p:cTn>
                              </p:par>
                            </p:childTnLst>
                          </p:cTn>
                        </p:par>
                        <p:par>
                          <p:cTn id="21" fill="hold" nodeType="afterGroup">
                            <p:stCondLst>
                              <p:cond delay="2000"/>
                            </p:stCondLst>
                            <p:childTnLst>
                              <p:par>
                                <p:cTn id="22" presetID="10" presetClass="entr" presetSubtype="0" fill="hold" grpId="0" nodeType="afterEffect">
                                  <p:stCondLst>
                                    <p:cond delay="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500"/>
                                        <p:tgtEl>
                                          <p:spTgt spid="5"/>
                                        </p:tgtEl>
                                      </p:cBhvr>
                                    </p:animEffect>
                                  </p:childTnLst>
                                </p:cTn>
                              </p:par>
                            </p:childTnLst>
                          </p:cTn>
                        </p:par>
                        <p:par>
                          <p:cTn id="25" fill="hold">
                            <p:stCondLst>
                              <p:cond delay="2500"/>
                            </p:stCondLst>
                            <p:childTnLst>
                              <p:par>
                                <p:cTn id="26" presetID="2" presetClass="entr" presetSubtype="6" fill="hold" nodeType="afterEffect">
                                  <p:stCondLst>
                                    <p:cond delay="0"/>
                                  </p:stCondLst>
                                  <p:childTnLst>
                                    <p:set>
                                      <p:cBhvr>
                                        <p:cTn id="27" dur="1" fill="hold">
                                          <p:stCondLst>
                                            <p:cond delay="0"/>
                                          </p:stCondLst>
                                        </p:cTn>
                                        <p:tgtEl>
                                          <p:spTgt spid="17"/>
                                        </p:tgtEl>
                                        <p:attrNameLst>
                                          <p:attrName>style.visibility</p:attrName>
                                        </p:attrNameLst>
                                      </p:cBhvr>
                                      <p:to>
                                        <p:strVal val="visible"/>
                                      </p:to>
                                    </p:set>
                                    <p:anim calcmode="lin" valueType="num">
                                      <p:cBhvr additive="base">
                                        <p:cTn id="28" dur="400" fill="hold"/>
                                        <p:tgtEl>
                                          <p:spTgt spid="17"/>
                                        </p:tgtEl>
                                        <p:attrNameLst>
                                          <p:attrName>ppt_x</p:attrName>
                                        </p:attrNameLst>
                                      </p:cBhvr>
                                      <p:tavLst>
                                        <p:tav tm="0">
                                          <p:val>
                                            <p:strVal val="1+#ppt_w/2"/>
                                          </p:val>
                                        </p:tav>
                                        <p:tav tm="100000">
                                          <p:val>
                                            <p:strVal val="#ppt_x"/>
                                          </p:val>
                                        </p:tav>
                                      </p:tavLst>
                                    </p:anim>
                                    <p:anim calcmode="lin" valueType="num">
                                      <p:cBhvr additive="base">
                                        <p:cTn id="29" dur="400" fill="hold"/>
                                        <p:tgtEl>
                                          <p:spTgt spid="17"/>
                                        </p:tgtEl>
                                        <p:attrNameLst>
                                          <p:attrName>ppt_y</p:attrName>
                                        </p:attrNameLst>
                                      </p:cBhvr>
                                      <p:tavLst>
                                        <p:tav tm="0">
                                          <p:val>
                                            <p:strVal val="1+#ppt_h/2"/>
                                          </p:val>
                                        </p:tav>
                                        <p:tav tm="100000">
                                          <p:val>
                                            <p:strVal val="#ppt_y"/>
                                          </p:val>
                                        </p:tav>
                                      </p:tavLst>
                                    </p:anim>
                                  </p:childTnLst>
                                </p:cTn>
                              </p:par>
                              <p:par>
                                <p:cTn id="30" presetID="6" presetClass="entr" presetSubtype="32" fill="hold" nodeType="withEffect">
                                  <p:stCondLst>
                                    <p:cond delay="100"/>
                                  </p:stCondLst>
                                  <p:childTnLst>
                                    <p:set>
                                      <p:cBhvr>
                                        <p:cTn id="31" dur="1" fill="hold">
                                          <p:stCondLst>
                                            <p:cond delay="0"/>
                                          </p:stCondLst>
                                        </p:cTn>
                                        <p:tgtEl>
                                          <p:spTgt spid="8"/>
                                        </p:tgtEl>
                                        <p:attrNameLst>
                                          <p:attrName>style.visibility</p:attrName>
                                        </p:attrNameLst>
                                      </p:cBhvr>
                                      <p:to>
                                        <p:strVal val="visible"/>
                                      </p:to>
                                    </p:set>
                                    <p:animEffect transition="in" filter="circle(out)">
                                      <p:cBhvr>
                                        <p:cTn id="32" dur="500"/>
                                        <p:tgtEl>
                                          <p:spTgt spid="8"/>
                                        </p:tgtEl>
                                      </p:cBhvr>
                                    </p:animEffect>
                                  </p:childTnLst>
                                </p:cTn>
                              </p:par>
                            </p:childTnLst>
                          </p:cTn>
                        </p:par>
                        <p:par>
                          <p:cTn id="33" fill="hold">
                            <p:stCondLst>
                              <p:cond delay="3100"/>
                            </p:stCondLst>
                            <p:childTnLst>
                              <p:par>
                                <p:cTn id="34" presetID="10" presetClass="entr" presetSubtype="0" fill="hold" grpId="0" nodeType="afterEffect">
                                  <p:stCondLst>
                                    <p:cond delay="0"/>
                                  </p:stCondLst>
                                  <p:childTnLst>
                                    <p:set>
                                      <p:cBhvr>
                                        <p:cTn id="35" dur="1" fill="hold">
                                          <p:stCondLst>
                                            <p:cond delay="0"/>
                                          </p:stCondLst>
                                        </p:cTn>
                                        <p:tgtEl>
                                          <p:spTgt spid="12"/>
                                        </p:tgtEl>
                                        <p:attrNameLst>
                                          <p:attrName>style.visibility</p:attrName>
                                        </p:attrNameLst>
                                      </p:cBhvr>
                                      <p:to>
                                        <p:strVal val="visible"/>
                                      </p:to>
                                    </p:set>
                                    <p:animEffect transition="in" filter="fade">
                                      <p:cBhvr>
                                        <p:cTn id="36" dur="500"/>
                                        <p:tgtEl>
                                          <p:spTgt spid="12"/>
                                        </p:tgtEl>
                                      </p:cBhvr>
                                    </p:animEffect>
                                  </p:childTnLst>
                                </p:cTn>
                              </p:par>
                              <p:par>
                                <p:cTn id="37" presetID="6" presetClass="entr" presetSubtype="32" fill="hold" nodeType="withEffect">
                                  <p:stCondLst>
                                    <p:cond delay="100"/>
                                  </p:stCondLst>
                                  <p:childTnLst>
                                    <p:set>
                                      <p:cBhvr>
                                        <p:cTn id="38" dur="1" fill="hold">
                                          <p:stCondLst>
                                            <p:cond delay="0"/>
                                          </p:stCondLst>
                                        </p:cTn>
                                        <p:tgtEl>
                                          <p:spTgt spid="6"/>
                                        </p:tgtEl>
                                        <p:attrNameLst>
                                          <p:attrName>style.visibility</p:attrName>
                                        </p:attrNameLst>
                                      </p:cBhvr>
                                      <p:to>
                                        <p:strVal val="visible"/>
                                      </p:to>
                                    </p:set>
                                    <p:animEffect transition="in" filter="circle(out)">
                                      <p:cBhvr>
                                        <p:cTn id="39" dur="500"/>
                                        <p:tgtEl>
                                          <p:spTgt spid="6"/>
                                        </p:tgtEl>
                                      </p:cBhvr>
                                    </p:animEffect>
                                  </p:childTnLst>
                                </p:cTn>
                              </p:par>
                            </p:childTnLst>
                          </p:cTn>
                        </p:par>
                        <p:par>
                          <p:cTn id="40" fill="hold">
                            <p:stCondLst>
                              <p:cond delay="3700"/>
                            </p:stCondLst>
                            <p:childTnLst>
                              <p:par>
                                <p:cTn id="41" presetID="2" presetClass="entr" presetSubtype="8" fill="hold" nodeType="afterEffect">
                                  <p:stCondLst>
                                    <p:cond delay="0"/>
                                  </p:stCondLst>
                                  <p:childTnLst>
                                    <p:set>
                                      <p:cBhvr>
                                        <p:cTn id="42" dur="1" fill="hold">
                                          <p:stCondLst>
                                            <p:cond delay="0"/>
                                          </p:stCondLst>
                                        </p:cTn>
                                        <p:tgtEl>
                                          <p:spTgt spid="96"/>
                                        </p:tgtEl>
                                        <p:attrNameLst>
                                          <p:attrName>style.visibility</p:attrName>
                                        </p:attrNameLst>
                                      </p:cBhvr>
                                      <p:to>
                                        <p:strVal val="visible"/>
                                      </p:to>
                                    </p:set>
                                    <p:anim calcmode="lin" valueType="num">
                                      <p:cBhvr additive="base">
                                        <p:cTn id="43" dur="700" fill="hold"/>
                                        <p:tgtEl>
                                          <p:spTgt spid="96"/>
                                        </p:tgtEl>
                                        <p:attrNameLst>
                                          <p:attrName>ppt_x</p:attrName>
                                        </p:attrNameLst>
                                      </p:cBhvr>
                                      <p:tavLst>
                                        <p:tav tm="0">
                                          <p:val>
                                            <p:strVal val="0-#ppt_w/2"/>
                                          </p:val>
                                        </p:tav>
                                        <p:tav tm="100000">
                                          <p:val>
                                            <p:strVal val="#ppt_x"/>
                                          </p:val>
                                        </p:tav>
                                      </p:tavLst>
                                    </p:anim>
                                    <p:anim calcmode="lin" valueType="num">
                                      <p:cBhvr additive="base">
                                        <p:cTn id="44" dur="700" fill="hold"/>
                                        <p:tgtEl>
                                          <p:spTgt spid="96"/>
                                        </p:tgtEl>
                                        <p:attrNameLst>
                                          <p:attrName>ppt_y</p:attrName>
                                        </p:attrNameLst>
                                      </p:cBhvr>
                                      <p:tavLst>
                                        <p:tav tm="0">
                                          <p:val>
                                            <p:strVal val="#ppt_y"/>
                                          </p:val>
                                        </p:tav>
                                        <p:tav tm="100000">
                                          <p:val>
                                            <p:strVal val="#ppt_y"/>
                                          </p:val>
                                        </p:tav>
                                      </p:tavLst>
                                    </p:anim>
                                  </p:childTnLst>
                                </p:cTn>
                              </p:par>
                            </p:childTnLst>
                          </p:cTn>
                        </p:par>
                        <p:par>
                          <p:cTn id="45" fill="hold">
                            <p:stCondLst>
                              <p:cond delay="4400"/>
                            </p:stCondLst>
                            <p:childTnLst>
                              <p:par>
                                <p:cTn id="46" presetID="6" presetClass="entr" presetSubtype="32" fill="hold" nodeType="afterEffect">
                                  <p:stCondLst>
                                    <p:cond delay="0"/>
                                  </p:stCondLst>
                                  <p:childTnLst>
                                    <p:set>
                                      <p:cBhvr>
                                        <p:cTn id="47" dur="1" fill="hold">
                                          <p:stCondLst>
                                            <p:cond delay="0"/>
                                          </p:stCondLst>
                                        </p:cTn>
                                        <p:tgtEl>
                                          <p:spTgt spid="113"/>
                                        </p:tgtEl>
                                        <p:attrNameLst>
                                          <p:attrName>style.visibility</p:attrName>
                                        </p:attrNameLst>
                                      </p:cBhvr>
                                      <p:to>
                                        <p:strVal val="visible"/>
                                      </p:to>
                                    </p:set>
                                    <p:animEffect transition="in" filter="circle(out)">
                                      <p:cBhvr>
                                        <p:cTn id="48" dur="700"/>
                                        <p:tgtEl>
                                          <p:spTgt spid="113"/>
                                        </p:tgtEl>
                                      </p:cBhvr>
                                    </p:animEffect>
                                  </p:childTnLst>
                                </p:cTn>
                              </p:par>
                            </p:childTnLst>
                          </p:cTn>
                        </p:par>
                        <p:par>
                          <p:cTn id="49" fill="hold">
                            <p:stCondLst>
                              <p:cond delay="5100"/>
                            </p:stCondLst>
                            <p:childTnLst>
                              <p:par>
                                <p:cTn id="50" presetID="10" presetClass="entr" presetSubtype="0" fill="hold" grpId="0" nodeType="afterEffect">
                                  <p:stCondLst>
                                    <p:cond delay="0"/>
                                  </p:stCondLst>
                                  <p:childTnLst>
                                    <p:set>
                                      <p:cBhvr>
                                        <p:cTn id="51" dur="1" fill="hold">
                                          <p:stCondLst>
                                            <p:cond delay="0"/>
                                          </p:stCondLst>
                                        </p:cTn>
                                        <p:tgtEl>
                                          <p:spTgt spid="10"/>
                                        </p:tgtEl>
                                        <p:attrNameLst>
                                          <p:attrName>style.visibility</p:attrName>
                                        </p:attrNameLst>
                                      </p:cBhvr>
                                      <p:to>
                                        <p:strVal val="visible"/>
                                      </p:to>
                                    </p:set>
                                    <p:animEffect transition="in" filter="fade">
                                      <p:cBhvr>
                                        <p:cTn id="52"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10" grpId="0"/>
      <p:bldP spid="11" grpId="0"/>
      <p:bldP spid="12"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Line 2"/>
          <p:cNvSpPr>
            <a:spLocks noChangeShapeType="1"/>
          </p:cNvSpPr>
          <p:nvPr/>
        </p:nvSpPr>
        <p:spPr bwMode="auto">
          <a:xfrm>
            <a:off x="251520" y="2492375"/>
            <a:ext cx="6480175" cy="0"/>
          </a:xfrm>
          <a:prstGeom prst="line">
            <a:avLst/>
          </a:prstGeom>
          <a:noFill/>
          <a:ln w="19050">
            <a:solidFill>
              <a:schemeClr val="tx1"/>
            </a:solidFill>
            <a:round/>
            <a:headEnd/>
            <a:tailEnd/>
          </a:ln>
          <a:effectLst>
            <a:prstShdw prst="shdw13" dist="53882" dir="13500000">
              <a:schemeClr val="bg2">
                <a:alpha val="50000"/>
              </a:schemeClr>
            </a:prstShdw>
          </a:effectLst>
        </p:spPr>
        <p:txBody>
          <a:bodyPr/>
          <a:lstStyle/>
          <a:p>
            <a:endParaRPr lang="tr-TR"/>
          </a:p>
        </p:txBody>
      </p:sp>
      <p:sp>
        <p:nvSpPr>
          <p:cNvPr id="30723" name="Line 4"/>
          <p:cNvSpPr>
            <a:spLocks noChangeShapeType="1"/>
          </p:cNvSpPr>
          <p:nvPr/>
        </p:nvSpPr>
        <p:spPr bwMode="auto">
          <a:xfrm>
            <a:off x="1980505" y="4005064"/>
            <a:ext cx="6911975" cy="0"/>
          </a:xfrm>
          <a:prstGeom prst="line">
            <a:avLst/>
          </a:prstGeom>
          <a:noFill/>
          <a:ln w="19050">
            <a:solidFill>
              <a:schemeClr val="tx1"/>
            </a:solidFill>
            <a:round/>
            <a:headEnd/>
            <a:tailEnd/>
          </a:ln>
          <a:effectLst>
            <a:prstShdw prst="shdw13" dist="53882" dir="13500000">
              <a:schemeClr val="bg2">
                <a:alpha val="50000"/>
              </a:schemeClr>
            </a:prstShdw>
          </a:effectLst>
        </p:spPr>
        <p:txBody>
          <a:bodyPr/>
          <a:lstStyle/>
          <a:p>
            <a:endParaRPr lang="tr-TR"/>
          </a:p>
        </p:txBody>
      </p:sp>
      <p:pic>
        <p:nvPicPr>
          <p:cNvPr id="30724" name="Picture 6"/>
          <p:cNvPicPr>
            <a:picLocks noChangeAspect="1" noChangeArrowheads="1"/>
          </p:cNvPicPr>
          <p:nvPr/>
        </p:nvPicPr>
        <p:blipFill>
          <a:blip r:embed="rId2" cstate="print">
            <a:clrChange>
              <a:clrFrom>
                <a:srgbClr val="FFFFFF"/>
              </a:clrFrom>
              <a:clrTo>
                <a:srgbClr val="FFFFFF">
                  <a:alpha val="0"/>
                </a:srgbClr>
              </a:clrTo>
            </a:clrChange>
          </a:blip>
          <a:srcRect/>
          <a:stretch>
            <a:fillRect/>
          </a:stretch>
        </p:blipFill>
        <p:spPr bwMode="auto">
          <a:xfrm>
            <a:off x="5647382" y="3573016"/>
            <a:ext cx="457200" cy="304800"/>
          </a:xfrm>
          <a:prstGeom prst="rect">
            <a:avLst/>
          </a:prstGeom>
          <a:noFill/>
          <a:ln w="9525">
            <a:noFill/>
            <a:miter lim="800000"/>
            <a:headEnd/>
            <a:tailEnd/>
          </a:ln>
        </p:spPr>
      </p:pic>
      <p:sp>
        <p:nvSpPr>
          <p:cNvPr id="30725" name="WordArt 8"/>
          <p:cNvSpPr>
            <a:spLocks noChangeArrowheads="1" noChangeShapeType="1" noTextEdit="1"/>
          </p:cNvSpPr>
          <p:nvPr/>
        </p:nvSpPr>
        <p:spPr bwMode="auto">
          <a:xfrm>
            <a:off x="6079182" y="3661916"/>
            <a:ext cx="2381250" cy="200025"/>
          </a:xfrm>
          <a:prstGeom prst="rect">
            <a:avLst/>
          </a:prstGeom>
        </p:spPr>
        <p:txBody>
          <a:bodyPr wrap="none" fromWordArt="1">
            <a:prstTxWarp prst="textPlain">
              <a:avLst>
                <a:gd name="adj" fmla="val 50000"/>
              </a:avLst>
            </a:prstTxWarp>
          </a:bodyPr>
          <a:lstStyle/>
          <a:p>
            <a:pPr algn="ctr"/>
            <a:r>
              <a:rPr lang="tr-TR" sz="1400" kern="10" dirty="0">
                <a:ln w="9525">
                  <a:noFill/>
                  <a:round/>
                  <a:headEnd/>
                  <a:tailEnd/>
                </a:ln>
                <a:solidFill>
                  <a:srgbClr val="1C1C1C"/>
                </a:solidFill>
                <a:effectLst>
                  <a:outerShdw sy="50000" kx="2453608" rotWithShape="0">
                    <a:srgbClr val="B2B2B2">
                      <a:alpha val="50000"/>
                    </a:srgbClr>
                  </a:outerShdw>
                </a:effectLst>
                <a:latin typeface="Times New Roman"/>
                <a:cs typeface="Times New Roman"/>
              </a:rPr>
              <a:t>GELİR İDARESİ BAŞKANLIĞI</a:t>
            </a:r>
          </a:p>
        </p:txBody>
      </p:sp>
      <p:sp>
        <p:nvSpPr>
          <p:cNvPr id="30727" name="WordArt 10"/>
          <p:cNvSpPr>
            <a:spLocks noChangeArrowheads="1" noChangeShapeType="1" noTextEdit="1"/>
          </p:cNvSpPr>
          <p:nvPr/>
        </p:nvSpPr>
        <p:spPr bwMode="auto">
          <a:xfrm>
            <a:off x="2038325" y="2854325"/>
            <a:ext cx="4333875" cy="695325"/>
          </a:xfrm>
          <a:prstGeom prst="rect">
            <a:avLst/>
          </a:prstGeom>
        </p:spPr>
        <p:txBody>
          <a:bodyPr wrap="none" fromWordArt="1">
            <a:prstTxWarp prst="textPlain">
              <a:avLst>
                <a:gd name="adj" fmla="val 50000"/>
              </a:avLst>
            </a:prstTxWarp>
          </a:bodyPr>
          <a:lstStyle/>
          <a:p>
            <a:pPr algn="ctr"/>
            <a:r>
              <a:rPr lang="tr-TR" sz="6600" b="1" kern="10" dirty="0">
                <a:ln w="9525">
                  <a:noFill/>
                  <a:round/>
                  <a:headEnd/>
                  <a:tailEnd/>
                </a:ln>
                <a:effectLst>
                  <a:outerShdw sy="50000" rotWithShape="0">
                    <a:srgbClr val="B2B2B2">
                      <a:alpha val="50000"/>
                    </a:srgbClr>
                  </a:outerShdw>
                </a:effectLst>
                <a:latin typeface="Times New Roman"/>
                <a:cs typeface="Times New Roman"/>
              </a:rPr>
              <a:t>TEŞEKKÜRLER</a:t>
            </a:r>
          </a:p>
        </p:txBody>
      </p:sp>
      <p:sp>
        <p:nvSpPr>
          <p:cNvPr id="9" name="Başlık 2"/>
          <p:cNvSpPr>
            <a:spLocks noGrp="1"/>
          </p:cNvSpPr>
          <p:nvPr>
            <p:ph type="ctrTitle"/>
          </p:nvPr>
        </p:nvSpPr>
        <p:spPr>
          <a:xfrm>
            <a:off x="1962294" y="4221088"/>
            <a:ext cx="5219412" cy="1036001"/>
          </a:xfrm>
        </p:spPr>
        <p:txBody>
          <a:bodyPr>
            <a:noAutofit/>
          </a:bodyPr>
          <a:lstStyle/>
          <a:p>
            <a:r>
              <a:rPr lang="tr-TR" sz="2000" b="1" dirty="0"/>
              <a:t>Hüdaverdi AKKOCA</a:t>
            </a:r>
            <a:br>
              <a:rPr lang="tr-TR" sz="2000" b="1" dirty="0"/>
            </a:br>
            <a:r>
              <a:rPr lang="tr-TR" sz="2000" dirty="0"/>
              <a:t>Uygulama ve Veri Yönetimi Daire </a:t>
            </a:r>
            <a:r>
              <a:rPr lang="tr-TR" sz="2000" dirty="0" smtClean="0"/>
              <a:t>Başkanı</a:t>
            </a:r>
            <a:r>
              <a:rPr lang="tr-TR" sz="6000" dirty="0" smtClean="0">
                <a:solidFill>
                  <a:schemeClr val="tx1"/>
                </a:solidFill>
              </a:rPr>
              <a:t/>
            </a:r>
            <a:br>
              <a:rPr lang="tr-TR" sz="6000" dirty="0" smtClean="0">
                <a:solidFill>
                  <a:schemeClr val="tx1"/>
                </a:solidFill>
              </a:rPr>
            </a:br>
            <a:r>
              <a:rPr lang="tr-TR" sz="2000" u="sng" dirty="0" smtClean="0"/>
              <a:t>hakkoca</a:t>
            </a:r>
            <a:r>
              <a:rPr lang="tr-TR" sz="2000" u="sng" dirty="0" smtClean="0">
                <a:solidFill>
                  <a:schemeClr val="tx1"/>
                </a:solidFill>
              </a:rPr>
              <a:t>@gelirler.gov.tr</a:t>
            </a:r>
            <a:endParaRPr lang="tr-TR" sz="6000" u="sng" dirty="0">
              <a:solidFill>
                <a:schemeClr val="tx1"/>
              </a:solidFill>
            </a:endParaRPr>
          </a:p>
        </p:txBody>
      </p:sp>
    </p:spTree>
    <p:extLst>
      <p:ext uri="{BB962C8B-B14F-4D97-AF65-F5344CB8AC3E}">
        <p14:creationId xmlns:p14="http://schemas.microsoft.com/office/powerpoint/2010/main" val="2064501294"/>
      </p:ext>
    </p:extLst>
  </p:cSld>
  <p:clrMapOvr>
    <a:masterClrMapping/>
  </p:clrMapOvr>
  <mc:AlternateContent xmlns:mc="http://schemas.openxmlformats.org/markup-compatibility/2006" xmlns:p14="http://schemas.microsoft.com/office/powerpoint/2010/main">
    <mc:Choice Requires="p14">
      <p:transition spd="med" p14:dur="700" advClick="0" advTm="4000">
        <p:fade/>
      </p:transition>
    </mc:Choice>
    <mc:Fallback xmlns="">
      <p:transition spd="med" advClick="0" advTm="4000">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p:cNvSpPr>
            <a:spLocks noGrp="1"/>
          </p:cNvSpPr>
          <p:nvPr>
            <p:ph type="title"/>
          </p:nvPr>
        </p:nvSpPr>
        <p:spPr>
          <a:xfrm>
            <a:off x="1238944" y="818292"/>
            <a:ext cx="8229600" cy="1143000"/>
          </a:xfrm>
        </p:spPr>
        <p:txBody>
          <a:bodyPr>
            <a:normAutofit/>
          </a:bodyPr>
          <a:lstStyle/>
          <a:p>
            <a:r>
              <a:rPr lang="tr-TR" sz="2800" b="1" dirty="0">
                <a:solidFill>
                  <a:schemeClr val="accent1">
                    <a:lumMod val="50000"/>
                  </a:schemeClr>
                </a:solidFill>
                <a:ea typeface="+mn-ea"/>
                <a:cs typeface="+mn-cs"/>
              </a:rPr>
              <a:t>E-FATURA NEDİR?</a:t>
            </a:r>
          </a:p>
        </p:txBody>
      </p:sp>
      <p:sp>
        <p:nvSpPr>
          <p:cNvPr id="10" name="Dikdörtgen 9"/>
          <p:cNvSpPr/>
          <p:nvPr/>
        </p:nvSpPr>
        <p:spPr>
          <a:xfrm>
            <a:off x="1938920" y="2492896"/>
            <a:ext cx="7025568" cy="3231654"/>
          </a:xfrm>
          <a:prstGeom prst="rect">
            <a:avLst/>
          </a:prstGeom>
        </p:spPr>
        <p:txBody>
          <a:bodyPr wrap="square">
            <a:spAutoFit/>
          </a:bodyPr>
          <a:lstStyle/>
          <a:p>
            <a:pPr marL="342900" indent="-342900">
              <a:buFont typeface="Arial" pitchFamily="34" charset="0"/>
              <a:buChar char="•"/>
            </a:pPr>
            <a:endParaRPr lang="tr-TR" sz="2400" b="1" dirty="0" smtClean="0"/>
          </a:p>
          <a:p>
            <a:r>
              <a:rPr lang="tr-TR" sz="2400" b="1" dirty="0" smtClean="0"/>
              <a:t>Faturada yer alması gereken bilgileri kapsar</a:t>
            </a:r>
          </a:p>
          <a:p>
            <a:endParaRPr lang="tr-TR" sz="2400" b="1" dirty="0"/>
          </a:p>
          <a:p>
            <a:r>
              <a:rPr lang="tr-TR" sz="2400" b="1" dirty="0"/>
              <a:t>Elektronik kayıtlar bütünü </a:t>
            </a:r>
            <a:r>
              <a:rPr lang="tr-TR" sz="2400" b="1" dirty="0" smtClean="0"/>
              <a:t>biçiminde oluşturulur </a:t>
            </a:r>
          </a:p>
          <a:p>
            <a:pPr lvl="0" fontAlgn="base">
              <a:lnSpc>
                <a:spcPct val="90000"/>
              </a:lnSpc>
              <a:spcBef>
                <a:spcPct val="0"/>
              </a:spcBef>
              <a:spcAft>
                <a:spcPct val="0"/>
              </a:spcAft>
            </a:pPr>
            <a:endParaRPr lang="tr-TR" sz="2400" b="1" dirty="0" smtClean="0"/>
          </a:p>
          <a:p>
            <a:pPr lvl="0" fontAlgn="base">
              <a:lnSpc>
                <a:spcPct val="90000"/>
              </a:lnSpc>
              <a:spcBef>
                <a:spcPct val="0"/>
              </a:spcBef>
              <a:spcAft>
                <a:spcPct val="0"/>
              </a:spcAft>
            </a:pPr>
            <a:r>
              <a:rPr lang="tr-TR" sz="2400" b="1" dirty="0" smtClean="0"/>
              <a:t>E-imza/Mali Mühür</a:t>
            </a:r>
          </a:p>
          <a:p>
            <a:pPr marL="800100" lvl="1" indent="-342900" fontAlgn="base">
              <a:lnSpc>
                <a:spcPct val="90000"/>
              </a:lnSpc>
              <a:spcBef>
                <a:spcPct val="0"/>
              </a:spcBef>
              <a:spcAft>
                <a:spcPct val="0"/>
              </a:spcAft>
              <a:buFont typeface="Wingdings" pitchFamily="2" charset="2"/>
              <a:buChar char="§"/>
            </a:pPr>
            <a:r>
              <a:rPr lang="tr-TR" sz="2400" b="1" dirty="0" smtClean="0"/>
              <a:t>       </a:t>
            </a:r>
            <a:r>
              <a:rPr lang="tr-TR" sz="2400" b="1" i="1" dirty="0" smtClean="0"/>
              <a:t>Kaynağının doğruluğu </a:t>
            </a:r>
          </a:p>
          <a:p>
            <a:pPr marL="800100" lvl="1" indent="-342900" fontAlgn="base">
              <a:lnSpc>
                <a:spcPct val="90000"/>
              </a:lnSpc>
              <a:spcBef>
                <a:spcPct val="0"/>
              </a:spcBef>
              <a:spcAft>
                <a:spcPct val="0"/>
              </a:spcAft>
              <a:buFont typeface="Wingdings" pitchFamily="2" charset="2"/>
              <a:buChar char="§"/>
            </a:pPr>
            <a:r>
              <a:rPr lang="tr-TR" sz="2400" b="1" i="1" dirty="0"/>
              <a:t> </a:t>
            </a:r>
            <a:r>
              <a:rPr lang="tr-TR" sz="2400" b="1" i="1" dirty="0" smtClean="0"/>
              <a:t>      İçeriğinin bütünlüğü</a:t>
            </a:r>
          </a:p>
          <a:p>
            <a:pPr marL="800100" lvl="1" indent="-342900" fontAlgn="base">
              <a:lnSpc>
                <a:spcPct val="90000"/>
              </a:lnSpc>
              <a:spcBef>
                <a:spcPct val="0"/>
              </a:spcBef>
              <a:spcAft>
                <a:spcPct val="0"/>
              </a:spcAft>
              <a:buFont typeface="Wingdings" pitchFamily="2" charset="2"/>
              <a:buChar char="§"/>
            </a:pPr>
            <a:r>
              <a:rPr lang="tr-TR" sz="2400" b="1" i="1" dirty="0" smtClean="0"/>
              <a:t>       Değişmezliği</a:t>
            </a:r>
            <a:endParaRPr lang="tr-TR" sz="2400" b="1" i="1" dirty="0"/>
          </a:p>
        </p:txBody>
      </p:sp>
      <p:grpSp>
        <p:nvGrpSpPr>
          <p:cNvPr id="3" name="Grup 2"/>
          <p:cNvGrpSpPr/>
          <p:nvPr/>
        </p:nvGrpSpPr>
        <p:grpSpPr>
          <a:xfrm>
            <a:off x="-4980" y="233100"/>
            <a:ext cx="3936823" cy="2944730"/>
            <a:chOff x="-4980" y="764704"/>
            <a:chExt cx="3936823" cy="2944730"/>
          </a:xfrm>
        </p:grpSpPr>
        <p:sp>
          <p:nvSpPr>
            <p:cNvPr id="8" name="Freihandform 25"/>
            <p:cNvSpPr/>
            <p:nvPr/>
          </p:nvSpPr>
          <p:spPr>
            <a:xfrm>
              <a:off x="19021" y="1230641"/>
              <a:ext cx="1173160" cy="2478793"/>
            </a:xfrm>
            <a:custGeom>
              <a:avLst/>
              <a:gdLst>
                <a:gd name="connsiteX0" fmla="*/ 0 w 1270000"/>
                <a:gd name="connsiteY0" fmla="*/ 3086100 h 3086100"/>
                <a:gd name="connsiteX1" fmla="*/ 914400 w 1270000"/>
                <a:gd name="connsiteY1" fmla="*/ 0 h 3086100"/>
                <a:gd name="connsiteX2" fmla="*/ 1270000 w 1270000"/>
                <a:gd name="connsiteY2" fmla="*/ 2794000 h 3086100"/>
                <a:gd name="connsiteX3" fmla="*/ 0 w 1270000"/>
                <a:gd name="connsiteY3" fmla="*/ 3086100 h 3086100"/>
                <a:gd name="connsiteX0" fmla="*/ 0 w 5283200"/>
                <a:gd name="connsiteY0" fmla="*/ 3086100 h 3086100"/>
                <a:gd name="connsiteX1" fmla="*/ 914400 w 5283200"/>
                <a:gd name="connsiteY1" fmla="*/ 0 h 3086100"/>
                <a:gd name="connsiteX2" fmla="*/ 5283200 w 5283200"/>
                <a:gd name="connsiteY2" fmla="*/ 2844800 h 3086100"/>
                <a:gd name="connsiteX3" fmla="*/ 0 w 5283200"/>
                <a:gd name="connsiteY3" fmla="*/ 3086100 h 3086100"/>
                <a:gd name="connsiteX0" fmla="*/ 0 w 1257300"/>
                <a:gd name="connsiteY0" fmla="*/ 3086100 h 3086100"/>
                <a:gd name="connsiteX1" fmla="*/ 914400 w 1257300"/>
                <a:gd name="connsiteY1" fmla="*/ 0 h 3086100"/>
                <a:gd name="connsiteX2" fmla="*/ 1257300 w 1257300"/>
                <a:gd name="connsiteY2" fmla="*/ 2806700 h 3086100"/>
                <a:gd name="connsiteX3" fmla="*/ 0 w 1257300"/>
                <a:gd name="connsiteY3" fmla="*/ 3086100 h 3086100"/>
                <a:gd name="connsiteX0" fmla="*/ 0 w 1257300"/>
                <a:gd name="connsiteY0" fmla="*/ 3117104 h 3117104"/>
                <a:gd name="connsiteX1" fmla="*/ 914400 w 1257300"/>
                <a:gd name="connsiteY1" fmla="*/ 0 h 3117104"/>
                <a:gd name="connsiteX2" fmla="*/ 1257300 w 1257300"/>
                <a:gd name="connsiteY2" fmla="*/ 2806700 h 3117104"/>
                <a:gd name="connsiteX3" fmla="*/ 0 w 1257300"/>
                <a:gd name="connsiteY3" fmla="*/ 3117104 h 3117104"/>
                <a:gd name="connsiteX0" fmla="*/ 0 w 1331764"/>
                <a:gd name="connsiteY0" fmla="*/ 3290545 h 3290545"/>
                <a:gd name="connsiteX1" fmla="*/ 988864 w 1331764"/>
                <a:gd name="connsiteY1" fmla="*/ 0 h 3290545"/>
                <a:gd name="connsiteX2" fmla="*/ 1331764 w 1331764"/>
                <a:gd name="connsiteY2" fmla="*/ 2806700 h 3290545"/>
                <a:gd name="connsiteX3" fmla="*/ 0 w 1331764"/>
                <a:gd name="connsiteY3" fmla="*/ 3290545 h 3290545"/>
                <a:gd name="connsiteX0" fmla="*/ 0 w 1331764"/>
                <a:gd name="connsiteY0" fmla="*/ 3290545 h 3290545"/>
                <a:gd name="connsiteX1" fmla="*/ 988864 w 1331764"/>
                <a:gd name="connsiteY1" fmla="*/ 0 h 3290545"/>
                <a:gd name="connsiteX2" fmla="*/ 1331764 w 1331764"/>
                <a:gd name="connsiteY2" fmla="*/ 2904978 h 3290545"/>
                <a:gd name="connsiteX3" fmla="*/ 0 w 1331764"/>
                <a:gd name="connsiteY3" fmla="*/ 3290545 h 3290545"/>
                <a:gd name="connsiteX0" fmla="*/ 0 w 1331764"/>
                <a:gd name="connsiteY0" fmla="*/ 3290545 h 3290545"/>
                <a:gd name="connsiteX1" fmla="*/ 988864 w 1331764"/>
                <a:gd name="connsiteY1" fmla="*/ 0 h 3290545"/>
                <a:gd name="connsiteX2" fmla="*/ 1331764 w 1331764"/>
                <a:gd name="connsiteY2" fmla="*/ 2926038 h 3290545"/>
                <a:gd name="connsiteX3" fmla="*/ 0 w 1331764"/>
                <a:gd name="connsiteY3" fmla="*/ 3290545 h 3290545"/>
                <a:gd name="connsiteX0" fmla="*/ 0 w 1310911"/>
                <a:gd name="connsiteY0" fmla="*/ 3290545 h 3290545"/>
                <a:gd name="connsiteX1" fmla="*/ 988864 w 1310911"/>
                <a:gd name="connsiteY1" fmla="*/ 0 h 3290545"/>
                <a:gd name="connsiteX2" fmla="*/ 1310911 w 1310911"/>
                <a:gd name="connsiteY2" fmla="*/ 2915543 h 3290545"/>
                <a:gd name="connsiteX3" fmla="*/ 0 w 1310911"/>
                <a:gd name="connsiteY3" fmla="*/ 3290545 h 3290545"/>
                <a:gd name="connsiteX0" fmla="*/ 0 w 1310911"/>
                <a:gd name="connsiteY0" fmla="*/ 3157942 h 3157942"/>
                <a:gd name="connsiteX1" fmla="*/ 928534 w 1310911"/>
                <a:gd name="connsiteY1" fmla="*/ 0 h 3157942"/>
                <a:gd name="connsiteX2" fmla="*/ 1310911 w 1310911"/>
                <a:gd name="connsiteY2" fmla="*/ 2782940 h 3157942"/>
                <a:gd name="connsiteX3" fmla="*/ 0 w 1310911"/>
                <a:gd name="connsiteY3" fmla="*/ 3157942 h 3157942"/>
                <a:gd name="connsiteX0" fmla="*/ 0 w 1241475"/>
                <a:gd name="connsiteY0" fmla="*/ 3323352 h 3323352"/>
                <a:gd name="connsiteX1" fmla="*/ 859098 w 1241475"/>
                <a:gd name="connsiteY1" fmla="*/ 0 h 3323352"/>
                <a:gd name="connsiteX2" fmla="*/ 1241475 w 1241475"/>
                <a:gd name="connsiteY2" fmla="*/ 2782940 h 3323352"/>
                <a:gd name="connsiteX3" fmla="*/ 0 w 1241475"/>
                <a:gd name="connsiteY3" fmla="*/ 3323352 h 3323352"/>
                <a:gd name="connsiteX0" fmla="*/ 0 w 1241475"/>
                <a:gd name="connsiteY0" fmla="*/ 3323352 h 3323352"/>
                <a:gd name="connsiteX1" fmla="*/ 859098 w 1241475"/>
                <a:gd name="connsiteY1" fmla="*/ 0 h 3323352"/>
                <a:gd name="connsiteX2" fmla="*/ 1241475 w 1241475"/>
                <a:gd name="connsiteY2" fmla="*/ 2837055 h 3323352"/>
                <a:gd name="connsiteX3" fmla="*/ 0 w 1241475"/>
                <a:gd name="connsiteY3" fmla="*/ 3323352 h 3323352"/>
                <a:gd name="connsiteX0" fmla="*/ 0 w 1312174"/>
                <a:gd name="connsiteY0" fmla="*/ 3323352 h 3323352"/>
                <a:gd name="connsiteX1" fmla="*/ 859098 w 1312174"/>
                <a:gd name="connsiteY1" fmla="*/ 0 h 3323352"/>
                <a:gd name="connsiteX2" fmla="*/ 1312174 w 1312174"/>
                <a:gd name="connsiteY2" fmla="*/ 2782940 h 3323352"/>
                <a:gd name="connsiteX3" fmla="*/ 0 w 1312174"/>
                <a:gd name="connsiteY3" fmla="*/ 3323352 h 3323352"/>
                <a:gd name="connsiteX0" fmla="*/ 0 w 1312174"/>
                <a:gd name="connsiteY0" fmla="*/ 3323352 h 3323352"/>
                <a:gd name="connsiteX1" fmla="*/ 859098 w 1312174"/>
                <a:gd name="connsiteY1" fmla="*/ 0 h 3323352"/>
                <a:gd name="connsiteX2" fmla="*/ 1312174 w 1312174"/>
                <a:gd name="connsiteY2" fmla="*/ 2999725 h 3323352"/>
                <a:gd name="connsiteX3" fmla="*/ 0 w 1312174"/>
                <a:gd name="connsiteY3" fmla="*/ 3323352 h 3323352"/>
                <a:gd name="connsiteX0" fmla="*/ 0 w 1312174"/>
                <a:gd name="connsiteY0" fmla="*/ 3323352 h 3323352"/>
                <a:gd name="connsiteX1" fmla="*/ 859098 w 1312174"/>
                <a:gd name="connsiteY1" fmla="*/ 0 h 3323352"/>
                <a:gd name="connsiteX2" fmla="*/ 1312174 w 1312174"/>
                <a:gd name="connsiteY2" fmla="*/ 2821571 h 3323352"/>
                <a:gd name="connsiteX3" fmla="*/ 0 w 1312174"/>
                <a:gd name="connsiteY3" fmla="*/ 3323352 h 3323352"/>
                <a:gd name="connsiteX0" fmla="*/ 0 w 1312174"/>
                <a:gd name="connsiteY0" fmla="*/ 2821571 h 2821571"/>
                <a:gd name="connsiteX1" fmla="*/ 859098 w 1312174"/>
                <a:gd name="connsiteY1" fmla="*/ 0 h 2821571"/>
                <a:gd name="connsiteX2" fmla="*/ 1312174 w 1312174"/>
                <a:gd name="connsiteY2" fmla="*/ 2821571 h 2821571"/>
                <a:gd name="connsiteX3" fmla="*/ 0 w 1312174"/>
                <a:gd name="connsiteY3" fmla="*/ 2821571 h 2821571"/>
                <a:gd name="connsiteX0" fmla="*/ 0 w 1312174"/>
                <a:gd name="connsiteY0" fmla="*/ 3187049 h 3187049"/>
                <a:gd name="connsiteX1" fmla="*/ 859098 w 1312174"/>
                <a:gd name="connsiteY1" fmla="*/ 0 h 3187049"/>
                <a:gd name="connsiteX2" fmla="*/ 1312174 w 1312174"/>
                <a:gd name="connsiteY2" fmla="*/ 2821571 h 3187049"/>
                <a:gd name="connsiteX3" fmla="*/ 0 w 1312174"/>
                <a:gd name="connsiteY3" fmla="*/ 3187049 h 3187049"/>
                <a:gd name="connsiteX0" fmla="*/ 0 w 1312174"/>
                <a:gd name="connsiteY0" fmla="*/ 2788011 h 2788011"/>
                <a:gd name="connsiteX1" fmla="*/ 771876 w 1312174"/>
                <a:gd name="connsiteY1" fmla="*/ 0 h 2788011"/>
                <a:gd name="connsiteX2" fmla="*/ 1312174 w 1312174"/>
                <a:gd name="connsiteY2" fmla="*/ 2422533 h 2788011"/>
                <a:gd name="connsiteX3" fmla="*/ 0 w 1312174"/>
                <a:gd name="connsiteY3" fmla="*/ 2788011 h 2788011"/>
                <a:gd name="connsiteX0" fmla="*/ 0 w 1161026"/>
                <a:gd name="connsiteY0" fmla="*/ 2788011 h 2788011"/>
                <a:gd name="connsiteX1" fmla="*/ 771876 w 1161026"/>
                <a:gd name="connsiteY1" fmla="*/ 0 h 2788011"/>
                <a:gd name="connsiteX2" fmla="*/ 1161026 w 1161026"/>
                <a:gd name="connsiteY2" fmla="*/ 2447314 h 2788011"/>
                <a:gd name="connsiteX3" fmla="*/ 0 w 1161026"/>
                <a:gd name="connsiteY3" fmla="*/ 2788011 h 2788011"/>
              </a:gdLst>
              <a:ahLst/>
              <a:cxnLst>
                <a:cxn ang="0">
                  <a:pos x="connsiteX0" y="connsiteY0"/>
                </a:cxn>
                <a:cxn ang="0">
                  <a:pos x="connsiteX1" y="connsiteY1"/>
                </a:cxn>
                <a:cxn ang="0">
                  <a:pos x="connsiteX2" y="connsiteY2"/>
                </a:cxn>
                <a:cxn ang="0">
                  <a:pos x="connsiteX3" y="connsiteY3"/>
                </a:cxn>
              </a:cxnLst>
              <a:rect l="l" t="t" r="r" b="b"/>
              <a:pathLst>
                <a:path w="1161026" h="2788011">
                  <a:moveTo>
                    <a:pt x="0" y="2788011"/>
                  </a:moveTo>
                  <a:lnTo>
                    <a:pt x="771876" y="0"/>
                  </a:lnTo>
                  <a:lnTo>
                    <a:pt x="1161026" y="2447314"/>
                  </a:lnTo>
                  <a:lnTo>
                    <a:pt x="0" y="2788011"/>
                  </a:lnTo>
                  <a:close/>
                </a:path>
              </a:pathLst>
            </a:custGeom>
            <a:solidFill>
              <a:schemeClr val="bg1">
                <a:lumMod val="50000"/>
                <a:alpha val="31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11" name="Grup 10"/>
            <p:cNvGrpSpPr/>
            <p:nvPr/>
          </p:nvGrpSpPr>
          <p:grpSpPr>
            <a:xfrm>
              <a:off x="-4980" y="764704"/>
              <a:ext cx="3936823" cy="2478793"/>
              <a:chOff x="393470" y="2236770"/>
              <a:chExt cx="4538570" cy="2779169"/>
            </a:xfrm>
          </p:grpSpPr>
          <p:sp>
            <p:nvSpPr>
              <p:cNvPr id="9" name="Rechteck 26"/>
              <p:cNvSpPr/>
              <p:nvPr/>
            </p:nvSpPr>
            <p:spPr>
              <a:xfrm>
                <a:off x="1248975" y="2236770"/>
                <a:ext cx="3683065" cy="2445047"/>
              </a:xfrm>
              <a:prstGeom prst="rect">
                <a:avLst/>
              </a:prstGeom>
              <a:blipFill>
                <a:blip r:embed="rId3" cstate="print"/>
                <a:stretch>
                  <a:fillRect/>
                </a:stretch>
              </a:blipFill>
              <a:ln w="85725" cap="rnd" cmpd="thickThin">
                <a:solidFill>
                  <a:schemeClr val="bg1">
                    <a:lumMod val="75000"/>
                  </a:schemeClr>
                </a:solidFill>
                <a:bevel/>
              </a:ln>
              <a:effectLst>
                <a:outerShdw blurRad="165100" dist="127000" dir="9000000" sy="23000" kx="1200000" algn="br" rotWithShape="0">
                  <a:prstClr val="black">
                    <a:alpha val="27000"/>
                  </a:prstClr>
                </a:outerShdw>
              </a:effectLst>
              <a:scene3d>
                <a:camera prst="perspectiveFront" fov="7200000">
                  <a:rot lat="36514" lon="19803347" rev="600000"/>
                </a:camera>
                <a:lightRig rig="flood" dir="t">
                  <a:rot lat="0" lon="0" rev="13800000"/>
                </a:lightRig>
              </a:scene3d>
              <a:sp3d extrusionH="76200" prstMaterial="plastic">
                <a:bevelT w="0" h="0" prst="divot"/>
                <a:bevelB w="0" h="0"/>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4400" b="1" dirty="0">
                  <a:solidFill>
                    <a:schemeClr val="tx1">
                      <a:lumMod val="95000"/>
                      <a:lumOff val="5000"/>
                    </a:schemeClr>
                  </a:solidFill>
                  <a:latin typeface="Times New Roman" pitchFamily="18" charset="0"/>
                  <a:cs typeface="Times New Roman" pitchFamily="18" charset="0"/>
                </a:endParaRPr>
              </a:p>
            </p:txBody>
          </p:sp>
          <p:sp>
            <p:nvSpPr>
              <p:cNvPr id="33" name="Freihandform 25"/>
              <p:cNvSpPr/>
              <p:nvPr/>
            </p:nvSpPr>
            <p:spPr>
              <a:xfrm>
                <a:off x="393470" y="2537146"/>
                <a:ext cx="1173160" cy="2478793"/>
              </a:xfrm>
              <a:custGeom>
                <a:avLst/>
                <a:gdLst>
                  <a:gd name="connsiteX0" fmla="*/ 0 w 1270000"/>
                  <a:gd name="connsiteY0" fmla="*/ 3086100 h 3086100"/>
                  <a:gd name="connsiteX1" fmla="*/ 914400 w 1270000"/>
                  <a:gd name="connsiteY1" fmla="*/ 0 h 3086100"/>
                  <a:gd name="connsiteX2" fmla="*/ 1270000 w 1270000"/>
                  <a:gd name="connsiteY2" fmla="*/ 2794000 h 3086100"/>
                  <a:gd name="connsiteX3" fmla="*/ 0 w 1270000"/>
                  <a:gd name="connsiteY3" fmla="*/ 3086100 h 3086100"/>
                  <a:gd name="connsiteX0" fmla="*/ 0 w 5283200"/>
                  <a:gd name="connsiteY0" fmla="*/ 3086100 h 3086100"/>
                  <a:gd name="connsiteX1" fmla="*/ 914400 w 5283200"/>
                  <a:gd name="connsiteY1" fmla="*/ 0 h 3086100"/>
                  <a:gd name="connsiteX2" fmla="*/ 5283200 w 5283200"/>
                  <a:gd name="connsiteY2" fmla="*/ 2844800 h 3086100"/>
                  <a:gd name="connsiteX3" fmla="*/ 0 w 5283200"/>
                  <a:gd name="connsiteY3" fmla="*/ 3086100 h 3086100"/>
                  <a:gd name="connsiteX0" fmla="*/ 0 w 1257300"/>
                  <a:gd name="connsiteY0" fmla="*/ 3086100 h 3086100"/>
                  <a:gd name="connsiteX1" fmla="*/ 914400 w 1257300"/>
                  <a:gd name="connsiteY1" fmla="*/ 0 h 3086100"/>
                  <a:gd name="connsiteX2" fmla="*/ 1257300 w 1257300"/>
                  <a:gd name="connsiteY2" fmla="*/ 2806700 h 3086100"/>
                  <a:gd name="connsiteX3" fmla="*/ 0 w 1257300"/>
                  <a:gd name="connsiteY3" fmla="*/ 3086100 h 3086100"/>
                  <a:gd name="connsiteX0" fmla="*/ 0 w 1257300"/>
                  <a:gd name="connsiteY0" fmla="*/ 3117104 h 3117104"/>
                  <a:gd name="connsiteX1" fmla="*/ 914400 w 1257300"/>
                  <a:gd name="connsiteY1" fmla="*/ 0 h 3117104"/>
                  <a:gd name="connsiteX2" fmla="*/ 1257300 w 1257300"/>
                  <a:gd name="connsiteY2" fmla="*/ 2806700 h 3117104"/>
                  <a:gd name="connsiteX3" fmla="*/ 0 w 1257300"/>
                  <a:gd name="connsiteY3" fmla="*/ 3117104 h 3117104"/>
                  <a:gd name="connsiteX0" fmla="*/ 0 w 1331764"/>
                  <a:gd name="connsiteY0" fmla="*/ 3290545 h 3290545"/>
                  <a:gd name="connsiteX1" fmla="*/ 988864 w 1331764"/>
                  <a:gd name="connsiteY1" fmla="*/ 0 h 3290545"/>
                  <a:gd name="connsiteX2" fmla="*/ 1331764 w 1331764"/>
                  <a:gd name="connsiteY2" fmla="*/ 2806700 h 3290545"/>
                  <a:gd name="connsiteX3" fmla="*/ 0 w 1331764"/>
                  <a:gd name="connsiteY3" fmla="*/ 3290545 h 3290545"/>
                  <a:gd name="connsiteX0" fmla="*/ 0 w 1331764"/>
                  <a:gd name="connsiteY0" fmla="*/ 3290545 h 3290545"/>
                  <a:gd name="connsiteX1" fmla="*/ 988864 w 1331764"/>
                  <a:gd name="connsiteY1" fmla="*/ 0 h 3290545"/>
                  <a:gd name="connsiteX2" fmla="*/ 1331764 w 1331764"/>
                  <a:gd name="connsiteY2" fmla="*/ 2904978 h 3290545"/>
                  <a:gd name="connsiteX3" fmla="*/ 0 w 1331764"/>
                  <a:gd name="connsiteY3" fmla="*/ 3290545 h 3290545"/>
                  <a:gd name="connsiteX0" fmla="*/ 0 w 1331764"/>
                  <a:gd name="connsiteY0" fmla="*/ 3290545 h 3290545"/>
                  <a:gd name="connsiteX1" fmla="*/ 988864 w 1331764"/>
                  <a:gd name="connsiteY1" fmla="*/ 0 h 3290545"/>
                  <a:gd name="connsiteX2" fmla="*/ 1331764 w 1331764"/>
                  <a:gd name="connsiteY2" fmla="*/ 2926038 h 3290545"/>
                  <a:gd name="connsiteX3" fmla="*/ 0 w 1331764"/>
                  <a:gd name="connsiteY3" fmla="*/ 3290545 h 3290545"/>
                  <a:gd name="connsiteX0" fmla="*/ 0 w 1310911"/>
                  <a:gd name="connsiteY0" fmla="*/ 3290545 h 3290545"/>
                  <a:gd name="connsiteX1" fmla="*/ 988864 w 1310911"/>
                  <a:gd name="connsiteY1" fmla="*/ 0 h 3290545"/>
                  <a:gd name="connsiteX2" fmla="*/ 1310911 w 1310911"/>
                  <a:gd name="connsiteY2" fmla="*/ 2915543 h 3290545"/>
                  <a:gd name="connsiteX3" fmla="*/ 0 w 1310911"/>
                  <a:gd name="connsiteY3" fmla="*/ 3290545 h 3290545"/>
                  <a:gd name="connsiteX0" fmla="*/ 0 w 1310911"/>
                  <a:gd name="connsiteY0" fmla="*/ 3157942 h 3157942"/>
                  <a:gd name="connsiteX1" fmla="*/ 928534 w 1310911"/>
                  <a:gd name="connsiteY1" fmla="*/ 0 h 3157942"/>
                  <a:gd name="connsiteX2" fmla="*/ 1310911 w 1310911"/>
                  <a:gd name="connsiteY2" fmla="*/ 2782940 h 3157942"/>
                  <a:gd name="connsiteX3" fmla="*/ 0 w 1310911"/>
                  <a:gd name="connsiteY3" fmla="*/ 3157942 h 3157942"/>
                  <a:gd name="connsiteX0" fmla="*/ 0 w 1241475"/>
                  <a:gd name="connsiteY0" fmla="*/ 3323352 h 3323352"/>
                  <a:gd name="connsiteX1" fmla="*/ 859098 w 1241475"/>
                  <a:gd name="connsiteY1" fmla="*/ 0 h 3323352"/>
                  <a:gd name="connsiteX2" fmla="*/ 1241475 w 1241475"/>
                  <a:gd name="connsiteY2" fmla="*/ 2782940 h 3323352"/>
                  <a:gd name="connsiteX3" fmla="*/ 0 w 1241475"/>
                  <a:gd name="connsiteY3" fmla="*/ 3323352 h 3323352"/>
                  <a:gd name="connsiteX0" fmla="*/ 0 w 1241475"/>
                  <a:gd name="connsiteY0" fmla="*/ 3323352 h 3323352"/>
                  <a:gd name="connsiteX1" fmla="*/ 859098 w 1241475"/>
                  <a:gd name="connsiteY1" fmla="*/ 0 h 3323352"/>
                  <a:gd name="connsiteX2" fmla="*/ 1241475 w 1241475"/>
                  <a:gd name="connsiteY2" fmla="*/ 2837055 h 3323352"/>
                  <a:gd name="connsiteX3" fmla="*/ 0 w 1241475"/>
                  <a:gd name="connsiteY3" fmla="*/ 3323352 h 3323352"/>
                  <a:gd name="connsiteX0" fmla="*/ 0 w 1312174"/>
                  <a:gd name="connsiteY0" fmla="*/ 3323352 h 3323352"/>
                  <a:gd name="connsiteX1" fmla="*/ 859098 w 1312174"/>
                  <a:gd name="connsiteY1" fmla="*/ 0 h 3323352"/>
                  <a:gd name="connsiteX2" fmla="*/ 1312174 w 1312174"/>
                  <a:gd name="connsiteY2" fmla="*/ 2782940 h 3323352"/>
                  <a:gd name="connsiteX3" fmla="*/ 0 w 1312174"/>
                  <a:gd name="connsiteY3" fmla="*/ 3323352 h 3323352"/>
                  <a:gd name="connsiteX0" fmla="*/ 0 w 1312174"/>
                  <a:gd name="connsiteY0" fmla="*/ 3323352 h 3323352"/>
                  <a:gd name="connsiteX1" fmla="*/ 859098 w 1312174"/>
                  <a:gd name="connsiteY1" fmla="*/ 0 h 3323352"/>
                  <a:gd name="connsiteX2" fmla="*/ 1312174 w 1312174"/>
                  <a:gd name="connsiteY2" fmla="*/ 2999725 h 3323352"/>
                  <a:gd name="connsiteX3" fmla="*/ 0 w 1312174"/>
                  <a:gd name="connsiteY3" fmla="*/ 3323352 h 3323352"/>
                  <a:gd name="connsiteX0" fmla="*/ 0 w 1312174"/>
                  <a:gd name="connsiteY0" fmla="*/ 3323352 h 3323352"/>
                  <a:gd name="connsiteX1" fmla="*/ 859098 w 1312174"/>
                  <a:gd name="connsiteY1" fmla="*/ 0 h 3323352"/>
                  <a:gd name="connsiteX2" fmla="*/ 1312174 w 1312174"/>
                  <a:gd name="connsiteY2" fmla="*/ 2821571 h 3323352"/>
                  <a:gd name="connsiteX3" fmla="*/ 0 w 1312174"/>
                  <a:gd name="connsiteY3" fmla="*/ 3323352 h 3323352"/>
                  <a:gd name="connsiteX0" fmla="*/ 0 w 1312174"/>
                  <a:gd name="connsiteY0" fmla="*/ 2821571 h 2821571"/>
                  <a:gd name="connsiteX1" fmla="*/ 859098 w 1312174"/>
                  <a:gd name="connsiteY1" fmla="*/ 0 h 2821571"/>
                  <a:gd name="connsiteX2" fmla="*/ 1312174 w 1312174"/>
                  <a:gd name="connsiteY2" fmla="*/ 2821571 h 2821571"/>
                  <a:gd name="connsiteX3" fmla="*/ 0 w 1312174"/>
                  <a:gd name="connsiteY3" fmla="*/ 2821571 h 2821571"/>
                  <a:gd name="connsiteX0" fmla="*/ 0 w 1312174"/>
                  <a:gd name="connsiteY0" fmla="*/ 3187049 h 3187049"/>
                  <a:gd name="connsiteX1" fmla="*/ 859098 w 1312174"/>
                  <a:gd name="connsiteY1" fmla="*/ 0 h 3187049"/>
                  <a:gd name="connsiteX2" fmla="*/ 1312174 w 1312174"/>
                  <a:gd name="connsiteY2" fmla="*/ 2821571 h 3187049"/>
                  <a:gd name="connsiteX3" fmla="*/ 0 w 1312174"/>
                  <a:gd name="connsiteY3" fmla="*/ 3187049 h 3187049"/>
                  <a:gd name="connsiteX0" fmla="*/ 0 w 1312174"/>
                  <a:gd name="connsiteY0" fmla="*/ 2788011 h 2788011"/>
                  <a:gd name="connsiteX1" fmla="*/ 771876 w 1312174"/>
                  <a:gd name="connsiteY1" fmla="*/ 0 h 2788011"/>
                  <a:gd name="connsiteX2" fmla="*/ 1312174 w 1312174"/>
                  <a:gd name="connsiteY2" fmla="*/ 2422533 h 2788011"/>
                  <a:gd name="connsiteX3" fmla="*/ 0 w 1312174"/>
                  <a:gd name="connsiteY3" fmla="*/ 2788011 h 2788011"/>
                  <a:gd name="connsiteX0" fmla="*/ 0 w 1161026"/>
                  <a:gd name="connsiteY0" fmla="*/ 2788011 h 2788011"/>
                  <a:gd name="connsiteX1" fmla="*/ 771876 w 1161026"/>
                  <a:gd name="connsiteY1" fmla="*/ 0 h 2788011"/>
                  <a:gd name="connsiteX2" fmla="*/ 1161026 w 1161026"/>
                  <a:gd name="connsiteY2" fmla="*/ 2447314 h 2788011"/>
                  <a:gd name="connsiteX3" fmla="*/ 0 w 1161026"/>
                  <a:gd name="connsiteY3" fmla="*/ 2788011 h 2788011"/>
                </a:gdLst>
                <a:ahLst/>
                <a:cxnLst>
                  <a:cxn ang="0">
                    <a:pos x="connsiteX0" y="connsiteY0"/>
                  </a:cxn>
                  <a:cxn ang="0">
                    <a:pos x="connsiteX1" y="connsiteY1"/>
                  </a:cxn>
                  <a:cxn ang="0">
                    <a:pos x="connsiteX2" y="connsiteY2"/>
                  </a:cxn>
                  <a:cxn ang="0">
                    <a:pos x="connsiteX3" y="connsiteY3"/>
                  </a:cxn>
                </a:cxnLst>
                <a:rect l="l" t="t" r="r" b="b"/>
                <a:pathLst>
                  <a:path w="1161026" h="2788011">
                    <a:moveTo>
                      <a:pt x="0" y="2788011"/>
                    </a:moveTo>
                    <a:lnTo>
                      <a:pt x="771876" y="0"/>
                    </a:lnTo>
                    <a:lnTo>
                      <a:pt x="1161026" y="2447314"/>
                    </a:lnTo>
                    <a:lnTo>
                      <a:pt x="0" y="2788011"/>
                    </a:lnTo>
                    <a:close/>
                  </a:path>
                </a:pathLst>
              </a:custGeom>
              <a:solidFill>
                <a:schemeClr val="bg1">
                  <a:lumMod val="50000"/>
                  <a:alpha val="31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0" name="Picture 3"/>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r="6212" b="12546"/>
              <a:stretch/>
            </p:blipFill>
            <p:spPr bwMode="auto">
              <a:xfrm>
                <a:off x="1334593" y="2321601"/>
                <a:ext cx="3597445" cy="2264811"/>
              </a:xfrm>
              <a:prstGeom prst="rect">
                <a:avLst/>
              </a:prstGeom>
              <a:blipFill>
                <a:blip r:embed="rId3" cstate="print"/>
                <a:stretch>
                  <a:fillRect/>
                </a:stretch>
              </a:blipFill>
              <a:ln w="85725" cap="rnd" cmpd="thickThin">
                <a:solidFill>
                  <a:schemeClr val="bg1">
                    <a:lumMod val="75000"/>
                  </a:schemeClr>
                </a:solidFill>
                <a:bevel/>
              </a:ln>
              <a:effectLst>
                <a:outerShdw blurRad="165100" dist="127000" dir="9000000" sy="23000" kx="1200000" algn="br" rotWithShape="0">
                  <a:prstClr val="black">
                    <a:alpha val="27000"/>
                  </a:prstClr>
                </a:outerShdw>
              </a:effectLst>
              <a:scene3d>
                <a:camera prst="perspectiveFront" fov="7200000">
                  <a:rot lat="36514" lon="19803347" rev="600000"/>
                </a:camera>
                <a:lightRig rig="flood" dir="t">
                  <a:rot lat="0" lon="0" rev="13800000"/>
                </a:lightRig>
              </a:scene3d>
              <a:sp3d extrusionH="76200" prstMaterial="plastic">
                <a:bevelT w="0" h="0" prst="divot"/>
                <a:bevelB w="0" h="0"/>
              </a:sp3d>
              <a:extLst/>
            </p:spPr>
          </p:pic>
        </p:grpSp>
      </p:grpSp>
      <p:grpSp>
        <p:nvGrpSpPr>
          <p:cNvPr id="14" name="Gruppe 405"/>
          <p:cNvGrpSpPr>
            <a:grpSpLocks/>
          </p:cNvGrpSpPr>
          <p:nvPr/>
        </p:nvGrpSpPr>
        <p:grpSpPr bwMode="auto">
          <a:xfrm>
            <a:off x="1259632" y="2824054"/>
            <a:ext cx="682634" cy="586586"/>
            <a:chOff x="7075487" y="1643061"/>
            <a:chExt cx="1966913" cy="1843089"/>
          </a:xfrm>
        </p:grpSpPr>
        <p:grpSp>
          <p:nvGrpSpPr>
            <p:cNvPr id="15" name="Gruppe 382"/>
            <p:cNvGrpSpPr>
              <a:grpSpLocks/>
            </p:cNvGrpSpPr>
            <p:nvPr/>
          </p:nvGrpSpPr>
          <p:grpSpPr bwMode="auto">
            <a:xfrm>
              <a:off x="7229474" y="1643061"/>
              <a:ext cx="1519238" cy="1521620"/>
              <a:chOff x="7140574" y="1757361"/>
              <a:chExt cx="1519238" cy="1521620"/>
            </a:xfrm>
          </p:grpSpPr>
          <p:sp>
            <p:nvSpPr>
              <p:cNvPr id="17" name="Ellipse 208"/>
              <p:cNvSpPr/>
              <p:nvPr/>
            </p:nvSpPr>
            <p:spPr bwMode="auto">
              <a:xfrm>
                <a:off x="7140574" y="1757361"/>
                <a:ext cx="1519238" cy="1521620"/>
              </a:xfrm>
              <a:prstGeom prst="ellipse">
                <a:avLst/>
              </a:prstGeom>
              <a:gradFill flip="none" rotWithShape="1">
                <a:gsLst>
                  <a:gs pos="0">
                    <a:schemeClr val="accent1">
                      <a:lumMod val="90000"/>
                    </a:schemeClr>
                  </a:gs>
                  <a:gs pos="50000">
                    <a:schemeClr val="accent1"/>
                  </a:gs>
                  <a:gs pos="100000">
                    <a:schemeClr val="accent1">
                      <a:lumMod val="25000"/>
                    </a:schemeClr>
                  </a:gs>
                </a:gsLst>
                <a:path path="circle">
                  <a:fillToRect l="50000" t="50000" r="50000" b="50000"/>
                </a:path>
                <a:tileRect/>
              </a:gradFill>
              <a:ln w="9525" cap="flat" cmpd="sng" algn="ctr">
                <a:noFill/>
                <a:prstDash val="solid"/>
              </a:ln>
              <a:effectLst/>
            </p:spPr>
            <p:txBody>
              <a:bodyPr anchor="ctr"/>
              <a:lstStyle/>
              <a:p>
                <a:pPr algn="ctr" fontAlgn="auto">
                  <a:spcBef>
                    <a:spcPts val="0"/>
                  </a:spcBef>
                  <a:spcAft>
                    <a:spcPts val="0"/>
                  </a:spcAft>
                  <a:defRPr/>
                </a:pPr>
                <a:endParaRPr lang="da-DK" kern="0" dirty="0">
                  <a:solidFill>
                    <a:sysClr val="window" lastClr="FFFFFF"/>
                  </a:solidFill>
                  <a:latin typeface="Calibri"/>
                  <a:ea typeface="ＭＳ Ｐゴシック" pitchFamily="-97" charset="-128"/>
                  <a:cs typeface="+mn-cs"/>
                </a:endParaRPr>
              </a:p>
            </p:txBody>
          </p:sp>
          <p:sp>
            <p:nvSpPr>
              <p:cNvPr id="18" name="Freeform 150"/>
              <p:cNvSpPr>
                <a:spLocks/>
              </p:cNvSpPr>
              <p:nvPr/>
            </p:nvSpPr>
            <p:spPr bwMode="auto">
              <a:xfrm>
                <a:off x="7634306" y="2149282"/>
                <a:ext cx="570900" cy="745340"/>
              </a:xfrm>
              <a:custGeom>
                <a:avLst/>
                <a:gdLst>
                  <a:gd name="T0" fmla="*/ 0 w 216"/>
                  <a:gd name="T1" fmla="*/ 2147483647 h 282"/>
                  <a:gd name="T2" fmla="*/ 0 w 216"/>
                  <a:gd name="T3" fmla="*/ 2147483647 h 282"/>
                  <a:gd name="T4" fmla="*/ 0 w 216"/>
                  <a:gd name="T5" fmla="*/ 2147483647 h 282"/>
                  <a:gd name="T6" fmla="*/ 2147483647 w 216"/>
                  <a:gd name="T7" fmla="*/ 2147483647 h 282"/>
                  <a:gd name="T8" fmla="*/ 2147483647 w 216"/>
                  <a:gd name="T9" fmla="*/ 2147483647 h 282"/>
                  <a:gd name="T10" fmla="*/ 2147483647 w 216"/>
                  <a:gd name="T11" fmla="*/ 2147483647 h 282"/>
                  <a:gd name="T12" fmla="*/ 2147483647 w 216"/>
                  <a:gd name="T13" fmla="*/ 2147483647 h 282"/>
                  <a:gd name="T14" fmla="*/ 2147483647 w 216"/>
                  <a:gd name="T15" fmla="*/ 2147483647 h 282"/>
                  <a:gd name="T16" fmla="*/ 2147483647 w 216"/>
                  <a:gd name="T17" fmla="*/ 2147483647 h 282"/>
                  <a:gd name="T18" fmla="*/ 2147483647 w 216"/>
                  <a:gd name="T19" fmla="*/ 2147483647 h 282"/>
                  <a:gd name="T20" fmla="*/ 2147483647 w 216"/>
                  <a:gd name="T21" fmla="*/ 2147483647 h 282"/>
                  <a:gd name="T22" fmla="*/ 2147483647 w 216"/>
                  <a:gd name="T23" fmla="*/ 2147483647 h 282"/>
                  <a:gd name="T24" fmla="*/ 2147483647 w 216"/>
                  <a:gd name="T25" fmla="*/ 2147483647 h 282"/>
                  <a:gd name="T26" fmla="*/ 2147483647 w 216"/>
                  <a:gd name="T27" fmla="*/ 2147483647 h 282"/>
                  <a:gd name="T28" fmla="*/ 2147483647 w 216"/>
                  <a:gd name="T29" fmla="*/ 2147483647 h 282"/>
                  <a:gd name="T30" fmla="*/ 2147483647 w 216"/>
                  <a:gd name="T31" fmla="*/ 2147483647 h 282"/>
                  <a:gd name="T32" fmla="*/ 2147483647 w 216"/>
                  <a:gd name="T33" fmla="*/ 2147483647 h 282"/>
                  <a:gd name="T34" fmla="*/ 2147483647 w 216"/>
                  <a:gd name="T35" fmla="*/ 2147483647 h 282"/>
                  <a:gd name="T36" fmla="*/ 2147483647 w 216"/>
                  <a:gd name="T37" fmla="*/ 2147483647 h 282"/>
                  <a:gd name="T38" fmla="*/ 2147483647 w 216"/>
                  <a:gd name="T39" fmla="*/ 2147483647 h 282"/>
                  <a:gd name="T40" fmla="*/ 2147483647 w 216"/>
                  <a:gd name="T41" fmla="*/ 2147483647 h 282"/>
                  <a:gd name="T42" fmla="*/ 2147483647 w 216"/>
                  <a:gd name="T43" fmla="*/ 2147483647 h 282"/>
                  <a:gd name="T44" fmla="*/ 2147483647 w 216"/>
                  <a:gd name="T45" fmla="*/ 2147483647 h 282"/>
                  <a:gd name="T46" fmla="*/ 2147483647 w 216"/>
                  <a:gd name="T47" fmla="*/ 2147483647 h 282"/>
                  <a:gd name="T48" fmla="*/ 2147483647 w 216"/>
                  <a:gd name="T49" fmla="*/ 2147483647 h 282"/>
                  <a:gd name="T50" fmla="*/ 2147483647 w 216"/>
                  <a:gd name="T51" fmla="*/ 2147483647 h 282"/>
                  <a:gd name="T52" fmla="*/ 2147483647 w 216"/>
                  <a:gd name="T53" fmla="*/ 2147483647 h 282"/>
                  <a:gd name="T54" fmla="*/ 2147483647 w 216"/>
                  <a:gd name="T55" fmla="*/ 2147483647 h 282"/>
                  <a:gd name="T56" fmla="*/ 2147483647 w 216"/>
                  <a:gd name="T57" fmla="*/ 2147483647 h 282"/>
                  <a:gd name="T58" fmla="*/ 2147483647 w 216"/>
                  <a:gd name="T59" fmla="*/ 2147483647 h 282"/>
                  <a:gd name="T60" fmla="*/ 2147483647 w 216"/>
                  <a:gd name="T61" fmla="*/ 2147483647 h 282"/>
                  <a:gd name="T62" fmla="*/ 2147483647 w 216"/>
                  <a:gd name="T63" fmla="*/ 2147483647 h 282"/>
                  <a:gd name="T64" fmla="*/ 2147483647 w 216"/>
                  <a:gd name="T65" fmla="*/ 0 h 282"/>
                  <a:gd name="T66" fmla="*/ 2147483647 w 216"/>
                  <a:gd name="T67" fmla="*/ 2147483647 h 282"/>
                  <a:gd name="T68" fmla="*/ 2147483647 w 216"/>
                  <a:gd name="T69" fmla="*/ 2147483647 h 282"/>
                  <a:gd name="T70" fmla="*/ 2147483647 w 216"/>
                  <a:gd name="T71" fmla="*/ 2147483647 h 282"/>
                  <a:gd name="T72" fmla="*/ 2147483647 w 216"/>
                  <a:gd name="T73" fmla="*/ 2147483647 h 282"/>
                  <a:gd name="T74" fmla="*/ 2147483647 w 216"/>
                  <a:gd name="T75" fmla="*/ 2147483647 h 282"/>
                  <a:gd name="T76" fmla="*/ 2147483647 w 216"/>
                  <a:gd name="T77" fmla="*/ 2147483647 h 282"/>
                  <a:gd name="T78" fmla="*/ 2147483647 w 216"/>
                  <a:gd name="T79" fmla="*/ 2147483647 h 282"/>
                  <a:gd name="T80" fmla="*/ 2147483647 w 216"/>
                  <a:gd name="T81" fmla="*/ 2147483647 h 282"/>
                  <a:gd name="T82" fmla="*/ 2147483647 w 216"/>
                  <a:gd name="T83" fmla="*/ 2147483647 h 282"/>
                  <a:gd name="T84" fmla="*/ 2147483647 w 216"/>
                  <a:gd name="T85" fmla="*/ 2147483647 h 282"/>
                  <a:gd name="T86" fmla="*/ 2147483647 w 216"/>
                  <a:gd name="T87" fmla="*/ 2147483647 h 282"/>
                  <a:gd name="T88" fmla="*/ 2147483647 w 216"/>
                  <a:gd name="T89" fmla="*/ 2147483647 h 282"/>
                  <a:gd name="T90" fmla="*/ 2147483647 w 216"/>
                  <a:gd name="T91" fmla="*/ 2147483647 h 282"/>
                  <a:gd name="T92" fmla="*/ 2147483647 w 216"/>
                  <a:gd name="T93" fmla="*/ 2147483647 h 282"/>
                  <a:gd name="T94" fmla="*/ 2147483647 w 216"/>
                  <a:gd name="T95" fmla="*/ 2147483647 h 282"/>
                  <a:gd name="T96" fmla="*/ 2147483647 w 216"/>
                  <a:gd name="T97" fmla="*/ 2147483647 h 282"/>
                  <a:gd name="T98" fmla="*/ 2147483647 w 216"/>
                  <a:gd name="T99" fmla="*/ 2147483647 h 282"/>
                  <a:gd name="T100" fmla="*/ 2147483647 w 216"/>
                  <a:gd name="T101" fmla="*/ 2147483647 h 282"/>
                  <a:gd name="T102" fmla="*/ 2147483647 w 216"/>
                  <a:gd name="T103" fmla="*/ 2147483647 h 282"/>
                  <a:gd name="T104" fmla="*/ 2147483647 w 216"/>
                  <a:gd name="T105" fmla="*/ 2147483647 h 282"/>
                  <a:gd name="T106" fmla="*/ 2147483647 w 216"/>
                  <a:gd name="T107" fmla="*/ 2147483647 h 282"/>
                  <a:gd name="T108" fmla="*/ 2147483647 w 216"/>
                  <a:gd name="T109" fmla="*/ 2147483647 h 282"/>
                  <a:gd name="T110" fmla="*/ 2147483647 w 216"/>
                  <a:gd name="T111" fmla="*/ 2147483647 h 282"/>
                  <a:gd name="T112" fmla="*/ 2147483647 w 216"/>
                  <a:gd name="T113" fmla="*/ 2147483647 h 282"/>
                  <a:gd name="T114" fmla="*/ 2147483647 w 216"/>
                  <a:gd name="T115" fmla="*/ 2147483647 h 282"/>
                  <a:gd name="T116" fmla="*/ 0 w 216"/>
                  <a:gd name="T117" fmla="*/ 2147483647 h 282"/>
                  <a:gd name="T118" fmla="*/ 0 w 216"/>
                  <a:gd name="T119" fmla="*/ 2147483647 h 28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16"/>
                  <a:gd name="T181" fmla="*/ 0 h 282"/>
                  <a:gd name="T182" fmla="*/ 216 w 216"/>
                  <a:gd name="T183" fmla="*/ 282 h 28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16" h="282">
                    <a:moveTo>
                      <a:pt x="0" y="194"/>
                    </a:moveTo>
                    <a:lnTo>
                      <a:pt x="0" y="194"/>
                    </a:lnTo>
                    <a:lnTo>
                      <a:pt x="0" y="188"/>
                    </a:lnTo>
                    <a:lnTo>
                      <a:pt x="4" y="182"/>
                    </a:lnTo>
                    <a:lnTo>
                      <a:pt x="8" y="176"/>
                    </a:lnTo>
                    <a:lnTo>
                      <a:pt x="14" y="170"/>
                    </a:lnTo>
                    <a:lnTo>
                      <a:pt x="24" y="166"/>
                    </a:lnTo>
                    <a:lnTo>
                      <a:pt x="30" y="164"/>
                    </a:lnTo>
                    <a:lnTo>
                      <a:pt x="36" y="168"/>
                    </a:lnTo>
                    <a:lnTo>
                      <a:pt x="38" y="174"/>
                    </a:lnTo>
                    <a:lnTo>
                      <a:pt x="48" y="202"/>
                    </a:lnTo>
                    <a:lnTo>
                      <a:pt x="52" y="206"/>
                    </a:lnTo>
                    <a:lnTo>
                      <a:pt x="54" y="208"/>
                    </a:lnTo>
                    <a:lnTo>
                      <a:pt x="56" y="208"/>
                    </a:lnTo>
                    <a:lnTo>
                      <a:pt x="58" y="204"/>
                    </a:lnTo>
                    <a:lnTo>
                      <a:pt x="80" y="162"/>
                    </a:lnTo>
                    <a:lnTo>
                      <a:pt x="100" y="124"/>
                    </a:lnTo>
                    <a:lnTo>
                      <a:pt x="118" y="92"/>
                    </a:lnTo>
                    <a:lnTo>
                      <a:pt x="136" y="64"/>
                    </a:lnTo>
                    <a:lnTo>
                      <a:pt x="156" y="34"/>
                    </a:lnTo>
                    <a:lnTo>
                      <a:pt x="168" y="20"/>
                    </a:lnTo>
                    <a:lnTo>
                      <a:pt x="178" y="12"/>
                    </a:lnTo>
                    <a:lnTo>
                      <a:pt x="190" y="6"/>
                    </a:lnTo>
                    <a:lnTo>
                      <a:pt x="202" y="2"/>
                    </a:lnTo>
                    <a:lnTo>
                      <a:pt x="216" y="0"/>
                    </a:lnTo>
                    <a:lnTo>
                      <a:pt x="216" y="8"/>
                    </a:lnTo>
                    <a:lnTo>
                      <a:pt x="204" y="24"/>
                    </a:lnTo>
                    <a:lnTo>
                      <a:pt x="188" y="50"/>
                    </a:lnTo>
                    <a:lnTo>
                      <a:pt x="142" y="122"/>
                    </a:lnTo>
                    <a:lnTo>
                      <a:pt x="98" y="202"/>
                    </a:lnTo>
                    <a:lnTo>
                      <a:pt x="68" y="262"/>
                    </a:lnTo>
                    <a:lnTo>
                      <a:pt x="64" y="274"/>
                    </a:lnTo>
                    <a:lnTo>
                      <a:pt x="60" y="276"/>
                    </a:lnTo>
                    <a:lnTo>
                      <a:pt x="56" y="278"/>
                    </a:lnTo>
                    <a:lnTo>
                      <a:pt x="50" y="282"/>
                    </a:lnTo>
                    <a:lnTo>
                      <a:pt x="40" y="282"/>
                    </a:lnTo>
                    <a:lnTo>
                      <a:pt x="32" y="282"/>
                    </a:lnTo>
                    <a:lnTo>
                      <a:pt x="28" y="278"/>
                    </a:lnTo>
                    <a:lnTo>
                      <a:pt x="24" y="274"/>
                    </a:lnTo>
                    <a:lnTo>
                      <a:pt x="20" y="266"/>
                    </a:lnTo>
                    <a:lnTo>
                      <a:pt x="8" y="234"/>
                    </a:lnTo>
                    <a:lnTo>
                      <a:pt x="2" y="206"/>
                    </a:lnTo>
                    <a:lnTo>
                      <a:pt x="0" y="194"/>
                    </a:lnTo>
                    <a:close/>
                  </a:path>
                </a:pathLst>
              </a:custGeom>
              <a:solidFill>
                <a:srgbClr val="17171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tr-TR"/>
              </a:p>
            </p:txBody>
          </p:sp>
          <p:sp>
            <p:nvSpPr>
              <p:cNvPr id="19" name="Ellipse 45"/>
              <p:cNvSpPr/>
              <p:nvPr/>
            </p:nvSpPr>
            <p:spPr bwMode="auto">
              <a:xfrm>
                <a:off x="7373937" y="1809748"/>
                <a:ext cx="1085851" cy="809626"/>
              </a:xfrm>
              <a:prstGeom prst="ellipse">
                <a:avLst/>
              </a:prstGeom>
              <a:gradFill flip="none" rotWithShape="1">
                <a:gsLst>
                  <a:gs pos="0">
                    <a:srgbClr val="FFFFFF">
                      <a:lumMod val="40000"/>
                      <a:lumOff val="60000"/>
                      <a:alpha val="0"/>
                    </a:srgbClr>
                  </a:gs>
                  <a:gs pos="100000">
                    <a:srgbClr val="FFFCF9">
                      <a:alpha val="77000"/>
                    </a:srgbClr>
                  </a:gs>
                </a:gsLst>
                <a:lin ang="16200000" scaled="0"/>
                <a:tileRect/>
              </a:gradFill>
              <a:ln w="9525" cap="flat" cmpd="sng" algn="ctr">
                <a:noFill/>
                <a:prstDash val="solid"/>
              </a:ln>
              <a:effectLst/>
            </p:spPr>
            <p:txBody>
              <a:bodyPr anchor="ctr"/>
              <a:lstStyle/>
              <a:p>
                <a:pPr algn="ctr" fontAlgn="auto">
                  <a:spcBef>
                    <a:spcPts val="0"/>
                  </a:spcBef>
                  <a:spcAft>
                    <a:spcPts val="0"/>
                  </a:spcAft>
                  <a:defRPr/>
                </a:pPr>
                <a:endParaRPr lang="da-DK" kern="0" dirty="0">
                  <a:solidFill>
                    <a:sysClr val="window" lastClr="FFFFFF"/>
                  </a:solidFill>
                  <a:latin typeface="Calibri"/>
                  <a:ea typeface="ＭＳ Ｐゴシック" pitchFamily="-97" charset="-128"/>
                  <a:cs typeface="+mn-cs"/>
                </a:endParaRPr>
              </a:p>
            </p:txBody>
          </p:sp>
        </p:grpSp>
        <p:sp>
          <p:nvSpPr>
            <p:cNvPr id="16" name="Ellipse 398"/>
            <p:cNvSpPr/>
            <p:nvPr/>
          </p:nvSpPr>
          <p:spPr bwMode="auto">
            <a:xfrm>
              <a:off x="7075487" y="3229112"/>
              <a:ext cx="1966913" cy="257038"/>
            </a:xfrm>
            <a:prstGeom prst="ellipse">
              <a:avLst/>
            </a:prstGeom>
            <a:gradFill flip="none" rotWithShape="1">
              <a:gsLst>
                <a:gs pos="24000">
                  <a:sysClr val="windowText" lastClr="000000">
                    <a:alpha val="22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fontAlgn="auto">
                <a:spcBef>
                  <a:spcPts val="0"/>
                </a:spcBef>
                <a:spcAft>
                  <a:spcPts val="0"/>
                </a:spcAft>
                <a:defRPr/>
              </a:pPr>
              <a:endParaRPr lang="da-DK" kern="0" dirty="0" err="1">
                <a:solidFill>
                  <a:sysClr val="window" lastClr="FFFFFF"/>
                </a:solidFill>
                <a:latin typeface="Calibri"/>
                <a:ea typeface="ＭＳ Ｐゴシック" pitchFamily="-97" charset="-128"/>
                <a:cs typeface="+mn-cs"/>
              </a:endParaRPr>
            </a:p>
          </p:txBody>
        </p:sp>
      </p:grpSp>
      <p:grpSp>
        <p:nvGrpSpPr>
          <p:cNvPr id="35" name="Gruppe 405"/>
          <p:cNvGrpSpPr>
            <a:grpSpLocks/>
          </p:cNvGrpSpPr>
          <p:nvPr/>
        </p:nvGrpSpPr>
        <p:grpSpPr bwMode="auto">
          <a:xfrm>
            <a:off x="1259632" y="3526240"/>
            <a:ext cx="682634" cy="586586"/>
            <a:chOff x="7075487" y="1643061"/>
            <a:chExt cx="1966913" cy="1843089"/>
          </a:xfrm>
        </p:grpSpPr>
        <p:grpSp>
          <p:nvGrpSpPr>
            <p:cNvPr id="36" name="Gruppe 382"/>
            <p:cNvGrpSpPr>
              <a:grpSpLocks/>
            </p:cNvGrpSpPr>
            <p:nvPr/>
          </p:nvGrpSpPr>
          <p:grpSpPr bwMode="auto">
            <a:xfrm>
              <a:off x="7229474" y="1643061"/>
              <a:ext cx="1519238" cy="1521620"/>
              <a:chOff x="7140574" y="1757361"/>
              <a:chExt cx="1519238" cy="1521620"/>
            </a:xfrm>
          </p:grpSpPr>
          <p:sp>
            <p:nvSpPr>
              <p:cNvPr id="38" name="Ellipse 208"/>
              <p:cNvSpPr/>
              <p:nvPr/>
            </p:nvSpPr>
            <p:spPr bwMode="auto">
              <a:xfrm>
                <a:off x="7140574" y="1757361"/>
                <a:ext cx="1519238" cy="1521620"/>
              </a:xfrm>
              <a:prstGeom prst="ellipse">
                <a:avLst/>
              </a:prstGeom>
              <a:gradFill flip="none" rotWithShape="1">
                <a:gsLst>
                  <a:gs pos="0">
                    <a:schemeClr val="accent1">
                      <a:lumMod val="90000"/>
                    </a:schemeClr>
                  </a:gs>
                  <a:gs pos="50000">
                    <a:schemeClr val="accent1"/>
                  </a:gs>
                  <a:gs pos="100000">
                    <a:schemeClr val="accent1">
                      <a:lumMod val="25000"/>
                    </a:schemeClr>
                  </a:gs>
                </a:gsLst>
                <a:path path="circle">
                  <a:fillToRect l="50000" t="50000" r="50000" b="50000"/>
                </a:path>
                <a:tileRect/>
              </a:gradFill>
              <a:ln w="9525" cap="flat" cmpd="sng" algn="ctr">
                <a:noFill/>
                <a:prstDash val="solid"/>
              </a:ln>
              <a:effectLst/>
            </p:spPr>
            <p:txBody>
              <a:bodyPr anchor="ctr"/>
              <a:lstStyle/>
              <a:p>
                <a:pPr algn="ctr" fontAlgn="auto">
                  <a:spcBef>
                    <a:spcPts val="0"/>
                  </a:spcBef>
                  <a:spcAft>
                    <a:spcPts val="0"/>
                  </a:spcAft>
                  <a:defRPr/>
                </a:pPr>
                <a:endParaRPr lang="da-DK" kern="0" dirty="0">
                  <a:solidFill>
                    <a:sysClr val="window" lastClr="FFFFFF"/>
                  </a:solidFill>
                  <a:latin typeface="Calibri"/>
                  <a:ea typeface="ＭＳ Ｐゴシック" pitchFamily="-97" charset="-128"/>
                  <a:cs typeface="+mn-cs"/>
                </a:endParaRPr>
              </a:p>
            </p:txBody>
          </p:sp>
          <p:sp>
            <p:nvSpPr>
              <p:cNvPr id="39" name="Freeform 150"/>
              <p:cNvSpPr>
                <a:spLocks/>
              </p:cNvSpPr>
              <p:nvPr/>
            </p:nvSpPr>
            <p:spPr bwMode="auto">
              <a:xfrm>
                <a:off x="7634306" y="2149282"/>
                <a:ext cx="570900" cy="745340"/>
              </a:xfrm>
              <a:custGeom>
                <a:avLst/>
                <a:gdLst>
                  <a:gd name="T0" fmla="*/ 0 w 216"/>
                  <a:gd name="T1" fmla="*/ 2147483647 h 282"/>
                  <a:gd name="T2" fmla="*/ 0 w 216"/>
                  <a:gd name="T3" fmla="*/ 2147483647 h 282"/>
                  <a:gd name="T4" fmla="*/ 0 w 216"/>
                  <a:gd name="T5" fmla="*/ 2147483647 h 282"/>
                  <a:gd name="T6" fmla="*/ 2147483647 w 216"/>
                  <a:gd name="T7" fmla="*/ 2147483647 h 282"/>
                  <a:gd name="T8" fmla="*/ 2147483647 w 216"/>
                  <a:gd name="T9" fmla="*/ 2147483647 h 282"/>
                  <a:gd name="T10" fmla="*/ 2147483647 w 216"/>
                  <a:gd name="T11" fmla="*/ 2147483647 h 282"/>
                  <a:gd name="T12" fmla="*/ 2147483647 w 216"/>
                  <a:gd name="T13" fmla="*/ 2147483647 h 282"/>
                  <a:gd name="T14" fmla="*/ 2147483647 w 216"/>
                  <a:gd name="T15" fmla="*/ 2147483647 h 282"/>
                  <a:gd name="T16" fmla="*/ 2147483647 w 216"/>
                  <a:gd name="T17" fmla="*/ 2147483647 h 282"/>
                  <a:gd name="T18" fmla="*/ 2147483647 w 216"/>
                  <a:gd name="T19" fmla="*/ 2147483647 h 282"/>
                  <a:gd name="T20" fmla="*/ 2147483647 w 216"/>
                  <a:gd name="T21" fmla="*/ 2147483647 h 282"/>
                  <a:gd name="T22" fmla="*/ 2147483647 w 216"/>
                  <a:gd name="T23" fmla="*/ 2147483647 h 282"/>
                  <a:gd name="T24" fmla="*/ 2147483647 w 216"/>
                  <a:gd name="T25" fmla="*/ 2147483647 h 282"/>
                  <a:gd name="T26" fmla="*/ 2147483647 w 216"/>
                  <a:gd name="T27" fmla="*/ 2147483647 h 282"/>
                  <a:gd name="T28" fmla="*/ 2147483647 w 216"/>
                  <a:gd name="T29" fmla="*/ 2147483647 h 282"/>
                  <a:gd name="T30" fmla="*/ 2147483647 w 216"/>
                  <a:gd name="T31" fmla="*/ 2147483647 h 282"/>
                  <a:gd name="T32" fmla="*/ 2147483647 w 216"/>
                  <a:gd name="T33" fmla="*/ 2147483647 h 282"/>
                  <a:gd name="T34" fmla="*/ 2147483647 w 216"/>
                  <a:gd name="T35" fmla="*/ 2147483647 h 282"/>
                  <a:gd name="T36" fmla="*/ 2147483647 w 216"/>
                  <a:gd name="T37" fmla="*/ 2147483647 h 282"/>
                  <a:gd name="T38" fmla="*/ 2147483647 w 216"/>
                  <a:gd name="T39" fmla="*/ 2147483647 h 282"/>
                  <a:gd name="T40" fmla="*/ 2147483647 w 216"/>
                  <a:gd name="T41" fmla="*/ 2147483647 h 282"/>
                  <a:gd name="T42" fmla="*/ 2147483647 w 216"/>
                  <a:gd name="T43" fmla="*/ 2147483647 h 282"/>
                  <a:gd name="T44" fmla="*/ 2147483647 w 216"/>
                  <a:gd name="T45" fmla="*/ 2147483647 h 282"/>
                  <a:gd name="T46" fmla="*/ 2147483647 w 216"/>
                  <a:gd name="T47" fmla="*/ 2147483647 h 282"/>
                  <a:gd name="T48" fmla="*/ 2147483647 w 216"/>
                  <a:gd name="T49" fmla="*/ 2147483647 h 282"/>
                  <a:gd name="T50" fmla="*/ 2147483647 w 216"/>
                  <a:gd name="T51" fmla="*/ 2147483647 h 282"/>
                  <a:gd name="T52" fmla="*/ 2147483647 w 216"/>
                  <a:gd name="T53" fmla="*/ 2147483647 h 282"/>
                  <a:gd name="T54" fmla="*/ 2147483647 w 216"/>
                  <a:gd name="T55" fmla="*/ 2147483647 h 282"/>
                  <a:gd name="T56" fmla="*/ 2147483647 w 216"/>
                  <a:gd name="T57" fmla="*/ 2147483647 h 282"/>
                  <a:gd name="T58" fmla="*/ 2147483647 w 216"/>
                  <a:gd name="T59" fmla="*/ 2147483647 h 282"/>
                  <a:gd name="T60" fmla="*/ 2147483647 w 216"/>
                  <a:gd name="T61" fmla="*/ 2147483647 h 282"/>
                  <a:gd name="T62" fmla="*/ 2147483647 w 216"/>
                  <a:gd name="T63" fmla="*/ 2147483647 h 282"/>
                  <a:gd name="T64" fmla="*/ 2147483647 w 216"/>
                  <a:gd name="T65" fmla="*/ 0 h 282"/>
                  <a:gd name="T66" fmla="*/ 2147483647 w 216"/>
                  <a:gd name="T67" fmla="*/ 2147483647 h 282"/>
                  <a:gd name="T68" fmla="*/ 2147483647 w 216"/>
                  <a:gd name="T69" fmla="*/ 2147483647 h 282"/>
                  <a:gd name="T70" fmla="*/ 2147483647 w 216"/>
                  <a:gd name="T71" fmla="*/ 2147483647 h 282"/>
                  <a:gd name="T72" fmla="*/ 2147483647 w 216"/>
                  <a:gd name="T73" fmla="*/ 2147483647 h 282"/>
                  <a:gd name="T74" fmla="*/ 2147483647 w 216"/>
                  <a:gd name="T75" fmla="*/ 2147483647 h 282"/>
                  <a:gd name="T76" fmla="*/ 2147483647 w 216"/>
                  <a:gd name="T77" fmla="*/ 2147483647 h 282"/>
                  <a:gd name="T78" fmla="*/ 2147483647 w 216"/>
                  <a:gd name="T79" fmla="*/ 2147483647 h 282"/>
                  <a:gd name="T80" fmla="*/ 2147483647 w 216"/>
                  <a:gd name="T81" fmla="*/ 2147483647 h 282"/>
                  <a:gd name="T82" fmla="*/ 2147483647 w 216"/>
                  <a:gd name="T83" fmla="*/ 2147483647 h 282"/>
                  <a:gd name="T84" fmla="*/ 2147483647 w 216"/>
                  <a:gd name="T85" fmla="*/ 2147483647 h 282"/>
                  <a:gd name="T86" fmla="*/ 2147483647 w 216"/>
                  <a:gd name="T87" fmla="*/ 2147483647 h 282"/>
                  <a:gd name="T88" fmla="*/ 2147483647 w 216"/>
                  <a:gd name="T89" fmla="*/ 2147483647 h 282"/>
                  <a:gd name="T90" fmla="*/ 2147483647 w 216"/>
                  <a:gd name="T91" fmla="*/ 2147483647 h 282"/>
                  <a:gd name="T92" fmla="*/ 2147483647 w 216"/>
                  <a:gd name="T93" fmla="*/ 2147483647 h 282"/>
                  <a:gd name="T94" fmla="*/ 2147483647 w 216"/>
                  <a:gd name="T95" fmla="*/ 2147483647 h 282"/>
                  <a:gd name="T96" fmla="*/ 2147483647 w 216"/>
                  <a:gd name="T97" fmla="*/ 2147483647 h 282"/>
                  <a:gd name="T98" fmla="*/ 2147483647 w 216"/>
                  <a:gd name="T99" fmla="*/ 2147483647 h 282"/>
                  <a:gd name="T100" fmla="*/ 2147483647 w 216"/>
                  <a:gd name="T101" fmla="*/ 2147483647 h 282"/>
                  <a:gd name="T102" fmla="*/ 2147483647 w 216"/>
                  <a:gd name="T103" fmla="*/ 2147483647 h 282"/>
                  <a:gd name="T104" fmla="*/ 2147483647 w 216"/>
                  <a:gd name="T105" fmla="*/ 2147483647 h 282"/>
                  <a:gd name="T106" fmla="*/ 2147483647 w 216"/>
                  <a:gd name="T107" fmla="*/ 2147483647 h 282"/>
                  <a:gd name="T108" fmla="*/ 2147483647 w 216"/>
                  <a:gd name="T109" fmla="*/ 2147483647 h 282"/>
                  <a:gd name="T110" fmla="*/ 2147483647 w 216"/>
                  <a:gd name="T111" fmla="*/ 2147483647 h 282"/>
                  <a:gd name="T112" fmla="*/ 2147483647 w 216"/>
                  <a:gd name="T113" fmla="*/ 2147483647 h 282"/>
                  <a:gd name="T114" fmla="*/ 2147483647 w 216"/>
                  <a:gd name="T115" fmla="*/ 2147483647 h 282"/>
                  <a:gd name="T116" fmla="*/ 0 w 216"/>
                  <a:gd name="T117" fmla="*/ 2147483647 h 282"/>
                  <a:gd name="T118" fmla="*/ 0 w 216"/>
                  <a:gd name="T119" fmla="*/ 2147483647 h 28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16"/>
                  <a:gd name="T181" fmla="*/ 0 h 282"/>
                  <a:gd name="T182" fmla="*/ 216 w 216"/>
                  <a:gd name="T183" fmla="*/ 282 h 28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16" h="282">
                    <a:moveTo>
                      <a:pt x="0" y="194"/>
                    </a:moveTo>
                    <a:lnTo>
                      <a:pt x="0" y="194"/>
                    </a:lnTo>
                    <a:lnTo>
                      <a:pt x="0" y="188"/>
                    </a:lnTo>
                    <a:lnTo>
                      <a:pt x="4" y="182"/>
                    </a:lnTo>
                    <a:lnTo>
                      <a:pt x="8" y="176"/>
                    </a:lnTo>
                    <a:lnTo>
                      <a:pt x="14" y="170"/>
                    </a:lnTo>
                    <a:lnTo>
                      <a:pt x="24" y="166"/>
                    </a:lnTo>
                    <a:lnTo>
                      <a:pt x="30" y="164"/>
                    </a:lnTo>
                    <a:lnTo>
                      <a:pt x="36" y="168"/>
                    </a:lnTo>
                    <a:lnTo>
                      <a:pt x="38" y="174"/>
                    </a:lnTo>
                    <a:lnTo>
                      <a:pt x="48" y="202"/>
                    </a:lnTo>
                    <a:lnTo>
                      <a:pt x="52" y="206"/>
                    </a:lnTo>
                    <a:lnTo>
                      <a:pt x="54" y="208"/>
                    </a:lnTo>
                    <a:lnTo>
                      <a:pt x="56" y="208"/>
                    </a:lnTo>
                    <a:lnTo>
                      <a:pt x="58" y="204"/>
                    </a:lnTo>
                    <a:lnTo>
                      <a:pt x="80" y="162"/>
                    </a:lnTo>
                    <a:lnTo>
                      <a:pt x="100" y="124"/>
                    </a:lnTo>
                    <a:lnTo>
                      <a:pt x="118" y="92"/>
                    </a:lnTo>
                    <a:lnTo>
                      <a:pt x="136" y="64"/>
                    </a:lnTo>
                    <a:lnTo>
                      <a:pt x="156" y="34"/>
                    </a:lnTo>
                    <a:lnTo>
                      <a:pt x="168" y="20"/>
                    </a:lnTo>
                    <a:lnTo>
                      <a:pt x="178" y="12"/>
                    </a:lnTo>
                    <a:lnTo>
                      <a:pt x="190" y="6"/>
                    </a:lnTo>
                    <a:lnTo>
                      <a:pt x="202" y="2"/>
                    </a:lnTo>
                    <a:lnTo>
                      <a:pt x="216" y="0"/>
                    </a:lnTo>
                    <a:lnTo>
                      <a:pt x="216" y="8"/>
                    </a:lnTo>
                    <a:lnTo>
                      <a:pt x="204" y="24"/>
                    </a:lnTo>
                    <a:lnTo>
                      <a:pt x="188" y="50"/>
                    </a:lnTo>
                    <a:lnTo>
                      <a:pt x="142" y="122"/>
                    </a:lnTo>
                    <a:lnTo>
                      <a:pt x="98" y="202"/>
                    </a:lnTo>
                    <a:lnTo>
                      <a:pt x="68" y="262"/>
                    </a:lnTo>
                    <a:lnTo>
                      <a:pt x="64" y="274"/>
                    </a:lnTo>
                    <a:lnTo>
                      <a:pt x="60" y="276"/>
                    </a:lnTo>
                    <a:lnTo>
                      <a:pt x="56" y="278"/>
                    </a:lnTo>
                    <a:lnTo>
                      <a:pt x="50" y="282"/>
                    </a:lnTo>
                    <a:lnTo>
                      <a:pt x="40" y="282"/>
                    </a:lnTo>
                    <a:lnTo>
                      <a:pt x="32" y="282"/>
                    </a:lnTo>
                    <a:lnTo>
                      <a:pt x="28" y="278"/>
                    </a:lnTo>
                    <a:lnTo>
                      <a:pt x="24" y="274"/>
                    </a:lnTo>
                    <a:lnTo>
                      <a:pt x="20" y="266"/>
                    </a:lnTo>
                    <a:lnTo>
                      <a:pt x="8" y="234"/>
                    </a:lnTo>
                    <a:lnTo>
                      <a:pt x="2" y="206"/>
                    </a:lnTo>
                    <a:lnTo>
                      <a:pt x="0" y="194"/>
                    </a:lnTo>
                    <a:close/>
                  </a:path>
                </a:pathLst>
              </a:custGeom>
              <a:solidFill>
                <a:srgbClr val="17171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tr-TR"/>
              </a:p>
            </p:txBody>
          </p:sp>
          <p:sp>
            <p:nvSpPr>
              <p:cNvPr id="40" name="Ellipse 45"/>
              <p:cNvSpPr/>
              <p:nvPr/>
            </p:nvSpPr>
            <p:spPr bwMode="auto">
              <a:xfrm>
                <a:off x="7373937" y="1809748"/>
                <a:ext cx="1085851" cy="809626"/>
              </a:xfrm>
              <a:prstGeom prst="ellipse">
                <a:avLst/>
              </a:prstGeom>
              <a:gradFill flip="none" rotWithShape="1">
                <a:gsLst>
                  <a:gs pos="0">
                    <a:srgbClr val="FFFFFF">
                      <a:lumMod val="40000"/>
                      <a:lumOff val="60000"/>
                      <a:alpha val="0"/>
                    </a:srgbClr>
                  </a:gs>
                  <a:gs pos="100000">
                    <a:srgbClr val="FFFCF9">
                      <a:alpha val="77000"/>
                    </a:srgbClr>
                  </a:gs>
                </a:gsLst>
                <a:lin ang="16200000" scaled="0"/>
                <a:tileRect/>
              </a:gradFill>
              <a:ln w="9525" cap="flat" cmpd="sng" algn="ctr">
                <a:noFill/>
                <a:prstDash val="solid"/>
              </a:ln>
              <a:effectLst/>
            </p:spPr>
            <p:txBody>
              <a:bodyPr anchor="ctr"/>
              <a:lstStyle/>
              <a:p>
                <a:pPr algn="ctr" fontAlgn="auto">
                  <a:spcBef>
                    <a:spcPts val="0"/>
                  </a:spcBef>
                  <a:spcAft>
                    <a:spcPts val="0"/>
                  </a:spcAft>
                  <a:defRPr/>
                </a:pPr>
                <a:endParaRPr lang="da-DK" kern="0" dirty="0">
                  <a:solidFill>
                    <a:sysClr val="window" lastClr="FFFFFF"/>
                  </a:solidFill>
                  <a:latin typeface="Calibri"/>
                  <a:ea typeface="ＭＳ Ｐゴシック" pitchFamily="-97" charset="-128"/>
                  <a:cs typeface="+mn-cs"/>
                </a:endParaRPr>
              </a:p>
            </p:txBody>
          </p:sp>
        </p:grpSp>
        <p:sp>
          <p:nvSpPr>
            <p:cNvPr id="37" name="Ellipse 398"/>
            <p:cNvSpPr/>
            <p:nvPr/>
          </p:nvSpPr>
          <p:spPr bwMode="auto">
            <a:xfrm>
              <a:off x="7075487" y="3229112"/>
              <a:ext cx="1966913" cy="257038"/>
            </a:xfrm>
            <a:prstGeom prst="ellipse">
              <a:avLst/>
            </a:prstGeom>
            <a:gradFill flip="none" rotWithShape="1">
              <a:gsLst>
                <a:gs pos="24000">
                  <a:sysClr val="windowText" lastClr="000000">
                    <a:alpha val="22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fontAlgn="auto">
                <a:spcBef>
                  <a:spcPts val="0"/>
                </a:spcBef>
                <a:spcAft>
                  <a:spcPts val="0"/>
                </a:spcAft>
                <a:defRPr/>
              </a:pPr>
              <a:endParaRPr lang="da-DK" kern="0" dirty="0" err="1">
                <a:solidFill>
                  <a:sysClr val="window" lastClr="FFFFFF"/>
                </a:solidFill>
                <a:latin typeface="Calibri"/>
                <a:ea typeface="ＭＳ Ｐゴシック" pitchFamily="-97" charset="-128"/>
                <a:cs typeface="+mn-cs"/>
              </a:endParaRPr>
            </a:p>
          </p:txBody>
        </p:sp>
      </p:grpSp>
      <p:grpSp>
        <p:nvGrpSpPr>
          <p:cNvPr id="41" name="Gruppe 405"/>
          <p:cNvGrpSpPr>
            <a:grpSpLocks/>
          </p:cNvGrpSpPr>
          <p:nvPr/>
        </p:nvGrpSpPr>
        <p:grpSpPr bwMode="auto">
          <a:xfrm>
            <a:off x="1259632" y="4246320"/>
            <a:ext cx="682634" cy="586586"/>
            <a:chOff x="7075487" y="1643061"/>
            <a:chExt cx="1966913" cy="1843089"/>
          </a:xfrm>
        </p:grpSpPr>
        <p:grpSp>
          <p:nvGrpSpPr>
            <p:cNvPr id="42" name="Gruppe 382"/>
            <p:cNvGrpSpPr>
              <a:grpSpLocks/>
            </p:cNvGrpSpPr>
            <p:nvPr/>
          </p:nvGrpSpPr>
          <p:grpSpPr bwMode="auto">
            <a:xfrm>
              <a:off x="7229474" y="1643061"/>
              <a:ext cx="1519238" cy="1521620"/>
              <a:chOff x="7140574" y="1757361"/>
              <a:chExt cx="1519238" cy="1521620"/>
            </a:xfrm>
          </p:grpSpPr>
          <p:sp>
            <p:nvSpPr>
              <p:cNvPr id="44" name="Ellipse 208"/>
              <p:cNvSpPr/>
              <p:nvPr/>
            </p:nvSpPr>
            <p:spPr bwMode="auto">
              <a:xfrm>
                <a:off x="7140574" y="1757361"/>
                <a:ext cx="1519238" cy="1521620"/>
              </a:xfrm>
              <a:prstGeom prst="ellipse">
                <a:avLst/>
              </a:prstGeom>
              <a:gradFill flip="none" rotWithShape="1">
                <a:gsLst>
                  <a:gs pos="0">
                    <a:schemeClr val="accent1">
                      <a:lumMod val="90000"/>
                    </a:schemeClr>
                  </a:gs>
                  <a:gs pos="50000">
                    <a:schemeClr val="accent1"/>
                  </a:gs>
                  <a:gs pos="100000">
                    <a:schemeClr val="accent1">
                      <a:lumMod val="25000"/>
                    </a:schemeClr>
                  </a:gs>
                </a:gsLst>
                <a:path path="circle">
                  <a:fillToRect l="50000" t="50000" r="50000" b="50000"/>
                </a:path>
                <a:tileRect/>
              </a:gradFill>
              <a:ln w="9525" cap="flat" cmpd="sng" algn="ctr">
                <a:noFill/>
                <a:prstDash val="solid"/>
              </a:ln>
              <a:effectLst/>
            </p:spPr>
            <p:txBody>
              <a:bodyPr anchor="ctr"/>
              <a:lstStyle/>
              <a:p>
                <a:pPr algn="ctr" fontAlgn="auto">
                  <a:spcBef>
                    <a:spcPts val="0"/>
                  </a:spcBef>
                  <a:spcAft>
                    <a:spcPts val="0"/>
                  </a:spcAft>
                  <a:defRPr/>
                </a:pPr>
                <a:endParaRPr lang="da-DK" kern="0" dirty="0">
                  <a:solidFill>
                    <a:sysClr val="window" lastClr="FFFFFF"/>
                  </a:solidFill>
                  <a:latin typeface="Calibri"/>
                  <a:ea typeface="ＭＳ Ｐゴシック" pitchFamily="-97" charset="-128"/>
                  <a:cs typeface="+mn-cs"/>
                </a:endParaRPr>
              </a:p>
            </p:txBody>
          </p:sp>
          <p:sp>
            <p:nvSpPr>
              <p:cNvPr id="45" name="Freeform 150"/>
              <p:cNvSpPr>
                <a:spLocks/>
              </p:cNvSpPr>
              <p:nvPr/>
            </p:nvSpPr>
            <p:spPr bwMode="auto">
              <a:xfrm>
                <a:off x="7634306" y="2149282"/>
                <a:ext cx="570900" cy="745340"/>
              </a:xfrm>
              <a:custGeom>
                <a:avLst/>
                <a:gdLst>
                  <a:gd name="T0" fmla="*/ 0 w 216"/>
                  <a:gd name="T1" fmla="*/ 2147483647 h 282"/>
                  <a:gd name="T2" fmla="*/ 0 w 216"/>
                  <a:gd name="T3" fmla="*/ 2147483647 h 282"/>
                  <a:gd name="T4" fmla="*/ 0 w 216"/>
                  <a:gd name="T5" fmla="*/ 2147483647 h 282"/>
                  <a:gd name="T6" fmla="*/ 2147483647 w 216"/>
                  <a:gd name="T7" fmla="*/ 2147483647 h 282"/>
                  <a:gd name="T8" fmla="*/ 2147483647 w 216"/>
                  <a:gd name="T9" fmla="*/ 2147483647 h 282"/>
                  <a:gd name="T10" fmla="*/ 2147483647 w 216"/>
                  <a:gd name="T11" fmla="*/ 2147483647 h 282"/>
                  <a:gd name="T12" fmla="*/ 2147483647 w 216"/>
                  <a:gd name="T13" fmla="*/ 2147483647 h 282"/>
                  <a:gd name="T14" fmla="*/ 2147483647 w 216"/>
                  <a:gd name="T15" fmla="*/ 2147483647 h 282"/>
                  <a:gd name="T16" fmla="*/ 2147483647 w 216"/>
                  <a:gd name="T17" fmla="*/ 2147483647 h 282"/>
                  <a:gd name="T18" fmla="*/ 2147483647 w 216"/>
                  <a:gd name="T19" fmla="*/ 2147483647 h 282"/>
                  <a:gd name="T20" fmla="*/ 2147483647 w 216"/>
                  <a:gd name="T21" fmla="*/ 2147483647 h 282"/>
                  <a:gd name="T22" fmla="*/ 2147483647 w 216"/>
                  <a:gd name="T23" fmla="*/ 2147483647 h 282"/>
                  <a:gd name="T24" fmla="*/ 2147483647 w 216"/>
                  <a:gd name="T25" fmla="*/ 2147483647 h 282"/>
                  <a:gd name="T26" fmla="*/ 2147483647 w 216"/>
                  <a:gd name="T27" fmla="*/ 2147483647 h 282"/>
                  <a:gd name="T28" fmla="*/ 2147483647 w 216"/>
                  <a:gd name="T29" fmla="*/ 2147483647 h 282"/>
                  <a:gd name="T30" fmla="*/ 2147483647 w 216"/>
                  <a:gd name="T31" fmla="*/ 2147483647 h 282"/>
                  <a:gd name="T32" fmla="*/ 2147483647 w 216"/>
                  <a:gd name="T33" fmla="*/ 2147483647 h 282"/>
                  <a:gd name="T34" fmla="*/ 2147483647 w 216"/>
                  <a:gd name="T35" fmla="*/ 2147483647 h 282"/>
                  <a:gd name="T36" fmla="*/ 2147483647 w 216"/>
                  <a:gd name="T37" fmla="*/ 2147483647 h 282"/>
                  <a:gd name="T38" fmla="*/ 2147483647 w 216"/>
                  <a:gd name="T39" fmla="*/ 2147483647 h 282"/>
                  <a:gd name="T40" fmla="*/ 2147483647 w 216"/>
                  <a:gd name="T41" fmla="*/ 2147483647 h 282"/>
                  <a:gd name="T42" fmla="*/ 2147483647 w 216"/>
                  <a:gd name="T43" fmla="*/ 2147483647 h 282"/>
                  <a:gd name="T44" fmla="*/ 2147483647 w 216"/>
                  <a:gd name="T45" fmla="*/ 2147483647 h 282"/>
                  <a:gd name="T46" fmla="*/ 2147483647 w 216"/>
                  <a:gd name="T47" fmla="*/ 2147483647 h 282"/>
                  <a:gd name="T48" fmla="*/ 2147483647 w 216"/>
                  <a:gd name="T49" fmla="*/ 2147483647 h 282"/>
                  <a:gd name="T50" fmla="*/ 2147483647 w 216"/>
                  <a:gd name="T51" fmla="*/ 2147483647 h 282"/>
                  <a:gd name="T52" fmla="*/ 2147483647 w 216"/>
                  <a:gd name="T53" fmla="*/ 2147483647 h 282"/>
                  <a:gd name="T54" fmla="*/ 2147483647 w 216"/>
                  <a:gd name="T55" fmla="*/ 2147483647 h 282"/>
                  <a:gd name="T56" fmla="*/ 2147483647 w 216"/>
                  <a:gd name="T57" fmla="*/ 2147483647 h 282"/>
                  <a:gd name="T58" fmla="*/ 2147483647 w 216"/>
                  <a:gd name="T59" fmla="*/ 2147483647 h 282"/>
                  <a:gd name="T60" fmla="*/ 2147483647 w 216"/>
                  <a:gd name="T61" fmla="*/ 2147483647 h 282"/>
                  <a:gd name="T62" fmla="*/ 2147483647 w 216"/>
                  <a:gd name="T63" fmla="*/ 2147483647 h 282"/>
                  <a:gd name="T64" fmla="*/ 2147483647 w 216"/>
                  <a:gd name="T65" fmla="*/ 0 h 282"/>
                  <a:gd name="T66" fmla="*/ 2147483647 w 216"/>
                  <a:gd name="T67" fmla="*/ 2147483647 h 282"/>
                  <a:gd name="T68" fmla="*/ 2147483647 w 216"/>
                  <a:gd name="T69" fmla="*/ 2147483647 h 282"/>
                  <a:gd name="T70" fmla="*/ 2147483647 w 216"/>
                  <a:gd name="T71" fmla="*/ 2147483647 h 282"/>
                  <a:gd name="T72" fmla="*/ 2147483647 w 216"/>
                  <a:gd name="T73" fmla="*/ 2147483647 h 282"/>
                  <a:gd name="T74" fmla="*/ 2147483647 w 216"/>
                  <a:gd name="T75" fmla="*/ 2147483647 h 282"/>
                  <a:gd name="T76" fmla="*/ 2147483647 w 216"/>
                  <a:gd name="T77" fmla="*/ 2147483647 h 282"/>
                  <a:gd name="T78" fmla="*/ 2147483647 w 216"/>
                  <a:gd name="T79" fmla="*/ 2147483647 h 282"/>
                  <a:gd name="T80" fmla="*/ 2147483647 w 216"/>
                  <a:gd name="T81" fmla="*/ 2147483647 h 282"/>
                  <a:gd name="T82" fmla="*/ 2147483647 w 216"/>
                  <a:gd name="T83" fmla="*/ 2147483647 h 282"/>
                  <a:gd name="T84" fmla="*/ 2147483647 w 216"/>
                  <a:gd name="T85" fmla="*/ 2147483647 h 282"/>
                  <a:gd name="T86" fmla="*/ 2147483647 w 216"/>
                  <a:gd name="T87" fmla="*/ 2147483647 h 282"/>
                  <a:gd name="T88" fmla="*/ 2147483647 w 216"/>
                  <a:gd name="T89" fmla="*/ 2147483647 h 282"/>
                  <a:gd name="T90" fmla="*/ 2147483647 w 216"/>
                  <a:gd name="T91" fmla="*/ 2147483647 h 282"/>
                  <a:gd name="T92" fmla="*/ 2147483647 w 216"/>
                  <a:gd name="T93" fmla="*/ 2147483647 h 282"/>
                  <a:gd name="T94" fmla="*/ 2147483647 w 216"/>
                  <a:gd name="T95" fmla="*/ 2147483647 h 282"/>
                  <a:gd name="T96" fmla="*/ 2147483647 w 216"/>
                  <a:gd name="T97" fmla="*/ 2147483647 h 282"/>
                  <a:gd name="T98" fmla="*/ 2147483647 w 216"/>
                  <a:gd name="T99" fmla="*/ 2147483647 h 282"/>
                  <a:gd name="T100" fmla="*/ 2147483647 w 216"/>
                  <a:gd name="T101" fmla="*/ 2147483647 h 282"/>
                  <a:gd name="T102" fmla="*/ 2147483647 w 216"/>
                  <a:gd name="T103" fmla="*/ 2147483647 h 282"/>
                  <a:gd name="T104" fmla="*/ 2147483647 w 216"/>
                  <a:gd name="T105" fmla="*/ 2147483647 h 282"/>
                  <a:gd name="T106" fmla="*/ 2147483647 w 216"/>
                  <a:gd name="T107" fmla="*/ 2147483647 h 282"/>
                  <a:gd name="T108" fmla="*/ 2147483647 w 216"/>
                  <a:gd name="T109" fmla="*/ 2147483647 h 282"/>
                  <a:gd name="T110" fmla="*/ 2147483647 w 216"/>
                  <a:gd name="T111" fmla="*/ 2147483647 h 282"/>
                  <a:gd name="T112" fmla="*/ 2147483647 w 216"/>
                  <a:gd name="T113" fmla="*/ 2147483647 h 282"/>
                  <a:gd name="T114" fmla="*/ 2147483647 w 216"/>
                  <a:gd name="T115" fmla="*/ 2147483647 h 282"/>
                  <a:gd name="T116" fmla="*/ 0 w 216"/>
                  <a:gd name="T117" fmla="*/ 2147483647 h 282"/>
                  <a:gd name="T118" fmla="*/ 0 w 216"/>
                  <a:gd name="T119" fmla="*/ 2147483647 h 28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16"/>
                  <a:gd name="T181" fmla="*/ 0 h 282"/>
                  <a:gd name="T182" fmla="*/ 216 w 216"/>
                  <a:gd name="T183" fmla="*/ 282 h 28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16" h="282">
                    <a:moveTo>
                      <a:pt x="0" y="194"/>
                    </a:moveTo>
                    <a:lnTo>
                      <a:pt x="0" y="194"/>
                    </a:lnTo>
                    <a:lnTo>
                      <a:pt x="0" y="188"/>
                    </a:lnTo>
                    <a:lnTo>
                      <a:pt x="4" y="182"/>
                    </a:lnTo>
                    <a:lnTo>
                      <a:pt x="8" y="176"/>
                    </a:lnTo>
                    <a:lnTo>
                      <a:pt x="14" y="170"/>
                    </a:lnTo>
                    <a:lnTo>
                      <a:pt x="24" y="166"/>
                    </a:lnTo>
                    <a:lnTo>
                      <a:pt x="30" y="164"/>
                    </a:lnTo>
                    <a:lnTo>
                      <a:pt x="36" y="168"/>
                    </a:lnTo>
                    <a:lnTo>
                      <a:pt x="38" y="174"/>
                    </a:lnTo>
                    <a:lnTo>
                      <a:pt x="48" y="202"/>
                    </a:lnTo>
                    <a:lnTo>
                      <a:pt x="52" y="206"/>
                    </a:lnTo>
                    <a:lnTo>
                      <a:pt x="54" y="208"/>
                    </a:lnTo>
                    <a:lnTo>
                      <a:pt x="56" y="208"/>
                    </a:lnTo>
                    <a:lnTo>
                      <a:pt x="58" y="204"/>
                    </a:lnTo>
                    <a:lnTo>
                      <a:pt x="80" y="162"/>
                    </a:lnTo>
                    <a:lnTo>
                      <a:pt x="100" y="124"/>
                    </a:lnTo>
                    <a:lnTo>
                      <a:pt x="118" y="92"/>
                    </a:lnTo>
                    <a:lnTo>
                      <a:pt x="136" y="64"/>
                    </a:lnTo>
                    <a:lnTo>
                      <a:pt x="156" y="34"/>
                    </a:lnTo>
                    <a:lnTo>
                      <a:pt x="168" y="20"/>
                    </a:lnTo>
                    <a:lnTo>
                      <a:pt x="178" y="12"/>
                    </a:lnTo>
                    <a:lnTo>
                      <a:pt x="190" y="6"/>
                    </a:lnTo>
                    <a:lnTo>
                      <a:pt x="202" y="2"/>
                    </a:lnTo>
                    <a:lnTo>
                      <a:pt x="216" y="0"/>
                    </a:lnTo>
                    <a:lnTo>
                      <a:pt x="216" y="8"/>
                    </a:lnTo>
                    <a:lnTo>
                      <a:pt x="204" y="24"/>
                    </a:lnTo>
                    <a:lnTo>
                      <a:pt x="188" y="50"/>
                    </a:lnTo>
                    <a:lnTo>
                      <a:pt x="142" y="122"/>
                    </a:lnTo>
                    <a:lnTo>
                      <a:pt x="98" y="202"/>
                    </a:lnTo>
                    <a:lnTo>
                      <a:pt x="68" y="262"/>
                    </a:lnTo>
                    <a:lnTo>
                      <a:pt x="64" y="274"/>
                    </a:lnTo>
                    <a:lnTo>
                      <a:pt x="60" y="276"/>
                    </a:lnTo>
                    <a:lnTo>
                      <a:pt x="56" y="278"/>
                    </a:lnTo>
                    <a:lnTo>
                      <a:pt x="50" y="282"/>
                    </a:lnTo>
                    <a:lnTo>
                      <a:pt x="40" y="282"/>
                    </a:lnTo>
                    <a:lnTo>
                      <a:pt x="32" y="282"/>
                    </a:lnTo>
                    <a:lnTo>
                      <a:pt x="28" y="278"/>
                    </a:lnTo>
                    <a:lnTo>
                      <a:pt x="24" y="274"/>
                    </a:lnTo>
                    <a:lnTo>
                      <a:pt x="20" y="266"/>
                    </a:lnTo>
                    <a:lnTo>
                      <a:pt x="8" y="234"/>
                    </a:lnTo>
                    <a:lnTo>
                      <a:pt x="2" y="206"/>
                    </a:lnTo>
                    <a:lnTo>
                      <a:pt x="0" y="194"/>
                    </a:lnTo>
                    <a:close/>
                  </a:path>
                </a:pathLst>
              </a:custGeom>
              <a:solidFill>
                <a:srgbClr val="17171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tr-TR"/>
              </a:p>
            </p:txBody>
          </p:sp>
          <p:sp>
            <p:nvSpPr>
              <p:cNvPr id="46" name="Ellipse 45"/>
              <p:cNvSpPr/>
              <p:nvPr/>
            </p:nvSpPr>
            <p:spPr bwMode="auto">
              <a:xfrm>
                <a:off x="7373937" y="1809748"/>
                <a:ext cx="1085851" cy="809626"/>
              </a:xfrm>
              <a:prstGeom prst="ellipse">
                <a:avLst/>
              </a:prstGeom>
              <a:gradFill flip="none" rotWithShape="1">
                <a:gsLst>
                  <a:gs pos="0">
                    <a:srgbClr val="FFFFFF">
                      <a:lumMod val="40000"/>
                      <a:lumOff val="60000"/>
                      <a:alpha val="0"/>
                    </a:srgbClr>
                  </a:gs>
                  <a:gs pos="100000">
                    <a:srgbClr val="FFFCF9">
                      <a:alpha val="77000"/>
                    </a:srgbClr>
                  </a:gs>
                </a:gsLst>
                <a:lin ang="16200000" scaled="0"/>
                <a:tileRect/>
              </a:gradFill>
              <a:ln w="9525" cap="flat" cmpd="sng" algn="ctr">
                <a:noFill/>
                <a:prstDash val="solid"/>
              </a:ln>
              <a:effectLst/>
            </p:spPr>
            <p:txBody>
              <a:bodyPr anchor="ctr"/>
              <a:lstStyle/>
              <a:p>
                <a:pPr algn="ctr" fontAlgn="auto">
                  <a:spcBef>
                    <a:spcPts val="0"/>
                  </a:spcBef>
                  <a:spcAft>
                    <a:spcPts val="0"/>
                  </a:spcAft>
                  <a:defRPr/>
                </a:pPr>
                <a:endParaRPr lang="da-DK" kern="0" dirty="0">
                  <a:solidFill>
                    <a:sysClr val="window" lastClr="FFFFFF"/>
                  </a:solidFill>
                  <a:latin typeface="Calibri"/>
                  <a:ea typeface="ＭＳ Ｐゴシック" pitchFamily="-97" charset="-128"/>
                  <a:cs typeface="+mn-cs"/>
                </a:endParaRPr>
              </a:p>
            </p:txBody>
          </p:sp>
        </p:grpSp>
        <p:sp>
          <p:nvSpPr>
            <p:cNvPr id="43" name="Ellipse 398"/>
            <p:cNvSpPr/>
            <p:nvPr/>
          </p:nvSpPr>
          <p:spPr bwMode="auto">
            <a:xfrm>
              <a:off x="7075487" y="3229112"/>
              <a:ext cx="1966913" cy="257038"/>
            </a:xfrm>
            <a:prstGeom prst="ellipse">
              <a:avLst/>
            </a:prstGeom>
            <a:gradFill flip="none" rotWithShape="1">
              <a:gsLst>
                <a:gs pos="24000">
                  <a:sysClr val="windowText" lastClr="000000">
                    <a:alpha val="22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fontAlgn="auto">
                <a:spcBef>
                  <a:spcPts val="0"/>
                </a:spcBef>
                <a:spcAft>
                  <a:spcPts val="0"/>
                </a:spcAft>
                <a:defRPr/>
              </a:pPr>
              <a:endParaRPr lang="da-DK" kern="0" dirty="0" err="1">
                <a:solidFill>
                  <a:sysClr val="window" lastClr="FFFFFF"/>
                </a:solidFill>
                <a:latin typeface="Calibri"/>
                <a:ea typeface="ＭＳ Ｐゴシック" pitchFamily="-97" charset="-128"/>
                <a:cs typeface="+mn-cs"/>
              </a:endParaRPr>
            </a:p>
          </p:txBody>
        </p:sp>
      </p:grpSp>
    </p:spTree>
    <p:extLst>
      <p:ext uri="{BB962C8B-B14F-4D97-AF65-F5344CB8AC3E}">
        <p14:creationId xmlns:p14="http://schemas.microsoft.com/office/powerpoint/2010/main" val="42811981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Pie 14"/>
          <p:cNvSpPr/>
          <p:nvPr/>
        </p:nvSpPr>
        <p:spPr bwMode="auto">
          <a:xfrm>
            <a:off x="1702395" y="1052736"/>
            <a:ext cx="5749925" cy="5748338"/>
          </a:xfrm>
          <a:prstGeom prst="pie">
            <a:avLst>
              <a:gd name="adj1" fmla="val 13986635"/>
              <a:gd name="adj2" fmla="val 5407985"/>
            </a:avLst>
          </a:prstGeom>
          <a:gradFill flip="none" rotWithShape="1">
            <a:gsLst>
              <a:gs pos="0">
                <a:schemeClr val="accent1">
                  <a:lumMod val="50000"/>
                  <a:shade val="30000"/>
                  <a:satMod val="115000"/>
                </a:schemeClr>
              </a:gs>
              <a:gs pos="50000">
                <a:schemeClr val="accent1">
                  <a:lumMod val="50000"/>
                  <a:shade val="67500"/>
                  <a:satMod val="115000"/>
                </a:schemeClr>
              </a:gs>
              <a:gs pos="100000">
                <a:schemeClr val="accent1">
                  <a:lumMod val="50000"/>
                  <a:shade val="100000"/>
                  <a:satMod val="115000"/>
                </a:schemeClr>
              </a:gs>
            </a:gsLst>
            <a:path path="circle">
              <a:fillToRect t="100000" r="100000"/>
            </a:path>
            <a:tileRect l="-100000" b="-100000"/>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solidFill>
                <a:schemeClr val="tx1"/>
              </a:solidFill>
            </a:endParaRPr>
          </a:p>
        </p:txBody>
      </p:sp>
      <p:sp>
        <p:nvSpPr>
          <p:cNvPr id="14" name="Pie 13"/>
          <p:cNvSpPr/>
          <p:nvPr/>
        </p:nvSpPr>
        <p:spPr bwMode="auto">
          <a:xfrm>
            <a:off x="1547664" y="1131713"/>
            <a:ext cx="5683250" cy="5681663"/>
          </a:xfrm>
          <a:prstGeom prst="pie">
            <a:avLst>
              <a:gd name="adj1" fmla="val 5416324"/>
              <a:gd name="adj2" fmla="val 13959291"/>
            </a:avLst>
          </a:prstGeom>
          <a:gradFill flip="none" rotWithShape="1">
            <a:gsLst>
              <a:gs pos="0">
                <a:schemeClr val="accent1">
                  <a:lumMod val="50000"/>
                  <a:shade val="30000"/>
                  <a:satMod val="115000"/>
                </a:schemeClr>
              </a:gs>
              <a:gs pos="50000">
                <a:schemeClr val="accent1">
                  <a:lumMod val="50000"/>
                  <a:shade val="67500"/>
                  <a:satMod val="115000"/>
                </a:schemeClr>
              </a:gs>
              <a:gs pos="100000">
                <a:schemeClr val="accent1">
                  <a:lumMod val="50000"/>
                  <a:shade val="100000"/>
                  <a:satMod val="115000"/>
                </a:schemeClr>
              </a:gs>
            </a:gsLst>
            <a:path path="circle">
              <a:fillToRect t="100000" r="100000"/>
            </a:path>
            <a:tileRect l="-100000" b="-100000"/>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endParaRPr lang="en-US">
              <a:solidFill>
                <a:schemeClr val="tx1"/>
              </a:solidFill>
            </a:endParaRPr>
          </a:p>
        </p:txBody>
      </p:sp>
      <p:sp>
        <p:nvSpPr>
          <p:cNvPr id="4" name="Donut 3"/>
          <p:cNvSpPr/>
          <p:nvPr/>
        </p:nvSpPr>
        <p:spPr bwMode="auto">
          <a:xfrm>
            <a:off x="2758082" y="2222724"/>
            <a:ext cx="3509963" cy="3508375"/>
          </a:xfrm>
          <a:prstGeom prst="donut">
            <a:avLst>
              <a:gd name="adj" fmla="val 4550"/>
            </a:avLst>
          </a:prstGeom>
          <a:solidFill>
            <a:schemeClr val="tx1">
              <a:alpha val="4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solidFill>
                <a:schemeClr val="tx1"/>
              </a:solidFill>
            </a:endParaRPr>
          </a:p>
        </p:txBody>
      </p:sp>
      <p:grpSp>
        <p:nvGrpSpPr>
          <p:cNvPr id="11" name="Grup 10"/>
          <p:cNvGrpSpPr/>
          <p:nvPr/>
        </p:nvGrpSpPr>
        <p:grpSpPr>
          <a:xfrm>
            <a:off x="3528020" y="1482784"/>
            <a:ext cx="1703387" cy="1449552"/>
            <a:chOff x="3487738" y="1281072"/>
            <a:chExt cx="1703387" cy="1449552"/>
          </a:xfrm>
        </p:grpSpPr>
        <p:sp>
          <p:nvSpPr>
            <p:cNvPr id="5" name="Oval 4"/>
            <p:cNvSpPr>
              <a:spLocks noChangeArrowheads="1"/>
            </p:cNvSpPr>
            <p:nvPr/>
          </p:nvSpPr>
          <p:spPr bwMode="auto">
            <a:xfrm>
              <a:off x="3770313" y="1309812"/>
              <a:ext cx="1420812" cy="1420812"/>
            </a:xfrm>
            <a:prstGeom prst="ellipse">
              <a:avLst/>
            </a:prstGeom>
            <a:gradFill rotWithShape="1">
              <a:gsLst>
                <a:gs pos="0">
                  <a:srgbClr val="F2F2F2"/>
                </a:gs>
                <a:gs pos="100000">
                  <a:srgbClr val="BFBFBF"/>
                </a:gs>
              </a:gsLst>
              <a:lin ang="5400000"/>
            </a:gradFill>
            <a:ln>
              <a:noFill/>
            </a:ln>
            <a:effectLst>
              <a:outerShdw blurRad="40000" dist="23000" dir="5400000" rotWithShape="0">
                <a:srgbClr val="808080">
                  <a:alpha val="34998"/>
                </a:srgbClr>
              </a:outerShdw>
            </a:effectLst>
            <a:extLst>
              <a:ext uri="{91240B29-F687-4F45-9708-019B960494DF}">
                <a14:hiddenLine xmlns:a14="http://schemas.microsoft.com/office/drawing/2010/main" w="9525">
                  <a:solidFill>
                    <a:srgbClr val="000000"/>
                  </a:solidFill>
                  <a:round/>
                  <a:headEnd/>
                  <a:tailEnd/>
                </a14:hiddenLine>
              </a:ext>
            </a:extLst>
          </p:spPr>
          <p:txBody>
            <a:bodyPr anchor="ctr"/>
            <a:lstStyle/>
            <a:p>
              <a:pPr algn="ctr" fontAlgn="auto">
                <a:spcBef>
                  <a:spcPts val="0"/>
                </a:spcBef>
                <a:spcAft>
                  <a:spcPts val="0"/>
                </a:spcAft>
                <a:defRPr/>
              </a:pPr>
              <a:endParaRPr lang="en-US">
                <a:solidFill>
                  <a:schemeClr val="lt1"/>
                </a:solidFill>
                <a:latin typeface="+mn-lt"/>
                <a:ea typeface="+mn-ea"/>
              </a:endParaRPr>
            </a:p>
          </p:txBody>
        </p:sp>
        <p:sp>
          <p:nvSpPr>
            <p:cNvPr id="13322" name="TextBox 16"/>
            <p:cNvSpPr txBox="1">
              <a:spLocks noChangeArrowheads="1"/>
            </p:cNvSpPr>
            <p:nvPr/>
          </p:nvSpPr>
          <p:spPr bwMode="auto">
            <a:xfrm>
              <a:off x="3838575" y="1835532"/>
              <a:ext cx="127470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Calibri" pitchFamily="34" charset="0"/>
                  <a:ea typeface="ＭＳ Ｐゴシック" pitchFamily="34" charset="-128"/>
                </a:defRPr>
              </a:lvl1pPr>
              <a:lvl2pPr marL="742950" indent="-285750" eaLnBrk="0" hangingPunct="0">
                <a:defRPr sz="2400">
                  <a:solidFill>
                    <a:schemeClr val="tx1"/>
                  </a:solidFill>
                  <a:latin typeface="Calibri" pitchFamily="34" charset="0"/>
                  <a:ea typeface="ＭＳ Ｐゴシック" pitchFamily="34" charset="-128"/>
                </a:defRPr>
              </a:lvl2pPr>
              <a:lvl3pPr marL="1143000" indent="-228600" eaLnBrk="0" hangingPunct="0">
                <a:defRPr sz="2400">
                  <a:solidFill>
                    <a:schemeClr val="tx1"/>
                  </a:solidFill>
                  <a:latin typeface="Calibri" pitchFamily="34" charset="0"/>
                  <a:ea typeface="ＭＳ Ｐゴシック" pitchFamily="34" charset="-128"/>
                </a:defRPr>
              </a:lvl3pPr>
              <a:lvl4pPr marL="1600200" indent="-228600" eaLnBrk="0" hangingPunct="0">
                <a:defRPr sz="2400">
                  <a:solidFill>
                    <a:schemeClr val="tx1"/>
                  </a:solidFill>
                  <a:latin typeface="Calibri" pitchFamily="34" charset="0"/>
                  <a:ea typeface="ＭＳ Ｐゴシック" pitchFamily="34" charset="-128"/>
                </a:defRPr>
              </a:lvl4pPr>
              <a:lvl5pPr marL="2057400" indent="-228600" eaLnBrk="0" hangingPunct="0">
                <a:defRPr sz="2400">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ＭＳ Ｐゴシック" pitchFamily="34" charset="-128"/>
                </a:defRPr>
              </a:lvl9pPr>
            </a:lstStyle>
            <a:p>
              <a:pPr lvl="0"/>
              <a:r>
                <a:rPr lang="tr-TR" sz="1800" b="1" dirty="0" smtClean="0"/>
                <a:t>İMZALAMA</a:t>
              </a:r>
              <a:endParaRPr lang="tr-TR" sz="1800" b="1" dirty="0"/>
            </a:p>
          </p:txBody>
        </p:sp>
        <p:grpSp>
          <p:nvGrpSpPr>
            <p:cNvPr id="13329" name="Group 2"/>
            <p:cNvGrpSpPr>
              <a:grpSpLocks/>
            </p:cNvGrpSpPr>
            <p:nvPr/>
          </p:nvGrpSpPr>
          <p:grpSpPr bwMode="auto">
            <a:xfrm>
              <a:off x="3487738" y="1281072"/>
              <a:ext cx="666750" cy="666750"/>
              <a:chOff x="1536699" y="4273179"/>
              <a:chExt cx="667123" cy="667122"/>
            </a:xfrm>
          </p:grpSpPr>
          <p:sp>
            <p:nvSpPr>
              <p:cNvPr id="2" name="Oval 1"/>
              <p:cNvSpPr>
                <a:spLocks noChangeArrowheads="1"/>
              </p:cNvSpPr>
              <p:nvPr/>
            </p:nvSpPr>
            <p:spPr bwMode="auto">
              <a:xfrm>
                <a:off x="1678066" y="4419310"/>
                <a:ext cx="378036" cy="378036"/>
              </a:xfrm>
              <a:prstGeom prst="ellipse">
                <a:avLst/>
              </a:prstGeom>
              <a:gradFill rotWithShape="1">
                <a:gsLst>
                  <a:gs pos="0">
                    <a:srgbClr val="F2F2F2"/>
                  </a:gs>
                  <a:gs pos="100000">
                    <a:srgbClr val="BFBFBF"/>
                  </a:gs>
                </a:gsLst>
                <a:lin ang="5400000"/>
              </a:gradFill>
              <a:ln>
                <a:noFill/>
              </a:ln>
              <a:effectLst>
                <a:outerShdw blurRad="40000" dist="23000" dir="5400000" rotWithShape="0">
                  <a:srgbClr val="808080">
                    <a:alpha val="34998"/>
                  </a:srgbClr>
                </a:outerShdw>
              </a:effectLst>
              <a:extLst>
                <a:ext uri="{91240B29-F687-4F45-9708-019B960494DF}">
                  <a14:hiddenLine xmlns:a14="http://schemas.microsoft.com/office/drawing/2010/main" w="9525">
                    <a:solidFill>
                      <a:srgbClr val="000000"/>
                    </a:solidFill>
                    <a:round/>
                    <a:headEnd/>
                    <a:tailEnd/>
                  </a14:hiddenLine>
                </a:ext>
              </a:extLst>
            </p:spPr>
            <p:txBody>
              <a:bodyPr anchor="ctr"/>
              <a:lstStyle/>
              <a:p>
                <a:pPr algn="ctr" fontAlgn="auto">
                  <a:spcBef>
                    <a:spcPts val="0"/>
                  </a:spcBef>
                  <a:spcAft>
                    <a:spcPts val="0"/>
                  </a:spcAft>
                  <a:defRPr/>
                </a:pPr>
                <a:endParaRPr lang="en-US">
                  <a:latin typeface="Calibri" charset="0"/>
                  <a:ea typeface="ＭＳ Ｐゴシック" charset="0"/>
                  <a:cs typeface="ＭＳ Ｐゴシック" charset="0"/>
                </a:endParaRPr>
              </a:p>
            </p:txBody>
          </p:sp>
          <p:sp>
            <p:nvSpPr>
              <p:cNvPr id="27" name="Donut 26"/>
              <p:cNvSpPr/>
              <p:nvPr/>
            </p:nvSpPr>
            <p:spPr>
              <a:xfrm>
                <a:off x="1536699" y="4273179"/>
                <a:ext cx="667123" cy="667122"/>
              </a:xfrm>
              <a:prstGeom prst="donut">
                <a:avLst>
                  <a:gd name="adj" fmla="val 16376"/>
                </a:avLst>
              </a:prstGeom>
              <a:solidFill>
                <a:srgbClr val="FFFFFF">
                  <a:alpha val="45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solidFill>
                    <a:schemeClr val="tx1"/>
                  </a:solidFill>
                </a:endParaRPr>
              </a:p>
            </p:txBody>
          </p:sp>
          <p:sp>
            <p:nvSpPr>
              <p:cNvPr id="13338" name="TextBox 27"/>
              <p:cNvSpPr txBox="1">
                <a:spLocks noChangeArrowheads="1"/>
              </p:cNvSpPr>
              <p:nvPr/>
            </p:nvSpPr>
            <p:spPr bwMode="auto">
              <a:xfrm>
                <a:off x="1720850" y="4432300"/>
                <a:ext cx="28866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Calibri" pitchFamily="34" charset="0"/>
                    <a:ea typeface="ＭＳ Ｐゴシック" pitchFamily="34" charset="-128"/>
                  </a:defRPr>
                </a:lvl1pPr>
                <a:lvl2pPr marL="742950" indent="-285750" eaLnBrk="0" hangingPunct="0">
                  <a:defRPr sz="2400">
                    <a:solidFill>
                      <a:schemeClr val="tx1"/>
                    </a:solidFill>
                    <a:latin typeface="Calibri" pitchFamily="34" charset="0"/>
                    <a:ea typeface="ＭＳ Ｐゴシック" pitchFamily="34" charset="-128"/>
                  </a:defRPr>
                </a:lvl2pPr>
                <a:lvl3pPr marL="1143000" indent="-228600" eaLnBrk="0" hangingPunct="0">
                  <a:defRPr sz="2400">
                    <a:solidFill>
                      <a:schemeClr val="tx1"/>
                    </a:solidFill>
                    <a:latin typeface="Calibri" pitchFamily="34" charset="0"/>
                    <a:ea typeface="ＭＳ Ｐゴシック" pitchFamily="34" charset="-128"/>
                  </a:defRPr>
                </a:lvl3pPr>
                <a:lvl4pPr marL="1600200" indent="-228600" eaLnBrk="0" hangingPunct="0">
                  <a:defRPr sz="2400">
                    <a:solidFill>
                      <a:schemeClr val="tx1"/>
                    </a:solidFill>
                    <a:latin typeface="Calibri" pitchFamily="34" charset="0"/>
                    <a:ea typeface="ＭＳ Ｐゴシック" pitchFamily="34" charset="-128"/>
                  </a:defRPr>
                </a:lvl4pPr>
                <a:lvl5pPr marL="2057400" indent="-228600" eaLnBrk="0" hangingPunct="0">
                  <a:defRPr sz="2400">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ＭＳ Ｐゴシック" pitchFamily="34" charset="-128"/>
                  </a:defRPr>
                </a:lvl9pPr>
              </a:lstStyle>
              <a:p>
                <a:pPr eaLnBrk="1" hangingPunct="1"/>
                <a:r>
                  <a:rPr lang="en-US" sz="1600" b="1" dirty="0"/>
                  <a:t>2</a:t>
                </a:r>
              </a:p>
            </p:txBody>
          </p:sp>
        </p:grpSp>
      </p:grpSp>
      <p:grpSp>
        <p:nvGrpSpPr>
          <p:cNvPr id="10" name="Grup 9"/>
          <p:cNvGrpSpPr/>
          <p:nvPr/>
        </p:nvGrpSpPr>
        <p:grpSpPr>
          <a:xfrm>
            <a:off x="1886545" y="2771999"/>
            <a:ext cx="1773237" cy="1419225"/>
            <a:chOff x="1846263" y="2570287"/>
            <a:chExt cx="1773237" cy="1419225"/>
          </a:xfrm>
        </p:grpSpPr>
        <p:sp>
          <p:nvSpPr>
            <p:cNvPr id="8" name="Oval 7"/>
            <p:cNvSpPr>
              <a:spLocks noChangeArrowheads="1"/>
            </p:cNvSpPr>
            <p:nvPr/>
          </p:nvSpPr>
          <p:spPr bwMode="auto">
            <a:xfrm>
              <a:off x="2198688" y="2570287"/>
              <a:ext cx="1420812" cy="1419225"/>
            </a:xfrm>
            <a:prstGeom prst="ellipse">
              <a:avLst/>
            </a:prstGeom>
            <a:gradFill rotWithShape="1">
              <a:gsLst>
                <a:gs pos="0">
                  <a:srgbClr val="F2F2F2"/>
                </a:gs>
                <a:gs pos="100000">
                  <a:srgbClr val="BFBFBF"/>
                </a:gs>
              </a:gsLst>
              <a:lin ang="5400000"/>
            </a:gradFill>
            <a:ln>
              <a:noFill/>
            </a:ln>
            <a:effectLst>
              <a:outerShdw blurRad="40000" dist="23000" dir="5400000" rotWithShape="0">
                <a:srgbClr val="808080">
                  <a:alpha val="34998"/>
                </a:srgbClr>
              </a:outerShdw>
            </a:effectLst>
            <a:extLst>
              <a:ext uri="{91240B29-F687-4F45-9708-019B960494DF}">
                <a14:hiddenLine xmlns:a14="http://schemas.microsoft.com/office/drawing/2010/main" w="9525">
                  <a:solidFill>
                    <a:srgbClr val="000000"/>
                  </a:solidFill>
                  <a:round/>
                  <a:headEnd/>
                  <a:tailEnd/>
                </a14:hiddenLine>
              </a:ext>
            </a:extLst>
          </p:spPr>
          <p:txBody>
            <a:bodyPr anchor="ctr"/>
            <a:lstStyle/>
            <a:p>
              <a:pPr algn="ctr" fontAlgn="auto">
                <a:spcBef>
                  <a:spcPts val="0"/>
                </a:spcBef>
                <a:spcAft>
                  <a:spcPts val="0"/>
                </a:spcAft>
                <a:defRPr/>
              </a:pPr>
              <a:endParaRPr lang="en-US">
                <a:solidFill>
                  <a:schemeClr val="lt1"/>
                </a:solidFill>
                <a:latin typeface="+mn-lt"/>
                <a:ea typeface="+mn-ea"/>
              </a:endParaRPr>
            </a:p>
          </p:txBody>
        </p:sp>
        <p:sp>
          <p:nvSpPr>
            <p:cNvPr id="13324" name="TextBox 18"/>
            <p:cNvSpPr txBox="1">
              <a:spLocks noChangeArrowheads="1"/>
            </p:cNvSpPr>
            <p:nvPr/>
          </p:nvSpPr>
          <p:spPr bwMode="auto">
            <a:xfrm>
              <a:off x="2179638" y="3068960"/>
              <a:ext cx="142551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Calibri" pitchFamily="34" charset="0"/>
                  <a:ea typeface="ＭＳ Ｐゴシック" pitchFamily="34" charset="-128"/>
                </a:defRPr>
              </a:lvl1pPr>
              <a:lvl2pPr marL="742950" indent="-285750" eaLnBrk="0" hangingPunct="0">
                <a:defRPr sz="2400">
                  <a:solidFill>
                    <a:schemeClr val="tx1"/>
                  </a:solidFill>
                  <a:latin typeface="Calibri" pitchFamily="34" charset="0"/>
                  <a:ea typeface="ＭＳ Ｐゴシック" pitchFamily="34" charset="-128"/>
                </a:defRPr>
              </a:lvl2pPr>
              <a:lvl3pPr marL="1143000" indent="-228600" eaLnBrk="0" hangingPunct="0">
                <a:defRPr sz="2400">
                  <a:solidFill>
                    <a:schemeClr val="tx1"/>
                  </a:solidFill>
                  <a:latin typeface="Calibri" pitchFamily="34" charset="0"/>
                  <a:ea typeface="ＭＳ Ｐゴシック" pitchFamily="34" charset="-128"/>
                </a:defRPr>
              </a:lvl3pPr>
              <a:lvl4pPr marL="1600200" indent="-228600" eaLnBrk="0" hangingPunct="0">
                <a:defRPr sz="2400">
                  <a:solidFill>
                    <a:schemeClr val="tx1"/>
                  </a:solidFill>
                  <a:latin typeface="Calibri" pitchFamily="34" charset="0"/>
                  <a:ea typeface="ＭＳ Ｐゴシック" pitchFamily="34" charset="-128"/>
                </a:defRPr>
              </a:lvl4pPr>
              <a:lvl5pPr marL="2057400" indent="-228600" eaLnBrk="0" hangingPunct="0">
                <a:defRPr sz="2400">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ＭＳ Ｐゴシック" pitchFamily="34" charset="-128"/>
                </a:defRPr>
              </a:lvl9pPr>
            </a:lstStyle>
            <a:p>
              <a:pPr lvl="0"/>
              <a:r>
                <a:rPr lang="tr-TR" sz="1800" b="1" dirty="0" smtClean="0"/>
                <a:t>OLUŞTURMA</a:t>
              </a:r>
              <a:endParaRPr lang="tr-TR" sz="1800" b="1" dirty="0"/>
            </a:p>
          </p:txBody>
        </p:sp>
        <p:grpSp>
          <p:nvGrpSpPr>
            <p:cNvPr id="13332" name="Group 27"/>
            <p:cNvGrpSpPr>
              <a:grpSpLocks/>
            </p:cNvGrpSpPr>
            <p:nvPr/>
          </p:nvGrpSpPr>
          <p:grpSpPr bwMode="auto">
            <a:xfrm>
              <a:off x="1846263" y="2586876"/>
              <a:ext cx="666750" cy="666750"/>
              <a:chOff x="1536699" y="4273179"/>
              <a:chExt cx="667123" cy="667122"/>
            </a:xfrm>
          </p:grpSpPr>
          <p:sp>
            <p:nvSpPr>
              <p:cNvPr id="29" name="Oval 28"/>
              <p:cNvSpPr>
                <a:spLocks noChangeArrowheads="1"/>
              </p:cNvSpPr>
              <p:nvPr/>
            </p:nvSpPr>
            <p:spPr bwMode="auto">
              <a:xfrm>
                <a:off x="1678066" y="4419310"/>
                <a:ext cx="378036" cy="378036"/>
              </a:xfrm>
              <a:prstGeom prst="ellipse">
                <a:avLst/>
              </a:prstGeom>
              <a:gradFill rotWithShape="1">
                <a:gsLst>
                  <a:gs pos="0">
                    <a:srgbClr val="F2F2F2"/>
                  </a:gs>
                  <a:gs pos="100000">
                    <a:srgbClr val="BFBFBF"/>
                  </a:gs>
                </a:gsLst>
                <a:lin ang="5400000"/>
              </a:gradFill>
              <a:ln>
                <a:noFill/>
              </a:ln>
              <a:effectLst>
                <a:outerShdw blurRad="40000" dist="23000" dir="5400000" rotWithShape="0">
                  <a:srgbClr val="808080">
                    <a:alpha val="34998"/>
                  </a:srgbClr>
                </a:outerShdw>
              </a:effectLst>
              <a:extLst>
                <a:ext uri="{91240B29-F687-4F45-9708-019B960494DF}">
                  <a14:hiddenLine xmlns:a14="http://schemas.microsoft.com/office/drawing/2010/main" w="9525">
                    <a:solidFill>
                      <a:srgbClr val="000000"/>
                    </a:solidFill>
                    <a:round/>
                    <a:headEnd/>
                    <a:tailEnd/>
                  </a14:hiddenLine>
                </a:ext>
              </a:extLst>
            </p:spPr>
            <p:txBody>
              <a:bodyPr anchor="ctr"/>
              <a:lstStyle/>
              <a:p>
                <a:pPr algn="ctr" fontAlgn="auto">
                  <a:spcBef>
                    <a:spcPts val="0"/>
                  </a:spcBef>
                  <a:spcAft>
                    <a:spcPts val="0"/>
                  </a:spcAft>
                  <a:defRPr/>
                </a:pPr>
                <a:endParaRPr lang="en-US">
                  <a:latin typeface="Calibri" charset="0"/>
                  <a:ea typeface="ＭＳ Ｐゴシック" charset="0"/>
                  <a:cs typeface="ＭＳ Ｐゴシック" charset="0"/>
                </a:endParaRPr>
              </a:p>
            </p:txBody>
          </p:sp>
          <p:sp>
            <p:nvSpPr>
              <p:cNvPr id="30" name="Donut 29"/>
              <p:cNvSpPr/>
              <p:nvPr/>
            </p:nvSpPr>
            <p:spPr>
              <a:xfrm>
                <a:off x="1536699" y="4273179"/>
                <a:ext cx="667123" cy="667122"/>
              </a:xfrm>
              <a:prstGeom prst="donut">
                <a:avLst>
                  <a:gd name="adj" fmla="val 16376"/>
                </a:avLst>
              </a:prstGeom>
              <a:solidFill>
                <a:srgbClr val="FFFFFF">
                  <a:alpha val="45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solidFill>
                    <a:schemeClr val="tx1"/>
                  </a:solidFill>
                </a:endParaRPr>
              </a:p>
            </p:txBody>
          </p:sp>
          <p:sp>
            <p:nvSpPr>
              <p:cNvPr id="13335" name="TextBox 27"/>
              <p:cNvSpPr txBox="1">
                <a:spLocks noChangeArrowheads="1"/>
              </p:cNvSpPr>
              <p:nvPr/>
            </p:nvSpPr>
            <p:spPr bwMode="auto">
              <a:xfrm>
                <a:off x="1720850" y="4432300"/>
                <a:ext cx="28866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Calibri" pitchFamily="34" charset="0"/>
                    <a:ea typeface="ＭＳ Ｐゴシック" pitchFamily="34" charset="-128"/>
                  </a:defRPr>
                </a:lvl1pPr>
                <a:lvl2pPr marL="742950" indent="-285750" eaLnBrk="0" hangingPunct="0">
                  <a:defRPr sz="2400">
                    <a:solidFill>
                      <a:schemeClr val="tx1"/>
                    </a:solidFill>
                    <a:latin typeface="Calibri" pitchFamily="34" charset="0"/>
                    <a:ea typeface="ＭＳ Ｐゴシック" pitchFamily="34" charset="-128"/>
                  </a:defRPr>
                </a:lvl2pPr>
                <a:lvl3pPr marL="1143000" indent="-228600" eaLnBrk="0" hangingPunct="0">
                  <a:defRPr sz="2400">
                    <a:solidFill>
                      <a:schemeClr val="tx1"/>
                    </a:solidFill>
                    <a:latin typeface="Calibri" pitchFamily="34" charset="0"/>
                    <a:ea typeface="ＭＳ Ｐゴシック" pitchFamily="34" charset="-128"/>
                  </a:defRPr>
                </a:lvl3pPr>
                <a:lvl4pPr marL="1600200" indent="-228600" eaLnBrk="0" hangingPunct="0">
                  <a:defRPr sz="2400">
                    <a:solidFill>
                      <a:schemeClr val="tx1"/>
                    </a:solidFill>
                    <a:latin typeface="Calibri" pitchFamily="34" charset="0"/>
                    <a:ea typeface="ＭＳ Ｐゴシック" pitchFamily="34" charset="-128"/>
                  </a:defRPr>
                </a:lvl4pPr>
                <a:lvl5pPr marL="2057400" indent="-228600" eaLnBrk="0" hangingPunct="0">
                  <a:defRPr sz="2400">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ＭＳ Ｐゴシック" pitchFamily="34" charset="-128"/>
                  </a:defRPr>
                </a:lvl9pPr>
              </a:lstStyle>
              <a:p>
                <a:pPr eaLnBrk="1" hangingPunct="1"/>
                <a:r>
                  <a:rPr lang="en-US" sz="1600" b="1"/>
                  <a:t>1</a:t>
                </a:r>
              </a:p>
            </p:txBody>
          </p:sp>
        </p:grpSp>
      </p:grpSp>
      <p:grpSp>
        <p:nvGrpSpPr>
          <p:cNvPr id="12" name="Grup 11"/>
          <p:cNvGrpSpPr/>
          <p:nvPr/>
        </p:nvGrpSpPr>
        <p:grpSpPr>
          <a:xfrm>
            <a:off x="5421907" y="2771999"/>
            <a:ext cx="1552575" cy="1419225"/>
            <a:chOff x="5381625" y="2570287"/>
            <a:chExt cx="1552575" cy="1419225"/>
          </a:xfrm>
        </p:grpSpPr>
        <p:sp>
          <p:nvSpPr>
            <p:cNvPr id="9" name="Oval 8"/>
            <p:cNvSpPr>
              <a:spLocks noChangeArrowheads="1"/>
            </p:cNvSpPr>
            <p:nvPr/>
          </p:nvSpPr>
          <p:spPr bwMode="auto">
            <a:xfrm>
              <a:off x="5381625" y="2570287"/>
              <a:ext cx="1420813" cy="1419225"/>
            </a:xfrm>
            <a:prstGeom prst="ellipse">
              <a:avLst/>
            </a:prstGeom>
            <a:gradFill rotWithShape="1">
              <a:gsLst>
                <a:gs pos="0">
                  <a:srgbClr val="F2F2F2"/>
                </a:gs>
                <a:gs pos="100000">
                  <a:srgbClr val="BFBFBF"/>
                </a:gs>
              </a:gsLst>
              <a:lin ang="5400000"/>
            </a:gradFill>
            <a:ln>
              <a:noFill/>
            </a:ln>
            <a:effectLst>
              <a:outerShdw blurRad="40000" dist="23000" dir="5400000" rotWithShape="0">
                <a:srgbClr val="808080">
                  <a:alpha val="34998"/>
                </a:srgbClr>
              </a:outerShdw>
            </a:effectLst>
            <a:extLst>
              <a:ext uri="{91240B29-F687-4F45-9708-019B960494DF}">
                <a14:hiddenLine xmlns:a14="http://schemas.microsoft.com/office/drawing/2010/main" w="9525">
                  <a:solidFill>
                    <a:srgbClr val="000000"/>
                  </a:solidFill>
                  <a:round/>
                  <a:headEnd/>
                  <a:tailEnd/>
                </a14:hiddenLine>
              </a:ext>
            </a:extLst>
          </p:spPr>
          <p:txBody>
            <a:bodyPr anchor="ctr"/>
            <a:lstStyle/>
            <a:p>
              <a:pPr algn="ctr" fontAlgn="auto">
                <a:spcBef>
                  <a:spcPts val="0"/>
                </a:spcBef>
                <a:spcAft>
                  <a:spcPts val="0"/>
                </a:spcAft>
                <a:defRPr/>
              </a:pPr>
              <a:endParaRPr lang="en-US">
                <a:solidFill>
                  <a:schemeClr val="lt1"/>
                </a:solidFill>
                <a:latin typeface="+mn-lt"/>
                <a:ea typeface="+mn-ea"/>
              </a:endParaRPr>
            </a:p>
          </p:txBody>
        </p:sp>
        <p:sp>
          <p:nvSpPr>
            <p:cNvPr id="13325" name="TextBox 19"/>
            <p:cNvSpPr txBox="1">
              <a:spLocks noChangeArrowheads="1"/>
            </p:cNvSpPr>
            <p:nvPr/>
          </p:nvSpPr>
          <p:spPr bwMode="auto">
            <a:xfrm>
              <a:off x="5462214" y="3131676"/>
              <a:ext cx="134203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Calibri" pitchFamily="34" charset="0"/>
                  <a:ea typeface="ＭＳ Ｐゴシック" pitchFamily="34" charset="-128"/>
                </a:defRPr>
              </a:lvl1pPr>
              <a:lvl2pPr marL="742950" indent="-285750" eaLnBrk="0" hangingPunct="0">
                <a:defRPr sz="2400">
                  <a:solidFill>
                    <a:schemeClr val="tx1"/>
                  </a:solidFill>
                  <a:latin typeface="Calibri" pitchFamily="34" charset="0"/>
                  <a:ea typeface="ＭＳ Ｐゴシック" pitchFamily="34" charset="-128"/>
                </a:defRPr>
              </a:lvl2pPr>
              <a:lvl3pPr marL="1143000" indent="-228600" eaLnBrk="0" hangingPunct="0">
                <a:defRPr sz="2400">
                  <a:solidFill>
                    <a:schemeClr val="tx1"/>
                  </a:solidFill>
                  <a:latin typeface="Calibri" pitchFamily="34" charset="0"/>
                  <a:ea typeface="ＭＳ Ｐゴシック" pitchFamily="34" charset="-128"/>
                </a:defRPr>
              </a:lvl3pPr>
              <a:lvl4pPr marL="1600200" indent="-228600" eaLnBrk="0" hangingPunct="0">
                <a:defRPr sz="2400">
                  <a:solidFill>
                    <a:schemeClr val="tx1"/>
                  </a:solidFill>
                  <a:latin typeface="Calibri" pitchFamily="34" charset="0"/>
                  <a:ea typeface="ＭＳ Ｐゴシック" pitchFamily="34" charset="-128"/>
                </a:defRPr>
              </a:lvl4pPr>
              <a:lvl5pPr marL="2057400" indent="-228600" eaLnBrk="0" hangingPunct="0">
                <a:defRPr sz="2400">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ＭＳ Ｐゴシック" pitchFamily="34" charset="-128"/>
                </a:defRPr>
              </a:lvl9pPr>
            </a:lstStyle>
            <a:p>
              <a:pPr lvl="0"/>
              <a:r>
                <a:rPr lang="tr-TR" sz="1800" b="1" dirty="0" smtClean="0"/>
                <a:t>GÖNDERME</a:t>
              </a:r>
              <a:endParaRPr lang="tr-TR" sz="1800" b="1" dirty="0"/>
            </a:p>
          </p:txBody>
        </p:sp>
        <p:grpSp>
          <p:nvGrpSpPr>
            <p:cNvPr id="35" name="Group 2"/>
            <p:cNvGrpSpPr>
              <a:grpSpLocks/>
            </p:cNvGrpSpPr>
            <p:nvPr/>
          </p:nvGrpSpPr>
          <p:grpSpPr bwMode="auto">
            <a:xfrm>
              <a:off x="6267450" y="2570287"/>
              <a:ext cx="666750" cy="666750"/>
              <a:chOff x="1536699" y="4273179"/>
              <a:chExt cx="667123" cy="667122"/>
            </a:xfrm>
          </p:grpSpPr>
          <p:sp>
            <p:nvSpPr>
              <p:cNvPr id="36" name="Oval 35"/>
              <p:cNvSpPr>
                <a:spLocks noChangeArrowheads="1"/>
              </p:cNvSpPr>
              <p:nvPr/>
            </p:nvSpPr>
            <p:spPr bwMode="auto">
              <a:xfrm>
                <a:off x="1678066" y="4419310"/>
                <a:ext cx="378036" cy="378036"/>
              </a:xfrm>
              <a:prstGeom prst="ellipse">
                <a:avLst/>
              </a:prstGeom>
              <a:gradFill rotWithShape="1">
                <a:gsLst>
                  <a:gs pos="0">
                    <a:srgbClr val="F2F2F2"/>
                  </a:gs>
                  <a:gs pos="100000">
                    <a:srgbClr val="BFBFBF"/>
                  </a:gs>
                </a:gsLst>
                <a:lin ang="5400000"/>
              </a:gradFill>
              <a:ln>
                <a:noFill/>
              </a:ln>
              <a:effectLst>
                <a:outerShdw blurRad="40000" dist="23000" dir="5400000" rotWithShape="0">
                  <a:srgbClr val="808080">
                    <a:alpha val="34998"/>
                  </a:srgbClr>
                </a:outerShdw>
              </a:effectLst>
              <a:extLst>
                <a:ext uri="{91240B29-F687-4F45-9708-019B960494DF}">
                  <a14:hiddenLine xmlns:a14="http://schemas.microsoft.com/office/drawing/2010/main" w="9525">
                    <a:solidFill>
                      <a:srgbClr val="000000"/>
                    </a:solidFill>
                    <a:round/>
                    <a:headEnd/>
                    <a:tailEnd/>
                  </a14:hiddenLine>
                </a:ext>
              </a:extLst>
            </p:spPr>
            <p:txBody>
              <a:bodyPr anchor="ctr"/>
              <a:lstStyle/>
              <a:p>
                <a:pPr algn="ctr" fontAlgn="auto">
                  <a:spcBef>
                    <a:spcPts val="0"/>
                  </a:spcBef>
                  <a:spcAft>
                    <a:spcPts val="0"/>
                  </a:spcAft>
                  <a:defRPr/>
                </a:pPr>
                <a:endParaRPr lang="en-US">
                  <a:latin typeface="Calibri" charset="0"/>
                  <a:ea typeface="ＭＳ Ｐゴシック" charset="0"/>
                  <a:cs typeface="ＭＳ Ｐゴシック" charset="0"/>
                </a:endParaRPr>
              </a:p>
            </p:txBody>
          </p:sp>
          <p:sp>
            <p:nvSpPr>
              <p:cNvPr id="37" name="Donut 26"/>
              <p:cNvSpPr/>
              <p:nvPr/>
            </p:nvSpPr>
            <p:spPr>
              <a:xfrm>
                <a:off x="1536699" y="4273179"/>
                <a:ext cx="667123" cy="667122"/>
              </a:xfrm>
              <a:prstGeom prst="donut">
                <a:avLst>
                  <a:gd name="adj" fmla="val 16376"/>
                </a:avLst>
              </a:prstGeom>
              <a:solidFill>
                <a:srgbClr val="FFFFFF">
                  <a:alpha val="45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solidFill>
                    <a:schemeClr val="tx1"/>
                  </a:solidFill>
                </a:endParaRPr>
              </a:p>
            </p:txBody>
          </p:sp>
          <p:sp>
            <p:nvSpPr>
              <p:cNvPr id="38" name="TextBox 27"/>
              <p:cNvSpPr txBox="1">
                <a:spLocks noChangeArrowheads="1"/>
              </p:cNvSpPr>
              <p:nvPr/>
            </p:nvSpPr>
            <p:spPr bwMode="auto">
              <a:xfrm>
                <a:off x="1720850" y="4432300"/>
                <a:ext cx="28866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Calibri" pitchFamily="34" charset="0"/>
                    <a:ea typeface="ＭＳ Ｐゴシック" pitchFamily="34" charset="-128"/>
                  </a:defRPr>
                </a:lvl1pPr>
                <a:lvl2pPr marL="742950" indent="-285750" eaLnBrk="0" hangingPunct="0">
                  <a:defRPr sz="2400">
                    <a:solidFill>
                      <a:schemeClr val="tx1"/>
                    </a:solidFill>
                    <a:latin typeface="Calibri" pitchFamily="34" charset="0"/>
                    <a:ea typeface="ＭＳ Ｐゴシック" pitchFamily="34" charset="-128"/>
                  </a:defRPr>
                </a:lvl2pPr>
                <a:lvl3pPr marL="1143000" indent="-228600" eaLnBrk="0" hangingPunct="0">
                  <a:defRPr sz="2400">
                    <a:solidFill>
                      <a:schemeClr val="tx1"/>
                    </a:solidFill>
                    <a:latin typeface="Calibri" pitchFamily="34" charset="0"/>
                    <a:ea typeface="ＭＳ Ｐゴシック" pitchFamily="34" charset="-128"/>
                  </a:defRPr>
                </a:lvl3pPr>
                <a:lvl4pPr marL="1600200" indent="-228600" eaLnBrk="0" hangingPunct="0">
                  <a:defRPr sz="2400">
                    <a:solidFill>
                      <a:schemeClr val="tx1"/>
                    </a:solidFill>
                    <a:latin typeface="Calibri" pitchFamily="34" charset="0"/>
                    <a:ea typeface="ＭＳ Ｐゴシック" pitchFamily="34" charset="-128"/>
                  </a:defRPr>
                </a:lvl4pPr>
                <a:lvl5pPr marL="2057400" indent="-228600" eaLnBrk="0" hangingPunct="0">
                  <a:defRPr sz="2400">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ＭＳ Ｐゴシック" pitchFamily="34" charset="-128"/>
                  </a:defRPr>
                </a:lvl9pPr>
              </a:lstStyle>
              <a:p>
                <a:pPr eaLnBrk="1" hangingPunct="1"/>
                <a:r>
                  <a:rPr lang="tr-TR" sz="1600" b="1" dirty="0" smtClean="0"/>
                  <a:t>3</a:t>
                </a:r>
                <a:endParaRPr lang="en-US" sz="1600" b="1" dirty="0"/>
              </a:p>
            </p:txBody>
          </p:sp>
        </p:grpSp>
      </p:grpSp>
      <p:grpSp>
        <p:nvGrpSpPr>
          <p:cNvPr id="16" name="Grup 15"/>
          <p:cNvGrpSpPr/>
          <p:nvPr/>
        </p:nvGrpSpPr>
        <p:grpSpPr>
          <a:xfrm>
            <a:off x="4888507" y="4566816"/>
            <a:ext cx="1603273" cy="1445270"/>
            <a:chOff x="4848225" y="4365104"/>
            <a:chExt cx="1603273" cy="1445270"/>
          </a:xfrm>
        </p:grpSpPr>
        <p:sp>
          <p:nvSpPr>
            <p:cNvPr id="7" name="Oval 6"/>
            <p:cNvSpPr>
              <a:spLocks noChangeArrowheads="1"/>
            </p:cNvSpPr>
            <p:nvPr/>
          </p:nvSpPr>
          <p:spPr bwMode="auto">
            <a:xfrm>
              <a:off x="4848225" y="4391149"/>
              <a:ext cx="1419225" cy="1419225"/>
            </a:xfrm>
            <a:prstGeom prst="ellipse">
              <a:avLst/>
            </a:prstGeom>
            <a:gradFill rotWithShape="1">
              <a:gsLst>
                <a:gs pos="0">
                  <a:srgbClr val="F2F2F2"/>
                </a:gs>
                <a:gs pos="100000">
                  <a:srgbClr val="BFBFBF"/>
                </a:gs>
              </a:gsLst>
              <a:lin ang="5400000"/>
            </a:gradFill>
            <a:ln>
              <a:noFill/>
            </a:ln>
            <a:effectLst>
              <a:outerShdw blurRad="40000" dist="23000" dir="5400000" rotWithShape="0">
                <a:srgbClr val="808080">
                  <a:alpha val="34998"/>
                </a:srgbClr>
              </a:outerShdw>
            </a:effectLst>
            <a:extLst>
              <a:ext uri="{91240B29-F687-4F45-9708-019B960494DF}">
                <a14:hiddenLine xmlns:a14="http://schemas.microsoft.com/office/drawing/2010/main" w="9525">
                  <a:solidFill>
                    <a:srgbClr val="000000"/>
                  </a:solidFill>
                  <a:round/>
                  <a:headEnd/>
                  <a:tailEnd/>
                </a14:hiddenLine>
              </a:ext>
            </a:extLst>
          </p:spPr>
          <p:txBody>
            <a:bodyPr anchor="ctr"/>
            <a:lstStyle/>
            <a:p>
              <a:pPr algn="ctr" fontAlgn="auto">
                <a:spcBef>
                  <a:spcPts val="0"/>
                </a:spcBef>
                <a:spcAft>
                  <a:spcPts val="0"/>
                </a:spcAft>
                <a:defRPr/>
              </a:pPr>
              <a:endParaRPr lang="en-US">
                <a:solidFill>
                  <a:schemeClr val="lt1"/>
                </a:solidFill>
                <a:latin typeface="+mn-lt"/>
                <a:ea typeface="+mn-ea"/>
              </a:endParaRPr>
            </a:p>
          </p:txBody>
        </p:sp>
        <p:sp>
          <p:nvSpPr>
            <p:cNvPr id="13326" name="TextBox 20"/>
            <p:cNvSpPr txBox="1">
              <a:spLocks noChangeArrowheads="1"/>
            </p:cNvSpPr>
            <p:nvPr/>
          </p:nvSpPr>
          <p:spPr bwMode="auto">
            <a:xfrm>
              <a:off x="4932040" y="4931876"/>
              <a:ext cx="1303306"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Calibri" pitchFamily="34" charset="0"/>
                  <a:ea typeface="ＭＳ Ｐゴシック" pitchFamily="34" charset="-128"/>
                </a:defRPr>
              </a:lvl1pPr>
              <a:lvl2pPr marL="742950" indent="-285750" eaLnBrk="0" hangingPunct="0">
                <a:defRPr sz="2400">
                  <a:solidFill>
                    <a:schemeClr val="tx1"/>
                  </a:solidFill>
                  <a:latin typeface="Calibri" pitchFamily="34" charset="0"/>
                  <a:ea typeface="ＭＳ Ｐゴシック" pitchFamily="34" charset="-128"/>
                </a:defRPr>
              </a:lvl2pPr>
              <a:lvl3pPr marL="1143000" indent="-228600" eaLnBrk="0" hangingPunct="0">
                <a:defRPr sz="2400">
                  <a:solidFill>
                    <a:schemeClr val="tx1"/>
                  </a:solidFill>
                  <a:latin typeface="Calibri" pitchFamily="34" charset="0"/>
                  <a:ea typeface="ＭＳ Ｐゴシック" pitchFamily="34" charset="-128"/>
                </a:defRPr>
              </a:lvl3pPr>
              <a:lvl4pPr marL="1600200" indent="-228600" eaLnBrk="0" hangingPunct="0">
                <a:defRPr sz="2400">
                  <a:solidFill>
                    <a:schemeClr val="tx1"/>
                  </a:solidFill>
                  <a:latin typeface="Calibri" pitchFamily="34" charset="0"/>
                  <a:ea typeface="ＭＳ Ｐゴシック" pitchFamily="34" charset="-128"/>
                </a:defRPr>
              </a:lvl4pPr>
              <a:lvl5pPr marL="2057400" indent="-228600" eaLnBrk="0" hangingPunct="0">
                <a:defRPr sz="2400">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ＭＳ Ｐゴシック" pitchFamily="34" charset="-128"/>
                </a:defRPr>
              </a:lvl9pPr>
            </a:lstStyle>
            <a:p>
              <a:pPr lvl="0"/>
              <a:r>
                <a:rPr lang="tr-TR" sz="1800" b="1" dirty="0" smtClean="0"/>
                <a:t>MUHAFAZA</a:t>
              </a:r>
              <a:endParaRPr lang="tr-TR" sz="1800" b="1" dirty="0"/>
            </a:p>
          </p:txBody>
        </p:sp>
        <p:grpSp>
          <p:nvGrpSpPr>
            <p:cNvPr id="39" name="Group 2"/>
            <p:cNvGrpSpPr>
              <a:grpSpLocks/>
            </p:cNvGrpSpPr>
            <p:nvPr/>
          </p:nvGrpSpPr>
          <p:grpSpPr bwMode="auto">
            <a:xfrm>
              <a:off x="5784748" y="4365104"/>
              <a:ext cx="666750" cy="666750"/>
              <a:chOff x="1536699" y="4273179"/>
              <a:chExt cx="667123" cy="667122"/>
            </a:xfrm>
          </p:grpSpPr>
          <p:sp>
            <p:nvSpPr>
              <p:cNvPr id="40" name="Oval 39"/>
              <p:cNvSpPr>
                <a:spLocks noChangeArrowheads="1"/>
              </p:cNvSpPr>
              <p:nvPr/>
            </p:nvSpPr>
            <p:spPr bwMode="auto">
              <a:xfrm>
                <a:off x="1678066" y="4419310"/>
                <a:ext cx="378036" cy="378036"/>
              </a:xfrm>
              <a:prstGeom prst="ellipse">
                <a:avLst/>
              </a:prstGeom>
              <a:gradFill rotWithShape="1">
                <a:gsLst>
                  <a:gs pos="0">
                    <a:srgbClr val="F2F2F2"/>
                  </a:gs>
                  <a:gs pos="100000">
                    <a:srgbClr val="BFBFBF"/>
                  </a:gs>
                </a:gsLst>
                <a:lin ang="5400000"/>
              </a:gradFill>
              <a:ln>
                <a:noFill/>
              </a:ln>
              <a:effectLst>
                <a:outerShdw blurRad="40000" dist="23000" dir="5400000" rotWithShape="0">
                  <a:srgbClr val="808080">
                    <a:alpha val="34998"/>
                  </a:srgbClr>
                </a:outerShdw>
              </a:effectLst>
              <a:extLst>
                <a:ext uri="{91240B29-F687-4F45-9708-019B960494DF}">
                  <a14:hiddenLine xmlns:a14="http://schemas.microsoft.com/office/drawing/2010/main" w="9525">
                    <a:solidFill>
                      <a:srgbClr val="000000"/>
                    </a:solidFill>
                    <a:round/>
                    <a:headEnd/>
                    <a:tailEnd/>
                  </a14:hiddenLine>
                </a:ext>
              </a:extLst>
            </p:spPr>
            <p:txBody>
              <a:bodyPr anchor="ctr"/>
              <a:lstStyle/>
              <a:p>
                <a:pPr algn="ctr" fontAlgn="auto">
                  <a:spcBef>
                    <a:spcPts val="0"/>
                  </a:spcBef>
                  <a:spcAft>
                    <a:spcPts val="0"/>
                  </a:spcAft>
                  <a:defRPr/>
                </a:pPr>
                <a:endParaRPr lang="en-US">
                  <a:latin typeface="Calibri" charset="0"/>
                  <a:ea typeface="ＭＳ Ｐゴシック" charset="0"/>
                  <a:cs typeface="ＭＳ Ｐゴシック" charset="0"/>
                </a:endParaRPr>
              </a:p>
            </p:txBody>
          </p:sp>
          <p:sp>
            <p:nvSpPr>
              <p:cNvPr id="41" name="Donut 26"/>
              <p:cNvSpPr/>
              <p:nvPr/>
            </p:nvSpPr>
            <p:spPr>
              <a:xfrm>
                <a:off x="1536699" y="4273179"/>
                <a:ext cx="667123" cy="667122"/>
              </a:xfrm>
              <a:prstGeom prst="donut">
                <a:avLst>
                  <a:gd name="adj" fmla="val 16376"/>
                </a:avLst>
              </a:prstGeom>
              <a:solidFill>
                <a:srgbClr val="FFFFFF">
                  <a:alpha val="45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solidFill>
                    <a:schemeClr val="tx1"/>
                  </a:solidFill>
                </a:endParaRPr>
              </a:p>
            </p:txBody>
          </p:sp>
          <p:sp>
            <p:nvSpPr>
              <p:cNvPr id="42" name="TextBox 27"/>
              <p:cNvSpPr txBox="1">
                <a:spLocks noChangeArrowheads="1"/>
              </p:cNvSpPr>
              <p:nvPr/>
            </p:nvSpPr>
            <p:spPr bwMode="auto">
              <a:xfrm>
                <a:off x="1720850" y="4432300"/>
                <a:ext cx="28866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Calibri" pitchFamily="34" charset="0"/>
                    <a:ea typeface="ＭＳ Ｐゴシック" pitchFamily="34" charset="-128"/>
                  </a:defRPr>
                </a:lvl1pPr>
                <a:lvl2pPr marL="742950" indent="-285750" eaLnBrk="0" hangingPunct="0">
                  <a:defRPr sz="2400">
                    <a:solidFill>
                      <a:schemeClr val="tx1"/>
                    </a:solidFill>
                    <a:latin typeface="Calibri" pitchFamily="34" charset="0"/>
                    <a:ea typeface="ＭＳ Ｐゴシック" pitchFamily="34" charset="-128"/>
                  </a:defRPr>
                </a:lvl2pPr>
                <a:lvl3pPr marL="1143000" indent="-228600" eaLnBrk="0" hangingPunct="0">
                  <a:defRPr sz="2400">
                    <a:solidFill>
                      <a:schemeClr val="tx1"/>
                    </a:solidFill>
                    <a:latin typeface="Calibri" pitchFamily="34" charset="0"/>
                    <a:ea typeface="ＭＳ Ｐゴシック" pitchFamily="34" charset="-128"/>
                  </a:defRPr>
                </a:lvl3pPr>
                <a:lvl4pPr marL="1600200" indent="-228600" eaLnBrk="0" hangingPunct="0">
                  <a:defRPr sz="2400">
                    <a:solidFill>
                      <a:schemeClr val="tx1"/>
                    </a:solidFill>
                    <a:latin typeface="Calibri" pitchFamily="34" charset="0"/>
                    <a:ea typeface="ＭＳ Ｐゴシック" pitchFamily="34" charset="-128"/>
                  </a:defRPr>
                </a:lvl4pPr>
                <a:lvl5pPr marL="2057400" indent="-228600" eaLnBrk="0" hangingPunct="0">
                  <a:defRPr sz="2400">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ＭＳ Ｐゴシック" pitchFamily="34" charset="-128"/>
                  </a:defRPr>
                </a:lvl9pPr>
              </a:lstStyle>
              <a:p>
                <a:pPr eaLnBrk="1" hangingPunct="1"/>
                <a:r>
                  <a:rPr lang="tr-TR" sz="1600" b="1" dirty="0" smtClean="0"/>
                  <a:t>4</a:t>
                </a:r>
                <a:endParaRPr lang="en-US" sz="1600" b="1" dirty="0"/>
              </a:p>
            </p:txBody>
          </p:sp>
        </p:grpSp>
      </p:grpSp>
      <p:grpSp>
        <p:nvGrpSpPr>
          <p:cNvPr id="17" name="Grup 16"/>
          <p:cNvGrpSpPr/>
          <p:nvPr/>
        </p:nvGrpSpPr>
        <p:grpSpPr>
          <a:xfrm>
            <a:off x="2440582" y="4592861"/>
            <a:ext cx="1754188" cy="1419225"/>
            <a:chOff x="2400300" y="4391149"/>
            <a:chExt cx="1754188" cy="1419225"/>
          </a:xfrm>
        </p:grpSpPr>
        <p:sp>
          <p:nvSpPr>
            <p:cNvPr id="6" name="Oval 5"/>
            <p:cNvSpPr>
              <a:spLocks noChangeArrowheads="1"/>
            </p:cNvSpPr>
            <p:nvPr/>
          </p:nvSpPr>
          <p:spPr bwMode="auto">
            <a:xfrm>
              <a:off x="2733675" y="4391149"/>
              <a:ext cx="1420813" cy="1419225"/>
            </a:xfrm>
            <a:prstGeom prst="ellipse">
              <a:avLst/>
            </a:prstGeom>
            <a:gradFill rotWithShape="1">
              <a:gsLst>
                <a:gs pos="0">
                  <a:srgbClr val="F2F2F2"/>
                </a:gs>
                <a:gs pos="100000">
                  <a:srgbClr val="BFBFBF"/>
                </a:gs>
              </a:gsLst>
              <a:lin ang="5400000"/>
            </a:gradFill>
            <a:ln>
              <a:noFill/>
            </a:ln>
            <a:effectLst>
              <a:outerShdw blurRad="40000" dist="23000" dir="5400000" rotWithShape="0">
                <a:srgbClr val="808080">
                  <a:alpha val="34998"/>
                </a:srgbClr>
              </a:outerShdw>
            </a:effectLst>
            <a:extLst>
              <a:ext uri="{91240B29-F687-4F45-9708-019B960494DF}">
                <a14:hiddenLine xmlns:a14="http://schemas.microsoft.com/office/drawing/2010/main" w="9525">
                  <a:solidFill>
                    <a:srgbClr val="000000"/>
                  </a:solidFill>
                  <a:round/>
                  <a:headEnd/>
                  <a:tailEnd/>
                </a14:hiddenLine>
              </a:ext>
            </a:extLst>
          </p:spPr>
          <p:txBody>
            <a:bodyPr anchor="ctr"/>
            <a:lstStyle/>
            <a:p>
              <a:pPr algn="ctr" fontAlgn="auto">
                <a:spcBef>
                  <a:spcPts val="0"/>
                </a:spcBef>
                <a:spcAft>
                  <a:spcPts val="0"/>
                </a:spcAft>
                <a:defRPr/>
              </a:pPr>
              <a:endParaRPr lang="en-US">
                <a:solidFill>
                  <a:schemeClr val="lt1"/>
                </a:solidFill>
                <a:latin typeface="+mn-lt"/>
                <a:ea typeface="+mn-ea"/>
              </a:endParaRPr>
            </a:p>
          </p:txBody>
        </p:sp>
        <p:sp>
          <p:nvSpPr>
            <p:cNvPr id="13327" name="TextBox 21"/>
            <p:cNvSpPr txBox="1">
              <a:spLocks noChangeArrowheads="1"/>
            </p:cNvSpPr>
            <p:nvPr/>
          </p:nvSpPr>
          <p:spPr bwMode="auto">
            <a:xfrm>
              <a:off x="3024577" y="4931876"/>
              <a:ext cx="75533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Calibri" pitchFamily="34" charset="0"/>
                  <a:ea typeface="ＭＳ Ｐゴシック" pitchFamily="34" charset="-128"/>
                </a:defRPr>
              </a:lvl1pPr>
              <a:lvl2pPr marL="742950" indent="-285750" eaLnBrk="0" hangingPunct="0">
                <a:defRPr sz="2400">
                  <a:solidFill>
                    <a:schemeClr val="tx1"/>
                  </a:solidFill>
                  <a:latin typeface="Calibri" pitchFamily="34" charset="0"/>
                  <a:ea typeface="ＭＳ Ｐゴシック" pitchFamily="34" charset="-128"/>
                </a:defRPr>
              </a:lvl2pPr>
              <a:lvl3pPr marL="1143000" indent="-228600" eaLnBrk="0" hangingPunct="0">
                <a:defRPr sz="2400">
                  <a:solidFill>
                    <a:schemeClr val="tx1"/>
                  </a:solidFill>
                  <a:latin typeface="Calibri" pitchFamily="34" charset="0"/>
                  <a:ea typeface="ＭＳ Ｐゴシック" pitchFamily="34" charset="-128"/>
                </a:defRPr>
              </a:lvl3pPr>
              <a:lvl4pPr marL="1600200" indent="-228600" eaLnBrk="0" hangingPunct="0">
                <a:defRPr sz="2400">
                  <a:solidFill>
                    <a:schemeClr val="tx1"/>
                  </a:solidFill>
                  <a:latin typeface="Calibri" pitchFamily="34" charset="0"/>
                  <a:ea typeface="ＭＳ Ｐゴシック" pitchFamily="34" charset="-128"/>
                </a:defRPr>
              </a:lvl4pPr>
              <a:lvl5pPr marL="2057400" indent="-228600" eaLnBrk="0" hangingPunct="0">
                <a:defRPr sz="2400">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ＭＳ Ｐゴシック" pitchFamily="34" charset="-128"/>
                </a:defRPr>
              </a:lvl9pPr>
            </a:lstStyle>
            <a:p>
              <a:pPr lvl="0"/>
              <a:r>
                <a:rPr lang="tr-TR" sz="1800" b="1" dirty="0" smtClean="0"/>
                <a:t>İBRAZ</a:t>
              </a:r>
              <a:endParaRPr lang="tr-TR" sz="1800" b="1" dirty="0"/>
            </a:p>
          </p:txBody>
        </p:sp>
        <p:grpSp>
          <p:nvGrpSpPr>
            <p:cNvPr id="43" name="Group 2"/>
            <p:cNvGrpSpPr>
              <a:grpSpLocks/>
            </p:cNvGrpSpPr>
            <p:nvPr/>
          </p:nvGrpSpPr>
          <p:grpSpPr bwMode="auto">
            <a:xfrm>
              <a:off x="2400300" y="4488661"/>
              <a:ext cx="666750" cy="666750"/>
              <a:chOff x="1536699" y="4273179"/>
              <a:chExt cx="667123" cy="667122"/>
            </a:xfrm>
          </p:grpSpPr>
          <p:sp>
            <p:nvSpPr>
              <p:cNvPr id="44" name="Oval 43"/>
              <p:cNvSpPr>
                <a:spLocks noChangeArrowheads="1"/>
              </p:cNvSpPr>
              <p:nvPr/>
            </p:nvSpPr>
            <p:spPr bwMode="auto">
              <a:xfrm>
                <a:off x="1678066" y="4419310"/>
                <a:ext cx="378036" cy="378036"/>
              </a:xfrm>
              <a:prstGeom prst="ellipse">
                <a:avLst/>
              </a:prstGeom>
              <a:gradFill rotWithShape="1">
                <a:gsLst>
                  <a:gs pos="0">
                    <a:srgbClr val="F2F2F2"/>
                  </a:gs>
                  <a:gs pos="100000">
                    <a:srgbClr val="BFBFBF"/>
                  </a:gs>
                </a:gsLst>
                <a:lin ang="5400000"/>
              </a:gradFill>
              <a:ln>
                <a:noFill/>
              </a:ln>
              <a:effectLst>
                <a:outerShdw blurRad="40000" dist="23000" dir="5400000" rotWithShape="0">
                  <a:srgbClr val="808080">
                    <a:alpha val="34998"/>
                  </a:srgbClr>
                </a:outerShdw>
              </a:effectLst>
              <a:extLst>
                <a:ext uri="{91240B29-F687-4F45-9708-019B960494DF}">
                  <a14:hiddenLine xmlns:a14="http://schemas.microsoft.com/office/drawing/2010/main" w="9525">
                    <a:solidFill>
                      <a:srgbClr val="000000"/>
                    </a:solidFill>
                    <a:round/>
                    <a:headEnd/>
                    <a:tailEnd/>
                  </a14:hiddenLine>
                </a:ext>
              </a:extLst>
            </p:spPr>
            <p:txBody>
              <a:bodyPr anchor="ctr"/>
              <a:lstStyle/>
              <a:p>
                <a:pPr algn="ctr" fontAlgn="auto">
                  <a:spcBef>
                    <a:spcPts val="0"/>
                  </a:spcBef>
                  <a:spcAft>
                    <a:spcPts val="0"/>
                  </a:spcAft>
                  <a:defRPr/>
                </a:pPr>
                <a:endParaRPr lang="en-US">
                  <a:latin typeface="Calibri" charset="0"/>
                  <a:ea typeface="ＭＳ Ｐゴシック" charset="0"/>
                  <a:cs typeface="ＭＳ Ｐゴシック" charset="0"/>
                </a:endParaRPr>
              </a:p>
            </p:txBody>
          </p:sp>
          <p:sp>
            <p:nvSpPr>
              <p:cNvPr id="45" name="Donut 26"/>
              <p:cNvSpPr/>
              <p:nvPr/>
            </p:nvSpPr>
            <p:spPr>
              <a:xfrm>
                <a:off x="1536699" y="4273179"/>
                <a:ext cx="667123" cy="667122"/>
              </a:xfrm>
              <a:prstGeom prst="donut">
                <a:avLst>
                  <a:gd name="adj" fmla="val 16376"/>
                </a:avLst>
              </a:prstGeom>
              <a:solidFill>
                <a:srgbClr val="FFFFFF">
                  <a:alpha val="45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solidFill>
                    <a:schemeClr val="tx1"/>
                  </a:solidFill>
                </a:endParaRPr>
              </a:p>
            </p:txBody>
          </p:sp>
          <p:sp>
            <p:nvSpPr>
              <p:cNvPr id="46" name="TextBox 27"/>
              <p:cNvSpPr txBox="1">
                <a:spLocks noChangeArrowheads="1"/>
              </p:cNvSpPr>
              <p:nvPr/>
            </p:nvSpPr>
            <p:spPr bwMode="auto">
              <a:xfrm>
                <a:off x="1720850" y="4432300"/>
                <a:ext cx="28866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Calibri" pitchFamily="34" charset="0"/>
                    <a:ea typeface="ＭＳ Ｐゴシック" pitchFamily="34" charset="-128"/>
                  </a:defRPr>
                </a:lvl1pPr>
                <a:lvl2pPr marL="742950" indent="-285750" eaLnBrk="0" hangingPunct="0">
                  <a:defRPr sz="2400">
                    <a:solidFill>
                      <a:schemeClr val="tx1"/>
                    </a:solidFill>
                    <a:latin typeface="Calibri" pitchFamily="34" charset="0"/>
                    <a:ea typeface="ＭＳ Ｐゴシック" pitchFamily="34" charset="-128"/>
                  </a:defRPr>
                </a:lvl2pPr>
                <a:lvl3pPr marL="1143000" indent="-228600" eaLnBrk="0" hangingPunct="0">
                  <a:defRPr sz="2400">
                    <a:solidFill>
                      <a:schemeClr val="tx1"/>
                    </a:solidFill>
                    <a:latin typeface="Calibri" pitchFamily="34" charset="0"/>
                    <a:ea typeface="ＭＳ Ｐゴシック" pitchFamily="34" charset="-128"/>
                  </a:defRPr>
                </a:lvl3pPr>
                <a:lvl4pPr marL="1600200" indent="-228600" eaLnBrk="0" hangingPunct="0">
                  <a:defRPr sz="2400">
                    <a:solidFill>
                      <a:schemeClr val="tx1"/>
                    </a:solidFill>
                    <a:latin typeface="Calibri" pitchFamily="34" charset="0"/>
                    <a:ea typeface="ＭＳ Ｐゴシック" pitchFamily="34" charset="-128"/>
                  </a:defRPr>
                </a:lvl4pPr>
                <a:lvl5pPr marL="2057400" indent="-228600" eaLnBrk="0" hangingPunct="0">
                  <a:defRPr sz="2400">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ＭＳ Ｐゴシック" pitchFamily="34" charset="-128"/>
                  </a:defRPr>
                </a:lvl9pPr>
              </a:lstStyle>
              <a:p>
                <a:pPr eaLnBrk="1" hangingPunct="1"/>
                <a:r>
                  <a:rPr lang="tr-TR" sz="1600" b="1" dirty="0" smtClean="0"/>
                  <a:t>5</a:t>
                </a:r>
                <a:endParaRPr lang="en-US" sz="1600" b="1" dirty="0"/>
              </a:p>
            </p:txBody>
          </p:sp>
        </p:grpSp>
      </p:grpSp>
      <p:sp>
        <p:nvSpPr>
          <p:cNvPr id="48" name="Metin kutusu 47"/>
          <p:cNvSpPr txBox="1"/>
          <p:nvPr/>
        </p:nvSpPr>
        <p:spPr>
          <a:xfrm>
            <a:off x="1079612" y="332656"/>
            <a:ext cx="6984776" cy="523220"/>
          </a:xfrm>
          <a:prstGeom prst="rect">
            <a:avLst/>
          </a:prstGeom>
          <a:noFill/>
        </p:spPr>
        <p:txBody>
          <a:bodyPr wrap="square" rtlCol="0">
            <a:spAutoFit/>
          </a:bodyPr>
          <a:lstStyle/>
          <a:p>
            <a:pPr algn="ctr"/>
            <a:r>
              <a:rPr lang="tr-TR" sz="2800" b="1" dirty="0" smtClean="0">
                <a:latin typeface="+mj-lt"/>
                <a:ea typeface="+mj-ea"/>
                <a:cs typeface="+mj-cs"/>
              </a:rPr>
              <a:t>E-FATURA YENİ BİR BELGE TÜRÜ MÜDÜR?</a:t>
            </a:r>
            <a:endParaRPr lang="tr-TR" sz="2800" b="1" dirty="0">
              <a:latin typeface="+mj-lt"/>
            </a:endParaRPr>
          </a:p>
        </p:txBody>
      </p:sp>
      <p:sp>
        <p:nvSpPr>
          <p:cNvPr id="51" name="Metin kutusu 50"/>
          <p:cNvSpPr txBox="1"/>
          <p:nvPr/>
        </p:nvSpPr>
        <p:spPr>
          <a:xfrm>
            <a:off x="6012160" y="980728"/>
            <a:ext cx="3004249" cy="769441"/>
          </a:xfrm>
          <a:prstGeom prst="rect">
            <a:avLst/>
          </a:prstGeom>
          <a:noFill/>
        </p:spPr>
        <p:txBody>
          <a:bodyPr wrap="square" rtlCol="0">
            <a:spAutoFit/>
          </a:bodyPr>
          <a:lstStyle/>
          <a:p>
            <a:pPr lvl="0" algn="ctr"/>
            <a:r>
              <a:rPr lang="tr-TR" sz="2400" b="1" i="1" dirty="0"/>
              <a:t>Kağıt fatura ile </a:t>
            </a:r>
            <a:r>
              <a:rPr lang="tr-TR" sz="2400" b="1" i="1" dirty="0" smtClean="0"/>
              <a:t>aynı</a:t>
            </a:r>
            <a:endParaRPr lang="tr-TR" sz="2000" b="1" i="1" dirty="0"/>
          </a:p>
          <a:p>
            <a:pPr algn="ctr"/>
            <a:endParaRPr lang="tr-TR" sz="2000" b="1" i="1" dirty="0"/>
          </a:p>
        </p:txBody>
      </p:sp>
      <p:grpSp>
        <p:nvGrpSpPr>
          <p:cNvPr id="18" name="Grup 17"/>
          <p:cNvGrpSpPr/>
          <p:nvPr/>
        </p:nvGrpSpPr>
        <p:grpSpPr>
          <a:xfrm>
            <a:off x="3774282" y="3062199"/>
            <a:ext cx="1595437" cy="1597699"/>
            <a:chOff x="3774282" y="3062199"/>
            <a:chExt cx="1595437" cy="1597699"/>
          </a:xfrm>
        </p:grpSpPr>
        <p:sp>
          <p:nvSpPr>
            <p:cNvPr id="52" name="Oval 51"/>
            <p:cNvSpPr>
              <a:spLocks noChangeArrowheads="1"/>
            </p:cNvSpPr>
            <p:nvPr/>
          </p:nvSpPr>
          <p:spPr bwMode="auto">
            <a:xfrm>
              <a:off x="3774282" y="3062199"/>
              <a:ext cx="1595437" cy="1597699"/>
            </a:xfrm>
            <a:prstGeom prst="ellipse">
              <a:avLst/>
            </a:prstGeom>
            <a:solidFill>
              <a:srgbClr val="FFC000">
                <a:alpha val="76000"/>
              </a:srgbClr>
            </a:solidFill>
            <a:ln>
              <a:noFill/>
            </a:ln>
            <a:effectLst>
              <a:outerShdw blurRad="40000" dist="23000" dir="5400000" rotWithShape="0">
                <a:srgbClr val="808080">
                  <a:alpha val="34998"/>
                </a:srgbClr>
              </a:outerShdw>
            </a:effectLst>
            <a:extLst/>
          </p:spPr>
          <p:txBody>
            <a:bodyPr anchor="ctr"/>
            <a:lstStyle/>
            <a:p>
              <a:pPr algn="ctr" fontAlgn="auto">
                <a:spcBef>
                  <a:spcPts val="0"/>
                </a:spcBef>
                <a:spcAft>
                  <a:spcPts val="0"/>
                </a:spcAft>
                <a:defRPr/>
              </a:pPr>
              <a:endParaRPr lang="tr-TR" b="1" dirty="0" smtClean="0"/>
            </a:p>
            <a:p>
              <a:pPr algn="ctr" fontAlgn="auto">
                <a:spcBef>
                  <a:spcPts val="0"/>
                </a:spcBef>
                <a:spcAft>
                  <a:spcPts val="0"/>
                </a:spcAft>
                <a:defRPr/>
              </a:pPr>
              <a:endParaRPr lang="tr-TR" b="1" dirty="0" smtClean="0"/>
            </a:p>
            <a:p>
              <a:pPr algn="ctr" fontAlgn="auto">
                <a:spcBef>
                  <a:spcPts val="0"/>
                </a:spcBef>
                <a:spcAft>
                  <a:spcPts val="0"/>
                </a:spcAft>
                <a:defRPr/>
              </a:pPr>
              <a:endParaRPr lang="en-US" b="1" dirty="0"/>
            </a:p>
            <a:p>
              <a:pPr algn="ctr" fontAlgn="auto">
                <a:spcBef>
                  <a:spcPts val="0"/>
                </a:spcBef>
                <a:spcAft>
                  <a:spcPts val="0"/>
                </a:spcAft>
                <a:defRPr/>
              </a:pPr>
              <a:endParaRPr lang="en-US" dirty="0">
                <a:solidFill>
                  <a:schemeClr val="lt1"/>
                </a:solidFill>
              </a:endParaRPr>
            </a:p>
          </p:txBody>
        </p:sp>
        <p:sp>
          <p:nvSpPr>
            <p:cNvPr id="3" name="Metin kutusu 2"/>
            <p:cNvSpPr txBox="1"/>
            <p:nvPr/>
          </p:nvSpPr>
          <p:spPr>
            <a:xfrm>
              <a:off x="3867686" y="3640004"/>
              <a:ext cx="1427186" cy="461665"/>
            </a:xfrm>
            <a:prstGeom prst="rect">
              <a:avLst/>
            </a:prstGeom>
            <a:noFill/>
          </p:spPr>
          <p:txBody>
            <a:bodyPr wrap="none" rtlCol="0">
              <a:spAutoFit/>
            </a:bodyPr>
            <a:lstStyle/>
            <a:p>
              <a:pPr algn="ctr"/>
              <a:r>
                <a:rPr lang="tr-TR" sz="2400" b="1" dirty="0" smtClean="0"/>
                <a:t>E-FATURA</a:t>
              </a:r>
              <a:endParaRPr lang="tr-TR" sz="2400" b="1" dirty="0"/>
            </a:p>
          </p:txBody>
        </p:sp>
      </p:grpSp>
    </p:spTree>
    <p:extLst>
      <p:ext uri="{BB962C8B-B14F-4D97-AF65-F5344CB8AC3E}">
        <p14:creationId xmlns:p14="http://schemas.microsoft.com/office/powerpoint/2010/main" val="44095929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1000"/>
                                        <p:tgtEl>
                                          <p:spTgt spid="10"/>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1000"/>
                                        <p:tgtEl>
                                          <p:spTgt spid="11"/>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fade">
                                      <p:cBhvr>
                                        <p:cTn id="15" dur="1000"/>
                                        <p:tgtEl>
                                          <p:spTgt spid="12"/>
                                        </p:tgtEl>
                                      </p:cBhvr>
                                    </p:animEffect>
                                  </p:childTnLst>
                                </p:cTn>
                              </p:par>
                            </p:childTnLst>
                          </p:cTn>
                        </p:par>
                        <p:par>
                          <p:cTn id="16" fill="hold">
                            <p:stCondLst>
                              <p:cond delay="3000"/>
                            </p:stCondLst>
                            <p:childTnLst>
                              <p:par>
                                <p:cTn id="17" presetID="10" presetClass="entr" presetSubtype="0" fill="hold" nodeType="after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fade">
                                      <p:cBhvr>
                                        <p:cTn id="19" dur="1000"/>
                                        <p:tgtEl>
                                          <p:spTgt spid="16"/>
                                        </p:tgtEl>
                                      </p:cBhvr>
                                    </p:animEffect>
                                  </p:childTnLst>
                                </p:cTn>
                              </p:par>
                            </p:childTnLst>
                          </p:cTn>
                        </p:par>
                        <p:par>
                          <p:cTn id="20" fill="hold">
                            <p:stCondLst>
                              <p:cond delay="4000"/>
                            </p:stCondLst>
                            <p:childTnLst>
                              <p:par>
                                <p:cTn id="21" presetID="10" presetClass="entr" presetSubtype="0" fill="hold" nodeType="afterEffect">
                                  <p:stCondLst>
                                    <p:cond delay="0"/>
                                  </p:stCondLst>
                                  <p:childTnLst>
                                    <p:set>
                                      <p:cBhvr>
                                        <p:cTn id="22" dur="1" fill="hold">
                                          <p:stCondLst>
                                            <p:cond delay="0"/>
                                          </p:stCondLst>
                                        </p:cTn>
                                        <p:tgtEl>
                                          <p:spTgt spid="17"/>
                                        </p:tgtEl>
                                        <p:attrNameLst>
                                          <p:attrName>style.visibility</p:attrName>
                                        </p:attrNameLst>
                                      </p:cBhvr>
                                      <p:to>
                                        <p:strVal val="visible"/>
                                      </p:to>
                                    </p:set>
                                    <p:animEffect transition="in" filter="fade">
                                      <p:cBhvr>
                                        <p:cTn id="23" dur="1000"/>
                                        <p:tgtEl>
                                          <p:spTgt spid="17"/>
                                        </p:tgtEl>
                                      </p:cBhvr>
                                    </p:animEffect>
                                  </p:childTnLst>
                                </p:cTn>
                              </p:par>
                            </p:childTnLst>
                          </p:cTn>
                        </p:par>
                        <p:par>
                          <p:cTn id="24" fill="hold">
                            <p:stCondLst>
                              <p:cond delay="5000"/>
                            </p:stCondLst>
                            <p:childTnLst>
                              <p:par>
                                <p:cTn id="25" presetID="10" presetClass="entr" presetSubtype="0" fill="hold" nodeType="afterEffect">
                                  <p:stCondLst>
                                    <p:cond delay="0"/>
                                  </p:stCondLst>
                                  <p:childTnLst>
                                    <p:set>
                                      <p:cBhvr>
                                        <p:cTn id="26" dur="1" fill="hold">
                                          <p:stCondLst>
                                            <p:cond delay="0"/>
                                          </p:stCondLst>
                                        </p:cTn>
                                        <p:tgtEl>
                                          <p:spTgt spid="18"/>
                                        </p:tgtEl>
                                        <p:attrNameLst>
                                          <p:attrName>style.visibility</p:attrName>
                                        </p:attrNameLst>
                                      </p:cBhvr>
                                      <p:to>
                                        <p:strVal val="visible"/>
                                      </p:to>
                                    </p:set>
                                    <p:animEffect transition="in" filter="fade">
                                      <p:cBhvr>
                                        <p:cTn id="27"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Yukarı Bükülü Ok 8"/>
          <p:cNvSpPr/>
          <p:nvPr/>
        </p:nvSpPr>
        <p:spPr>
          <a:xfrm>
            <a:off x="5358693" y="3835837"/>
            <a:ext cx="2597683" cy="324000"/>
          </a:xfrm>
          <a:prstGeom prst="curvedUpArrow">
            <a:avLst>
              <a:gd name="adj1" fmla="val 34036"/>
              <a:gd name="adj2" fmla="val 78857"/>
              <a:gd name="adj3" fmla="val 50987"/>
            </a:avLst>
          </a:prstGeom>
          <a:gradFill>
            <a:gsLst>
              <a:gs pos="0">
                <a:schemeClr val="accent5">
                  <a:lumMod val="75000"/>
                </a:schemeClr>
              </a:gs>
              <a:gs pos="35000">
                <a:schemeClr val="accent5">
                  <a:lumMod val="60000"/>
                  <a:lumOff val="40000"/>
                </a:schemeClr>
              </a:gs>
              <a:gs pos="100000">
                <a:schemeClr val="accent5">
                  <a:lumMod val="40000"/>
                  <a:lumOff val="60000"/>
                </a:schemeClr>
              </a:gs>
            </a:gsLst>
          </a:gradFill>
          <a:ln>
            <a:solidFill>
              <a:schemeClr val="accent5">
                <a:lumMod val="75000"/>
              </a:schemeClr>
            </a:solid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tr-TR" dirty="0">
              <a:solidFill>
                <a:schemeClr val="tx2">
                  <a:lumMod val="50000"/>
                </a:schemeClr>
              </a:solidFill>
            </a:endParaRPr>
          </a:p>
        </p:txBody>
      </p:sp>
      <p:sp>
        <p:nvSpPr>
          <p:cNvPr id="12" name="Yukarı Bükülü Ok 11"/>
          <p:cNvSpPr/>
          <p:nvPr/>
        </p:nvSpPr>
        <p:spPr>
          <a:xfrm>
            <a:off x="971600" y="3835837"/>
            <a:ext cx="2597683" cy="324000"/>
          </a:xfrm>
          <a:prstGeom prst="curvedUpArrow">
            <a:avLst>
              <a:gd name="adj1" fmla="val 34036"/>
              <a:gd name="adj2" fmla="val 86552"/>
              <a:gd name="adj3" fmla="val 50987"/>
            </a:avLst>
          </a:prstGeom>
          <a:gradFill>
            <a:gsLst>
              <a:gs pos="0">
                <a:schemeClr val="accent5">
                  <a:lumMod val="75000"/>
                </a:schemeClr>
              </a:gs>
              <a:gs pos="35000">
                <a:schemeClr val="accent5">
                  <a:lumMod val="60000"/>
                  <a:lumOff val="40000"/>
                </a:schemeClr>
              </a:gs>
              <a:gs pos="100000">
                <a:schemeClr val="accent5">
                  <a:lumMod val="40000"/>
                  <a:lumOff val="60000"/>
                </a:schemeClr>
              </a:gs>
            </a:gsLst>
          </a:gradFill>
          <a:ln>
            <a:solidFill>
              <a:schemeClr val="accent5">
                <a:lumMod val="75000"/>
              </a:schemeClr>
            </a:solid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tr-TR" dirty="0">
              <a:solidFill>
                <a:schemeClr val="tx2">
                  <a:lumMod val="50000"/>
                </a:schemeClr>
              </a:solidFill>
            </a:endParaRPr>
          </a:p>
        </p:txBody>
      </p:sp>
      <p:pic>
        <p:nvPicPr>
          <p:cNvPr id="13" name="Picture 3"/>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108520" y="2636317"/>
            <a:ext cx="1587873" cy="1581669"/>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7539372" y="2564904"/>
            <a:ext cx="1604628" cy="1604628"/>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1" descr="D:\Users\seyhan_ebru\Pictures\resim.bulut\Plain-Blue-icon.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94418" y="1901023"/>
            <a:ext cx="2817741" cy="3011282"/>
          </a:xfrm>
          <a:prstGeom prst="rect">
            <a:avLst/>
          </a:prstGeom>
          <a:noFill/>
          <a:extLst>
            <a:ext uri="{909E8E84-426E-40DD-AFC4-6F175D3DCCD1}">
              <a14:hiddenFill xmlns:a14="http://schemas.microsoft.com/office/drawing/2010/main">
                <a:solidFill>
                  <a:srgbClr val="FFFFFF"/>
                </a:solidFill>
              </a14:hiddenFill>
            </a:ext>
          </a:extLst>
        </p:spPr>
      </p:pic>
      <p:sp>
        <p:nvSpPr>
          <p:cNvPr id="19" name="Metin kutusu 18"/>
          <p:cNvSpPr txBox="1"/>
          <p:nvPr/>
        </p:nvSpPr>
        <p:spPr>
          <a:xfrm>
            <a:off x="3553439" y="2751174"/>
            <a:ext cx="2088232" cy="1446550"/>
          </a:xfrm>
          <a:prstGeom prst="rect">
            <a:avLst/>
          </a:prstGeom>
          <a:noFill/>
        </p:spPr>
        <p:txBody>
          <a:bodyPr wrap="square" rtlCol="0">
            <a:spAutoFit/>
          </a:bodyPr>
          <a:lstStyle/>
          <a:p>
            <a:pPr algn="ctr"/>
            <a:r>
              <a:rPr lang="tr-TR" sz="2200" b="1" dirty="0">
                <a:solidFill>
                  <a:schemeClr val="bg1"/>
                </a:solidFill>
              </a:rPr>
              <a:t>g</a:t>
            </a:r>
            <a:r>
              <a:rPr lang="tr-TR" sz="2200" b="1" dirty="0" smtClean="0">
                <a:solidFill>
                  <a:schemeClr val="bg1"/>
                </a:solidFill>
              </a:rPr>
              <a:t>mail.com</a:t>
            </a:r>
          </a:p>
          <a:p>
            <a:pPr algn="ctr"/>
            <a:r>
              <a:rPr lang="tr-TR" sz="2200" b="1" dirty="0" smtClean="0">
                <a:solidFill>
                  <a:schemeClr val="bg1"/>
                </a:solidFill>
              </a:rPr>
              <a:t>yahoo.com</a:t>
            </a:r>
          </a:p>
          <a:p>
            <a:pPr algn="ctr"/>
            <a:r>
              <a:rPr lang="tr-TR" sz="2200" b="1" dirty="0" smtClean="0">
                <a:solidFill>
                  <a:schemeClr val="bg1"/>
                </a:solidFill>
              </a:rPr>
              <a:t>hotmail.com   ….</a:t>
            </a:r>
            <a:endParaRPr lang="tr-TR" sz="2200" b="1" dirty="0">
              <a:solidFill>
                <a:schemeClr val="bg1"/>
              </a:solidFill>
            </a:endParaRPr>
          </a:p>
        </p:txBody>
      </p:sp>
      <p:grpSp>
        <p:nvGrpSpPr>
          <p:cNvPr id="21" name="Grup 20"/>
          <p:cNvGrpSpPr/>
          <p:nvPr/>
        </p:nvGrpSpPr>
        <p:grpSpPr>
          <a:xfrm>
            <a:off x="1043608" y="3429000"/>
            <a:ext cx="862419" cy="862419"/>
            <a:chOff x="1761695" y="3739409"/>
            <a:chExt cx="862419" cy="862419"/>
          </a:xfrm>
        </p:grpSpPr>
        <p:pic>
          <p:nvPicPr>
            <p:cNvPr id="22" name="Picture 12" descr="D:\Users\seyhan_ebru\Pictures\resim.zarf\mail-icon (3).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rot="21361431">
              <a:off x="1761695" y="3739409"/>
              <a:ext cx="862419" cy="862419"/>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10" descr="http://icons.iconarchive.com/icons/gakuseisean/radium/128/jpeg-file-icon.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rot="20551583">
              <a:off x="1838502" y="3814222"/>
              <a:ext cx="588795" cy="588796"/>
            </a:xfrm>
            <a:prstGeom prst="rect">
              <a:avLst/>
            </a:prstGeom>
            <a:noFill/>
            <a:extLst>
              <a:ext uri="{909E8E84-426E-40DD-AFC4-6F175D3DCCD1}">
                <a14:hiddenFill xmlns:a14="http://schemas.microsoft.com/office/drawing/2010/main">
                  <a:solidFill>
                    <a:srgbClr val="FFFFFF"/>
                  </a:solidFill>
                </a14:hiddenFill>
              </a:ext>
            </a:extLst>
          </p:spPr>
        </p:pic>
      </p:grpSp>
      <p:sp>
        <p:nvSpPr>
          <p:cNvPr id="33" name="Metin kutusu 32"/>
          <p:cNvSpPr txBox="1"/>
          <p:nvPr/>
        </p:nvSpPr>
        <p:spPr>
          <a:xfrm>
            <a:off x="1763688" y="415499"/>
            <a:ext cx="5256584" cy="523220"/>
          </a:xfrm>
          <a:prstGeom prst="rect">
            <a:avLst/>
          </a:prstGeom>
          <a:noFill/>
        </p:spPr>
        <p:txBody>
          <a:bodyPr wrap="square" rtlCol="0">
            <a:spAutoFit/>
          </a:bodyPr>
          <a:lstStyle/>
          <a:p>
            <a:pPr algn="ctr"/>
            <a:r>
              <a:rPr lang="tr-TR" sz="2800" b="1" dirty="0" smtClean="0">
                <a:solidFill>
                  <a:schemeClr val="tx2">
                    <a:lumMod val="50000"/>
                  </a:schemeClr>
                </a:solidFill>
                <a:latin typeface="+mj-lt"/>
              </a:rPr>
              <a:t>NASIL GÖNDERİLİR?</a:t>
            </a:r>
            <a:endParaRPr lang="tr-TR" sz="2800" b="1" dirty="0">
              <a:solidFill>
                <a:schemeClr val="tx2">
                  <a:lumMod val="50000"/>
                </a:schemeClr>
              </a:solidFill>
              <a:latin typeface="+mj-lt"/>
            </a:endParaRPr>
          </a:p>
        </p:txBody>
      </p:sp>
      <p:sp>
        <p:nvSpPr>
          <p:cNvPr id="40" name="Metin kutusu 39"/>
          <p:cNvSpPr txBox="1"/>
          <p:nvPr/>
        </p:nvSpPr>
        <p:spPr>
          <a:xfrm>
            <a:off x="1290417" y="415499"/>
            <a:ext cx="1769415" cy="523220"/>
          </a:xfrm>
          <a:prstGeom prst="rect">
            <a:avLst/>
          </a:prstGeom>
          <a:noFill/>
        </p:spPr>
        <p:txBody>
          <a:bodyPr wrap="square" rtlCol="0">
            <a:spAutoFit/>
          </a:bodyPr>
          <a:lstStyle/>
          <a:p>
            <a:r>
              <a:rPr lang="tr-TR" sz="2800" b="1" dirty="0" smtClean="0">
                <a:solidFill>
                  <a:schemeClr val="tx2">
                    <a:lumMod val="50000"/>
                  </a:schemeClr>
                </a:solidFill>
                <a:latin typeface="+mj-lt"/>
              </a:rPr>
              <a:t>E-FATURA</a:t>
            </a:r>
            <a:endParaRPr lang="tr-TR" sz="2800" b="1" dirty="0">
              <a:solidFill>
                <a:schemeClr val="tx2">
                  <a:lumMod val="50000"/>
                </a:schemeClr>
              </a:solidFill>
              <a:latin typeface="+mj-lt"/>
            </a:endParaRPr>
          </a:p>
        </p:txBody>
      </p:sp>
      <p:sp>
        <p:nvSpPr>
          <p:cNvPr id="29" name="Metin kutusu 28"/>
          <p:cNvSpPr txBox="1"/>
          <p:nvPr/>
        </p:nvSpPr>
        <p:spPr>
          <a:xfrm>
            <a:off x="165611" y="2236802"/>
            <a:ext cx="1584176" cy="400110"/>
          </a:xfrm>
          <a:prstGeom prst="rect">
            <a:avLst/>
          </a:prstGeom>
          <a:noFill/>
        </p:spPr>
        <p:txBody>
          <a:bodyPr wrap="square" rtlCol="0">
            <a:spAutoFit/>
          </a:bodyPr>
          <a:lstStyle/>
          <a:p>
            <a:r>
              <a:rPr lang="tr-TR" sz="2000" b="1" dirty="0" smtClean="0">
                <a:solidFill>
                  <a:schemeClr val="tx2">
                    <a:lumMod val="50000"/>
                  </a:schemeClr>
                </a:solidFill>
              </a:rPr>
              <a:t>Mehmet Bey </a:t>
            </a:r>
            <a:endParaRPr lang="tr-TR" sz="2000" b="1" dirty="0">
              <a:solidFill>
                <a:schemeClr val="tx2">
                  <a:lumMod val="50000"/>
                </a:schemeClr>
              </a:solidFill>
            </a:endParaRPr>
          </a:p>
        </p:txBody>
      </p:sp>
      <p:sp>
        <p:nvSpPr>
          <p:cNvPr id="34" name="Metin kutusu 33"/>
          <p:cNvSpPr txBox="1"/>
          <p:nvPr/>
        </p:nvSpPr>
        <p:spPr>
          <a:xfrm>
            <a:off x="7539372" y="2236802"/>
            <a:ext cx="1371463" cy="400110"/>
          </a:xfrm>
          <a:prstGeom prst="rect">
            <a:avLst/>
          </a:prstGeom>
          <a:noFill/>
        </p:spPr>
        <p:txBody>
          <a:bodyPr wrap="square" rtlCol="0">
            <a:spAutoFit/>
          </a:bodyPr>
          <a:lstStyle/>
          <a:p>
            <a:r>
              <a:rPr lang="tr-TR" sz="2000" b="1" dirty="0" smtClean="0">
                <a:solidFill>
                  <a:schemeClr val="tx2">
                    <a:lumMod val="50000"/>
                  </a:schemeClr>
                </a:solidFill>
              </a:rPr>
              <a:t>Ahmet Bey </a:t>
            </a:r>
            <a:endParaRPr lang="tr-TR" sz="2000" b="1" dirty="0">
              <a:solidFill>
                <a:schemeClr val="tx2">
                  <a:lumMod val="50000"/>
                </a:schemeClr>
              </a:solidFill>
            </a:endParaRPr>
          </a:p>
        </p:txBody>
      </p:sp>
      <p:sp>
        <p:nvSpPr>
          <p:cNvPr id="35" name="Metin kutusu 34"/>
          <p:cNvSpPr txBox="1"/>
          <p:nvPr/>
        </p:nvSpPr>
        <p:spPr>
          <a:xfrm>
            <a:off x="34237" y="4341759"/>
            <a:ext cx="1749787" cy="707886"/>
          </a:xfrm>
          <a:prstGeom prst="rect">
            <a:avLst/>
          </a:prstGeom>
          <a:solidFill>
            <a:schemeClr val="accent5">
              <a:lumMod val="60000"/>
              <a:lumOff val="40000"/>
            </a:schemeClr>
          </a:solidFill>
          <a:scene3d>
            <a:camera prst="orthographicFront"/>
            <a:lightRig rig="threePt" dir="t"/>
          </a:scene3d>
          <a:sp3d>
            <a:bevelT/>
          </a:sp3d>
        </p:spPr>
        <p:txBody>
          <a:bodyPr wrap="square" rtlCol="0">
            <a:spAutoFit/>
          </a:bodyPr>
          <a:lstStyle/>
          <a:p>
            <a:pPr algn="ctr"/>
            <a:r>
              <a:rPr lang="tr-TR" sz="2000" b="1" dirty="0" smtClean="0">
                <a:solidFill>
                  <a:schemeClr val="tx2">
                    <a:lumMod val="50000"/>
                  </a:schemeClr>
                </a:solidFill>
              </a:rPr>
              <a:t>Mehmet Limited Şirketi</a:t>
            </a:r>
            <a:endParaRPr lang="tr-TR" sz="2000" b="1" dirty="0">
              <a:solidFill>
                <a:schemeClr val="tx2">
                  <a:lumMod val="50000"/>
                </a:schemeClr>
              </a:solidFill>
            </a:endParaRPr>
          </a:p>
        </p:txBody>
      </p:sp>
      <p:sp>
        <p:nvSpPr>
          <p:cNvPr id="36" name="Metin kutusu 35"/>
          <p:cNvSpPr txBox="1"/>
          <p:nvPr/>
        </p:nvSpPr>
        <p:spPr>
          <a:xfrm>
            <a:off x="7114122" y="4327956"/>
            <a:ext cx="1833159" cy="707886"/>
          </a:xfrm>
          <a:prstGeom prst="rect">
            <a:avLst/>
          </a:prstGeom>
          <a:solidFill>
            <a:schemeClr val="accent5">
              <a:lumMod val="60000"/>
              <a:lumOff val="40000"/>
            </a:schemeClr>
          </a:solidFill>
          <a:scene3d>
            <a:camera prst="orthographicFront"/>
            <a:lightRig rig="threePt" dir="t"/>
          </a:scene3d>
          <a:sp3d>
            <a:bevelT/>
          </a:sp3d>
        </p:spPr>
        <p:txBody>
          <a:bodyPr wrap="square" rtlCol="0">
            <a:spAutoFit/>
          </a:bodyPr>
          <a:lstStyle/>
          <a:p>
            <a:pPr algn="ctr"/>
            <a:r>
              <a:rPr lang="tr-TR" sz="2000" b="1" dirty="0" smtClean="0">
                <a:solidFill>
                  <a:schemeClr val="tx2">
                    <a:lumMod val="50000"/>
                  </a:schemeClr>
                </a:solidFill>
              </a:rPr>
              <a:t>Ahmet </a:t>
            </a:r>
          </a:p>
          <a:p>
            <a:pPr algn="ctr"/>
            <a:r>
              <a:rPr lang="tr-TR" sz="2000" b="1" dirty="0" smtClean="0">
                <a:solidFill>
                  <a:schemeClr val="tx2">
                    <a:lumMod val="50000"/>
                  </a:schemeClr>
                </a:solidFill>
              </a:rPr>
              <a:t>Anonim Şirketi</a:t>
            </a:r>
            <a:endParaRPr lang="tr-TR" sz="2000" b="1" dirty="0">
              <a:solidFill>
                <a:schemeClr val="tx2">
                  <a:lumMod val="50000"/>
                </a:schemeClr>
              </a:solidFill>
            </a:endParaRPr>
          </a:p>
        </p:txBody>
      </p:sp>
      <p:sp>
        <p:nvSpPr>
          <p:cNvPr id="3" name="Metin kutusu 2"/>
          <p:cNvSpPr txBox="1"/>
          <p:nvPr/>
        </p:nvSpPr>
        <p:spPr>
          <a:xfrm>
            <a:off x="1406077" y="404664"/>
            <a:ext cx="1728192" cy="523220"/>
          </a:xfrm>
          <a:prstGeom prst="rect">
            <a:avLst/>
          </a:prstGeom>
          <a:noFill/>
        </p:spPr>
        <p:txBody>
          <a:bodyPr wrap="square" rtlCol="0">
            <a:spAutoFit/>
          </a:bodyPr>
          <a:lstStyle/>
          <a:p>
            <a:r>
              <a:rPr lang="tr-TR" sz="2800" b="1" dirty="0">
                <a:solidFill>
                  <a:schemeClr val="tx2">
                    <a:lumMod val="50000"/>
                  </a:schemeClr>
                </a:solidFill>
                <a:latin typeface="+mj-lt"/>
              </a:rPr>
              <a:t>E-POSTA</a:t>
            </a:r>
            <a:endParaRPr lang="tr-TR" sz="2800" dirty="0">
              <a:solidFill>
                <a:schemeClr val="tx2">
                  <a:lumMod val="50000"/>
                </a:schemeClr>
              </a:solidFill>
              <a:latin typeface="+mj-lt"/>
            </a:endParaRPr>
          </a:p>
        </p:txBody>
      </p:sp>
      <p:pic>
        <p:nvPicPr>
          <p:cNvPr id="4" name="Resim 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63124" y="2604649"/>
            <a:ext cx="1586314" cy="1586314"/>
          </a:xfrm>
          <a:prstGeom prst="rect">
            <a:avLst/>
          </a:prstGeom>
        </p:spPr>
      </p:pic>
      <p:pic>
        <p:nvPicPr>
          <p:cNvPr id="5" name="Resim 4"/>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423433" y="2627330"/>
            <a:ext cx="1603340" cy="1603340"/>
          </a:xfrm>
          <a:prstGeom prst="rect">
            <a:avLst/>
          </a:prstGeom>
        </p:spPr>
      </p:pic>
      <p:grpSp>
        <p:nvGrpSpPr>
          <p:cNvPr id="2" name="Grup 1"/>
          <p:cNvGrpSpPr/>
          <p:nvPr/>
        </p:nvGrpSpPr>
        <p:grpSpPr>
          <a:xfrm>
            <a:off x="3641291" y="2420888"/>
            <a:ext cx="2010829" cy="1908291"/>
            <a:chOff x="3501384" y="1805926"/>
            <a:chExt cx="2010829" cy="1908291"/>
          </a:xfrm>
        </p:grpSpPr>
        <p:pic>
          <p:nvPicPr>
            <p:cNvPr id="31" name="Picture 2"/>
            <p:cNvPicPr>
              <a:picLocks noChangeAspect="1" noChangeArrowheads="1"/>
            </p:cNvPicPr>
            <p:nvPr/>
          </p:nvPicPr>
          <p:blipFill>
            <a:blip r:embed="rId9">
              <a:extLst>
                <a:ext uri="{28A0092B-C50C-407E-A947-70E740481C1C}">
                  <a14:useLocalDpi xmlns:a14="http://schemas.microsoft.com/office/drawing/2010/main" val="0"/>
                </a:ext>
              </a:extLst>
            </a:blip>
            <a:stretch>
              <a:fillRect/>
            </a:stretch>
          </p:blipFill>
          <p:spPr bwMode="auto">
            <a:xfrm>
              <a:off x="3501384" y="1805926"/>
              <a:ext cx="2010829" cy="1908291"/>
            </a:xfrm>
            <a:prstGeom prst="ellipse">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43" name="Picture 5" descr="C:\Users\Administrator\Desktop\LOGO2.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850892" y="1949942"/>
              <a:ext cx="1085257" cy="129775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4" name="Grup 23"/>
          <p:cNvGrpSpPr/>
          <p:nvPr/>
        </p:nvGrpSpPr>
        <p:grpSpPr>
          <a:xfrm>
            <a:off x="1027815" y="3502685"/>
            <a:ext cx="981314" cy="862419"/>
            <a:chOff x="2960638" y="4769966"/>
            <a:chExt cx="981314" cy="862419"/>
          </a:xfrm>
        </p:grpSpPr>
        <p:pic>
          <p:nvPicPr>
            <p:cNvPr id="25" name="Picture 12" descr="D:\Users\seyhan_ebru\Pictures\resim.zarf\mail-icon (3).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rot="21361431">
              <a:off x="2960638" y="4769966"/>
              <a:ext cx="862419" cy="862419"/>
            </a:xfrm>
            <a:prstGeom prst="rect">
              <a:avLst/>
            </a:prstGeom>
            <a:noFill/>
            <a:extLst>
              <a:ext uri="{909E8E84-426E-40DD-AFC4-6F175D3DCCD1}">
                <a14:hiddenFill xmlns:a14="http://schemas.microsoft.com/office/drawing/2010/main">
                  <a:solidFill>
                    <a:srgbClr val="FFFFFF"/>
                  </a:solidFill>
                </a14:hiddenFill>
              </a:ext>
            </a:extLst>
          </p:spPr>
        </p:pic>
        <p:sp>
          <p:nvSpPr>
            <p:cNvPr id="26" name="Metin kutusu 25"/>
            <p:cNvSpPr txBox="1"/>
            <p:nvPr/>
          </p:nvSpPr>
          <p:spPr>
            <a:xfrm rot="21416599">
              <a:off x="3041807" y="5033617"/>
              <a:ext cx="900145" cy="276999"/>
            </a:xfrm>
            <a:prstGeom prst="rect">
              <a:avLst/>
            </a:prstGeom>
            <a:noFill/>
          </p:spPr>
          <p:txBody>
            <a:bodyPr wrap="square" rtlCol="0">
              <a:spAutoFit/>
            </a:bodyPr>
            <a:lstStyle/>
            <a:p>
              <a:r>
                <a:rPr lang="tr-TR" sz="1200" b="1" dirty="0" smtClean="0">
                  <a:solidFill>
                    <a:schemeClr val="tx2">
                      <a:lumMod val="50000"/>
                    </a:schemeClr>
                  </a:solidFill>
                </a:rPr>
                <a:t>FATURA</a:t>
              </a:r>
              <a:endParaRPr lang="tr-TR" sz="1200" b="1" dirty="0">
                <a:solidFill>
                  <a:schemeClr val="tx2">
                    <a:lumMod val="50000"/>
                  </a:schemeClr>
                </a:solidFill>
              </a:endParaRPr>
            </a:p>
          </p:txBody>
        </p:sp>
      </p:grpSp>
    </p:spTree>
    <p:extLst>
      <p:ext uri="{BB962C8B-B14F-4D97-AF65-F5344CB8AC3E}">
        <p14:creationId xmlns:p14="http://schemas.microsoft.com/office/powerpoint/2010/main" val="264392378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wipe(up)">
                                      <p:cBhvr>
                                        <p:cTn id="7" dur="2000"/>
                                        <p:tgtEl>
                                          <p:spTgt spid="19"/>
                                        </p:tgtEl>
                                      </p:cBhvr>
                                    </p:animEffect>
                                  </p:childTnLst>
                                </p:cTn>
                              </p:par>
                            </p:childTnLst>
                          </p:cTn>
                        </p:par>
                        <p:par>
                          <p:cTn id="8" fill="hold">
                            <p:stCondLst>
                              <p:cond delay="2000"/>
                            </p:stCondLst>
                            <p:childTnLst>
                              <p:par>
                                <p:cTn id="9" presetID="37" presetClass="path" presetSubtype="0" accel="50000" decel="50000" fill="hold" nodeType="afterEffect">
                                  <p:stCondLst>
                                    <p:cond delay="0"/>
                                  </p:stCondLst>
                                  <p:childTnLst>
                                    <p:animMotion origin="layout" path="M -2.77778E-7 -4.81036E-7 L 0.08698 0.04672 C 0.10538 0.05735 0.13264 0.06314 0.16111 0.06314 C 0.19358 0.06314 0.21962 0.05735 0.23802 0.04672 L 0.32535 -4.81036E-7 " pathEditMode="relative" rAng="0" ptsTypes="FffFF">
                                      <p:cBhvr>
                                        <p:cTn id="10" dur="2000" fill="hold"/>
                                        <p:tgtEl>
                                          <p:spTgt spid="21"/>
                                        </p:tgtEl>
                                        <p:attrNameLst>
                                          <p:attrName>ppt_x</p:attrName>
                                          <p:attrName>ppt_y</p:attrName>
                                        </p:attrNameLst>
                                      </p:cBhvr>
                                      <p:rCtr x="16267" y="3145"/>
                                    </p:animMotion>
                                  </p:childTnLst>
                                </p:cTn>
                              </p:par>
                            </p:childTnLst>
                          </p:cTn>
                        </p:par>
                        <p:par>
                          <p:cTn id="11" fill="hold">
                            <p:stCondLst>
                              <p:cond delay="4000"/>
                            </p:stCondLst>
                            <p:childTnLst>
                              <p:par>
                                <p:cTn id="12" presetID="37" presetClass="path" presetSubtype="0" accel="50000" decel="50000" fill="hold" nodeType="afterEffect">
                                  <p:stCondLst>
                                    <p:cond delay="0"/>
                                  </p:stCondLst>
                                  <p:childTnLst>
                                    <p:animMotion origin="layout" path="M 0.32535 0.03076 L 0.41737 0.07031 C 0.43681 0.07933 0.46563 0.08418 0.49566 0.08418 C 0.53021 0.08418 0.55764 0.07933 0.57709 0.07031 L 0.66945 0.03076 " pathEditMode="relative" rAng="0" ptsTypes="FffFF">
                                      <p:cBhvr>
                                        <p:cTn id="13" dur="2000" fill="hold"/>
                                        <p:tgtEl>
                                          <p:spTgt spid="21"/>
                                        </p:tgtEl>
                                        <p:attrNameLst>
                                          <p:attrName>ppt_x</p:attrName>
                                          <p:attrName>ppt_y</p:attrName>
                                        </p:attrNameLst>
                                      </p:cBhvr>
                                      <p:rCtr x="17205" y="2660"/>
                                    </p:animMotion>
                                  </p:childTnLst>
                                </p:cTn>
                              </p:par>
                            </p:childTnLst>
                          </p:cTn>
                        </p:par>
                        <p:par>
                          <p:cTn id="14" fill="hold">
                            <p:stCondLst>
                              <p:cond delay="6000"/>
                            </p:stCondLst>
                            <p:childTnLst>
                              <p:par>
                                <p:cTn id="15" presetID="10" presetClass="exit" presetSubtype="0" fill="hold" nodeType="afterEffect">
                                  <p:stCondLst>
                                    <p:cond delay="0"/>
                                  </p:stCondLst>
                                  <p:childTnLst>
                                    <p:animEffect transition="out" filter="fade">
                                      <p:cBhvr>
                                        <p:cTn id="16" dur="500"/>
                                        <p:tgtEl>
                                          <p:spTgt spid="21"/>
                                        </p:tgtEl>
                                      </p:cBhvr>
                                    </p:animEffect>
                                    <p:set>
                                      <p:cBhvr>
                                        <p:cTn id="17" dur="1" fill="hold">
                                          <p:stCondLst>
                                            <p:cond delay="499"/>
                                          </p:stCondLst>
                                        </p:cTn>
                                        <p:tgtEl>
                                          <p:spTgt spid="21"/>
                                        </p:tgtEl>
                                        <p:attrNameLst>
                                          <p:attrName>style.visibility</p:attrName>
                                        </p:attrNameLst>
                                      </p:cBhvr>
                                      <p:to>
                                        <p:strVal val="hidden"/>
                                      </p:to>
                                    </p:set>
                                  </p:childTnLst>
                                </p:cTn>
                              </p:par>
                            </p:childTnLst>
                          </p:cTn>
                        </p:par>
                      </p:childTnLst>
                    </p:cTn>
                  </p:par>
                  <p:par>
                    <p:cTn id="18" fill="hold">
                      <p:stCondLst>
                        <p:cond delay="indefinite"/>
                      </p:stCondLst>
                      <p:childTnLst>
                        <p:par>
                          <p:cTn id="19" fill="hold">
                            <p:stCondLst>
                              <p:cond delay="0"/>
                            </p:stCondLst>
                            <p:childTnLst>
                              <p:par>
                                <p:cTn id="20" presetID="10" presetClass="exit" presetSubtype="0" fill="hold" grpId="0" nodeType="clickEffect">
                                  <p:stCondLst>
                                    <p:cond delay="0"/>
                                  </p:stCondLst>
                                  <p:childTnLst>
                                    <p:animEffect transition="out" filter="fade">
                                      <p:cBhvr>
                                        <p:cTn id="21" dur="500"/>
                                        <p:tgtEl>
                                          <p:spTgt spid="29"/>
                                        </p:tgtEl>
                                      </p:cBhvr>
                                    </p:animEffect>
                                    <p:set>
                                      <p:cBhvr>
                                        <p:cTn id="22" dur="1" fill="hold">
                                          <p:stCondLst>
                                            <p:cond delay="499"/>
                                          </p:stCondLst>
                                        </p:cTn>
                                        <p:tgtEl>
                                          <p:spTgt spid="29"/>
                                        </p:tgtEl>
                                        <p:attrNameLst>
                                          <p:attrName>style.visibility</p:attrName>
                                        </p:attrNameLst>
                                      </p:cBhvr>
                                      <p:to>
                                        <p:strVal val="hidden"/>
                                      </p:to>
                                    </p:set>
                                  </p:childTnLst>
                                </p:cTn>
                              </p:par>
                              <p:par>
                                <p:cTn id="23" presetID="10" presetClass="exit" presetSubtype="0" fill="hold" grpId="0" nodeType="withEffect">
                                  <p:stCondLst>
                                    <p:cond delay="0"/>
                                  </p:stCondLst>
                                  <p:childTnLst>
                                    <p:animEffect transition="out" filter="fade">
                                      <p:cBhvr>
                                        <p:cTn id="24" dur="500"/>
                                        <p:tgtEl>
                                          <p:spTgt spid="34"/>
                                        </p:tgtEl>
                                      </p:cBhvr>
                                    </p:animEffect>
                                    <p:set>
                                      <p:cBhvr>
                                        <p:cTn id="25" dur="1" fill="hold">
                                          <p:stCondLst>
                                            <p:cond delay="499"/>
                                          </p:stCondLst>
                                        </p:cTn>
                                        <p:tgtEl>
                                          <p:spTgt spid="34"/>
                                        </p:tgtEl>
                                        <p:attrNameLst>
                                          <p:attrName>style.visibility</p:attrName>
                                        </p:attrNameLst>
                                      </p:cBhvr>
                                      <p:to>
                                        <p:strVal val="hidden"/>
                                      </p:to>
                                    </p:set>
                                  </p:childTnLst>
                                </p:cTn>
                              </p:par>
                              <p:par>
                                <p:cTn id="26" presetID="10" presetClass="exit" presetSubtype="0" fill="hold" nodeType="withEffect">
                                  <p:stCondLst>
                                    <p:cond delay="0"/>
                                  </p:stCondLst>
                                  <p:childTnLst>
                                    <p:animEffect transition="out" filter="fade">
                                      <p:cBhvr>
                                        <p:cTn id="27" dur="500"/>
                                        <p:tgtEl>
                                          <p:spTgt spid="4"/>
                                        </p:tgtEl>
                                      </p:cBhvr>
                                    </p:animEffect>
                                    <p:set>
                                      <p:cBhvr>
                                        <p:cTn id="28" dur="1" fill="hold">
                                          <p:stCondLst>
                                            <p:cond delay="499"/>
                                          </p:stCondLst>
                                        </p:cTn>
                                        <p:tgtEl>
                                          <p:spTgt spid="4"/>
                                        </p:tgtEl>
                                        <p:attrNameLst>
                                          <p:attrName>style.visibility</p:attrName>
                                        </p:attrNameLst>
                                      </p:cBhvr>
                                      <p:to>
                                        <p:strVal val="hidden"/>
                                      </p:to>
                                    </p:set>
                                  </p:childTnLst>
                                </p:cTn>
                              </p:par>
                              <p:par>
                                <p:cTn id="29" presetID="10" presetClass="exit" presetSubtype="0" fill="hold" nodeType="withEffect">
                                  <p:stCondLst>
                                    <p:cond delay="0"/>
                                  </p:stCondLst>
                                  <p:childTnLst>
                                    <p:animEffect transition="out" filter="fade">
                                      <p:cBhvr>
                                        <p:cTn id="30" dur="500"/>
                                        <p:tgtEl>
                                          <p:spTgt spid="5"/>
                                        </p:tgtEl>
                                      </p:cBhvr>
                                    </p:animEffect>
                                    <p:set>
                                      <p:cBhvr>
                                        <p:cTn id="31" dur="1" fill="hold">
                                          <p:stCondLst>
                                            <p:cond delay="499"/>
                                          </p:stCondLst>
                                        </p:cTn>
                                        <p:tgtEl>
                                          <p:spTgt spid="5"/>
                                        </p:tgtEl>
                                        <p:attrNameLst>
                                          <p:attrName>style.visibility</p:attrName>
                                        </p:attrNameLst>
                                      </p:cBhvr>
                                      <p:to>
                                        <p:strVal val="hidden"/>
                                      </p:to>
                                    </p:set>
                                  </p:childTnLst>
                                </p:cTn>
                              </p:par>
                              <p:par>
                                <p:cTn id="32" presetID="10" presetClass="exit" presetSubtype="0" fill="hold" grpId="0" nodeType="withEffect">
                                  <p:stCondLst>
                                    <p:cond delay="0"/>
                                  </p:stCondLst>
                                  <p:childTnLst>
                                    <p:animEffect transition="out" filter="fade">
                                      <p:cBhvr>
                                        <p:cTn id="33" dur="500"/>
                                        <p:tgtEl>
                                          <p:spTgt spid="3"/>
                                        </p:tgtEl>
                                      </p:cBhvr>
                                    </p:animEffect>
                                    <p:set>
                                      <p:cBhvr>
                                        <p:cTn id="34" dur="1" fill="hold">
                                          <p:stCondLst>
                                            <p:cond delay="499"/>
                                          </p:stCondLst>
                                        </p:cTn>
                                        <p:tgtEl>
                                          <p:spTgt spid="3"/>
                                        </p:tgtEl>
                                        <p:attrNameLst>
                                          <p:attrName>style.visibility</p:attrName>
                                        </p:attrNameLst>
                                      </p:cBhvr>
                                      <p:to>
                                        <p:strVal val="hidden"/>
                                      </p:to>
                                    </p:set>
                                  </p:childTnLst>
                                </p:cTn>
                              </p:par>
                              <p:par>
                                <p:cTn id="35" presetID="10" presetClass="entr" presetSubtype="0" fill="hold" grpId="0" nodeType="withEffect">
                                  <p:stCondLst>
                                    <p:cond delay="0"/>
                                  </p:stCondLst>
                                  <p:childTnLst>
                                    <p:set>
                                      <p:cBhvr>
                                        <p:cTn id="36" dur="1" fill="hold">
                                          <p:stCondLst>
                                            <p:cond delay="0"/>
                                          </p:stCondLst>
                                        </p:cTn>
                                        <p:tgtEl>
                                          <p:spTgt spid="40"/>
                                        </p:tgtEl>
                                        <p:attrNameLst>
                                          <p:attrName>style.visibility</p:attrName>
                                        </p:attrNameLst>
                                      </p:cBhvr>
                                      <p:to>
                                        <p:strVal val="visible"/>
                                      </p:to>
                                    </p:set>
                                    <p:animEffect transition="in" filter="fade">
                                      <p:cBhvr>
                                        <p:cTn id="37" dur="500"/>
                                        <p:tgtEl>
                                          <p:spTgt spid="40"/>
                                        </p:tgtEl>
                                      </p:cBhvr>
                                    </p:animEffect>
                                  </p:childTnLst>
                                </p:cTn>
                              </p:par>
                            </p:childTnLst>
                          </p:cTn>
                        </p:par>
                        <p:par>
                          <p:cTn id="38" fill="hold">
                            <p:stCondLst>
                              <p:cond delay="500"/>
                            </p:stCondLst>
                            <p:childTnLst>
                              <p:par>
                                <p:cTn id="39" presetID="10" presetClass="entr" presetSubtype="0" fill="hold" nodeType="afterEffect">
                                  <p:stCondLst>
                                    <p:cond delay="0"/>
                                  </p:stCondLst>
                                  <p:childTnLst>
                                    <p:set>
                                      <p:cBhvr>
                                        <p:cTn id="40" dur="1" fill="hold">
                                          <p:stCondLst>
                                            <p:cond delay="0"/>
                                          </p:stCondLst>
                                        </p:cTn>
                                        <p:tgtEl>
                                          <p:spTgt spid="2"/>
                                        </p:tgtEl>
                                        <p:attrNameLst>
                                          <p:attrName>style.visibility</p:attrName>
                                        </p:attrNameLst>
                                      </p:cBhvr>
                                      <p:to>
                                        <p:strVal val="visible"/>
                                      </p:to>
                                    </p:set>
                                    <p:animEffect transition="in" filter="fade">
                                      <p:cBhvr>
                                        <p:cTn id="41" dur="500"/>
                                        <p:tgtEl>
                                          <p:spTgt spid="2"/>
                                        </p:tgtEl>
                                      </p:cBhvr>
                                    </p:animEffect>
                                  </p:childTnLst>
                                </p:cTn>
                              </p:par>
                              <p:par>
                                <p:cTn id="42" presetID="10" presetClass="entr" presetSubtype="0" fill="hold" nodeType="withEffect">
                                  <p:stCondLst>
                                    <p:cond delay="0"/>
                                  </p:stCondLst>
                                  <p:childTnLst>
                                    <p:set>
                                      <p:cBhvr>
                                        <p:cTn id="43" dur="1" fill="hold">
                                          <p:stCondLst>
                                            <p:cond delay="0"/>
                                          </p:stCondLst>
                                        </p:cTn>
                                        <p:tgtEl>
                                          <p:spTgt spid="13"/>
                                        </p:tgtEl>
                                        <p:attrNameLst>
                                          <p:attrName>style.visibility</p:attrName>
                                        </p:attrNameLst>
                                      </p:cBhvr>
                                      <p:to>
                                        <p:strVal val="visible"/>
                                      </p:to>
                                    </p:set>
                                    <p:animEffect transition="in" filter="fade">
                                      <p:cBhvr>
                                        <p:cTn id="44" dur="500"/>
                                        <p:tgtEl>
                                          <p:spTgt spid="13"/>
                                        </p:tgtEl>
                                      </p:cBhvr>
                                    </p:animEffect>
                                  </p:childTnLst>
                                </p:cTn>
                              </p:par>
                              <p:par>
                                <p:cTn id="45" presetID="10" presetClass="entr" presetSubtype="0" fill="hold" nodeType="withEffect">
                                  <p:stCondLst>
                                    <p:cond delay="0"/>
                                  </p:stCondLst>
                                  <p:childTnLst>
                                    <p:set>
                                      <p:cBhvr>
                                        <p:cTn id="46" dur="1" fill="hold">
                                          <p:stCondLst>
                                            <p:cond delay="0"/>
                                          </p:stCondLst>
                                        </p:cTn>
                                        <p:tgtEl>
                                          <p:spTgt spid="16"/>
                                        </p:tgtEl>
                                        <p:attrNameLst>
                                          <p:attrName>style.visibility</p:attrName>
                                        </p:attrNameLst>
                                      </p:cBhvr>
                                      <p:to>
                                        <p:strVal val="visible"/>
                                      </p:to>
                                    </p:set>
                                    <p:animEffect transition="in" filter="fade">
                                      <p:cBhvr>
                                        <p:cTn id="47" dur="500"/>
                                        <p:tgtEl>
                                          <p:spTgt spid="16"/>
                                        </p:tgtEl>
                                      </p:cBhvr>
                                    </p:animEffect>
                                  </p:childTnLst>
                                </p:cTn>
                              </p:par>
                              <p:par>
                                <p:cTn id="48" presetID="10" presetClass="exit" presetSubtype="0" fill="hold" grpId="1" nodeType="withEffect">
                                  <p:stCondLst>
                                    <p:cond delay="0"/>
                                  </p:stCondLst>
                                  <p:childTnLst>
                                    <p:animEffect transition="out" filter="fade">
                                      <p:cBhvr>
                                        <p:cTn id="49" dur="500"/>
                                        <p:tgtEl>
                                          <p:spTgt spid="19"/>
                                        </p:tgtEl>
                                      </p:cBhvr>
                                    </p:animEffect>
                                    <p:set>
                                      <p:cBhvr>
                                        <p:cTn id="50" dur="1" fill="hold">
                                          <p:stCondLst>
                                            <p:cond delay="499"/>
                                          </p:stCondLst>
                                        </p:cTn>
                                        <p:tgtEl>
                                          <p:spTgt spid="19"/>
                                        </p:tgtEl>
                                        <p:attrNameLst>
                                          <p:attrName>style.visibility</p:attrName>
                                        </p:attrNameLst>
                                      </p:cBhvr>
                                      <p:to>
                                        <p:strVal val="hidden"/>
                                      </p:to>
                                    </p:set>
                                  </p:childTnLst>
                                </p:cTn>
                              </p:par>
                              <p:par>
                                <p:cTn id="51" presetID="10" presetClass="exit" presetSubtype="0" fill="hold" nodeType="withEffect">
                                  <p:stCondLst>
                                    <p:cond delay="0"/>
                                  </p:stCondLst>
                                  <p:childTnLst>
                                    <p:animEffect transition="out" filter="fade">
                                      <p:cBhvr>
                                        <p:cTn id="52" dur="500"/>
                                        <p:tgtEl>
                                          <p:spTgt spid="18"/>
                                        </p:tgtEl>
                                      </p:cBhvr>
                                    </p:animEffect>
                                    <p:set>
                                      <p:cBhvr>
                                        <p:cTn id="53" dur="1" fill="hold">
                                          <p:stCondLst>
                                            <p:cond delay="499"/>
                                          </p:stCondLst>
                                        </p:cTn>
                                        <p:tgtEl>
                                          <p:spTgt spid="18"/>
                                        </p:tgtEl>
                                        <p:attrNameLst>
                                          <p:attrName>style.visibility</p:attrName>
                                        </p:attrNameLst>
                                      </p:cBhvr>
                                      <p:to>
                                        <p:strVal val="hidden"/>
                                      </p:to>
                                    </p:set>
                                  </p:childTnLst>
                                </p:cTn>
                              </p:par>
                            </p:childTnLst>
                          </p:cTn>
                        </p:par>
                        <p:par>
                          <p:cTn id="54" fill="hold">
                            <p:stCondLst>
                              <p:cond delay="1000"/>
                            </p:stCondLst>
                            <p:childTnLst>
                              <p:par>
                                <p:cTn id="55" presetID="10" presetClass="entr" presetSubtype="0" fill="hold" grpId="0" nodeType="afterEffect">
                                  <p:stCondLst>
                                    <p:cond delay="0"/>
                                  </p:stCondLst>
                                  <p:childTnLst>
                                    <p:set>
                                      <p:cBhvr>
                                        <p:cTn id="56" dur="1" fill="hold">
                                          <p:stCondLst>
                                            <p:cond delay="0"/>
                                          </p:stCondLst>
                                        </p:cTn>
                                        <p:tgtEl>
                                          <p:spTgt spid="35"/>
                                        </p:tgtEl>
                                        <p:attrNameLst>
                                          <p:attrName>style.visibility</p:attrName>
                                        </p:attrNameLst>
                                      </p:cBhvr>
                                      <p:to>
                                        <p:strVal val="visible"/>
                                      </p:to>
                                    </p:set>
                                    <p:animEffect transition="in" filter="fade">
                                      <p:cBhvr>
                                        <p:cTn id="57" dur="500"/>
                                        <p:tgtEl>
                                          <p:spTgt spid="35"/>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36"/>
                                        </p:tgtEl>
                                        <p:attrNameLst>
                                          <p:attrName>style.visibility</p:attrName>
                                        </p:attrNameLst>
                                      </p:cBhvr>
                                      <p:to>
                                        <p:strVal val="visible"/>
                                      </p:to>
                                    </p:set>
                                    <p:animEffect transition="in" filter="fade">
                                      <p:cBhvr>
                                        <p:cTn id="60" dur="500"/>
                                        <p:tgtEl>
                                          <p:spTgt spid="36"/>
                                        </p:tgtEl>
                                      </p:cBhvr>
                                    </p:animEffect>
                                  </p:childTnLst>
                                </p:cTn>
                              </p:par>
                            </p:childTnLst>
                          </p:cTn>
                        </p:par>
                        <p:par>
                          <p:cTn id="61" fill="hold">
                            <p:stCondLst>
                              <p:cond delay="1500"/>
                            </p:stCondLst>
                            <p:childTnLst>
                              <p:par>
                                <p:cTn id="62" presetID="10" presetClass="entr" presetSubtype="0" fill="hold" nodeType="afterEffect">
                                  <p:stCondLst>
                                    <p:cond delay="0"/>
                                  </p:stCondLst>
                                  <p:childTnLst>
                                    <p:set>
                                      <p:cBhvr>
                                        <p:cTn id="63" dur="1" fill="hold">
                                          <p:stCondLst>
                                            <p:cond delay="0"/>
                                          </p:stCondLst>
                                        </p:cTn>
                                        <p:tgtEl>
                                          <p:spTgt spid="24"/>
                                        </p:tgtEl>
                                        <p:attrNameLst>
                                          <p:attrName>style.visibility</p:attrName>
                                        </p:attrNameLst>
                                      </p:cBhvr>
                                      <p:to>
                                        <p:strVal val="visible"/>
                                      </p:to>
                                    </p:set>
                                    <p:animEffect transition="in" filter="fade">
                                      <p:cBhvr>
                                        <p:cTn id="64" dur="500"/>
                                        <p:tgtEl>
                                          <p:spTgt spid="24"/>
                                        </p:tgtEl>
                                      </p:cBhvr>
                                    </p:animEffect>
                                  </p:childTnLst>
                                </p:cTn>
                              </p:par>
                            </p:childTnLst>
                          </p:cTn>
                        </p:par>
                        <p:par>
                          <p:cTn id="65" fill="hold">
                            <p:stCondLst>
                              <p:cond delay="2000"/>
                            </p:stCondLst>
                            <p:childTnLst>
                              <p:par>
                                <p:cTn id="66" presetID="37" presetClass="path" presetSubtype="0" accel="50000" decel="50000" fill="hold" nodeType="afterEffect">
                                  <p:stCondLst>
                                    <p:cond delay="0"/>
                                  </p:stCondLst>
                                  <p:childTnLst>
                                    <p:animMotion origin="layout" path="M -2.22222E-6 -4.81036E-7 L 0.08525 0.02706 C 0.10313 0.03307 0.12986 0.03654 0.15764 0.03654 C 0.18959 0.03654 0.21493 0.03307 0.23281 0.02706 L 0.31823 -4.81036E-7 " pathEditMode="relative" rAng="0" ptsTypes="FffFF">
                                      <p:cBhvr>
                                        <p:cTn id="67" dur="2000" fill="hold"/>
                                        <p:tgtEl>
                                          <p:spTgt spid="24"/>
                                        </p:tgtEl>
                                        <p:attrNameLst>
                                          <p:attrName>ppt_x</p:attrName>
                                          <p:attrName>ppt_y</p:attrName>
                                        </p:attrNameLst>
                                      </p:cBhvr>
                                      <p:rCtr x="15903" y="1827"/>
                                    </p:animMotion>
                                  </p:childTnLst>
                                </p:cTn>
                              </p:par>
                            </p:childTnLst>
                          </p:cTn>
                        </p:par>
                        <p:par>
                          <p:cTn id="68" fill="hold">
                            <p:stCondLst>
                              <p:cond delay="4000"/>
                            </p:stCondLst>
                            <p:childTnLst>
                              <p:par>
                                <p:cTn id="69" presetID="37" presetClass="path" presetSubtype="0" accel="50000" decel="50000" fill="hold" nodeType="afterEffect">
                                  <p:stCondLst>
                                    <p:cond delay="0"/>
                                  </p:stCondLst>
                                  <p:childTnLst>
                                    <p:animMotion origin="layout" path="M 0.31823 0.03145 L 0.41528 0.07123 C 0.43559 0.08025 0.46615 0.08511 0.49775 0.08511 C 0.53403 0.08511 0.56302 0.08025 0.58334 0.07123 L 0.68056 0.03145 " pathEditMode="relative" rAng="0" ptsTypes="FffFF">
                                      <p:cBhvr>
                                        <p:cTn id="70" dur="2000" fill="hold"/>
                                        <p:tgtEl>
                                          <p:spTgt spid="24"/>
                                        </p:tgtEl>
                                        <p:attrNameLst>
                                          <p:attrName>ppt_x</p:attrName>
                                          <p:attrName>ppt_y</p:attrName>
                                        </p:attrNameLst>
                                      </p:cBhvr>
                                      <p:rCtr x="18108" y="268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9" grpId="1"/>
      <p:bldP spid="40" grpId="0"/>
      <p:bldP spid="29" grpId="0"/>
      <p:bldP spid="34" grpId="0"/>
      <p:bldP spid="35" grpId="0" animBg="1"/>
      <p:bldP spid="36" grpId="0" animBg="1"/>
      <p:bldP spid="3"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6" name="Picture 4" descr="D:\Users\seyhan_ebru\Pictures\resim.building\office-building-icon.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691246" y="2391042"/>
            <a:ext cx="1728192" cy="1728192"/>
          </a:xfrm>
          <a:prstGeom prst="rect">
            <a:avLst/>
          </a:prstGeom>
          <a:noFill/>
          <a:extLst>
            <a:ext uri="{909E8E84-426E-40DD-AFC4-6F175D3DCCD1}">
              <a14:hiddenFill xmlns:a14="http://schemas.microsoft.com/office/drawing/2010/main">
                <a:solidFill>
                  <a:srgbClr val="FFFFFF"/>
                </a:solidFill>
              </a14:hiddenFill>
            </a:ext>
          </a:extLst>
        </p:spPr>
      </p:pic>
      <p:grpSp>
        <p:nvGrpSpPr>
          <p:cNvPr id="7" name="Grup 6"/>
          <p:cNvGrpSpPr/>
          <p:nvPr/>
        </p:nvGrpSpPr>
        <p:grpSpPr>
          <a:xfrm>
            <a:off x="1747664" y="2852936"/>
            <a:ext cx="1600200" cy="1508590"/>
            <a:chOff x="4937809" y="1308687"/>
            <a:chExt cx="1600200" cy="1600200"/>
          </a:xfrm>
        </p:grpSpPr>
        <p:pic>
          <p:nvPicPr>
            <p:cNvPr id="8" name="Picture 17" descr="D:\Users\seyhan_ebru\Pictures\resim.kamyon\11660618-green-truck-icon.jpg"/>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937809" y="1308687"/>
              <a:ext cx="1600200" cy="1600200"/>
            </a:xfrm>
            <a:prstGeom prst="rect">
              <a:avLst/>
            </a:prstGeom>
            <a:noFill/>
            <a:extLst>
              <a:ext uri="{909E8E84-426E-40DD-AFC4-6F175D3DCCD1}">
                <a14:hiddenFill xmlns:a14="http://schemas.microsoft.com/office/drawing/2010/main">
                  <a:solidFill>
                    <a:srgbClr val="FFFFFF"/>
                  </a:solidFill>
                </a14:hiddenFill>
              </a:ext>
            </a:extLst>
          </p:spPr>
        </p:pic>
        <p:sp>
          <p:nvSpPr>
            <p:cNvPr id="9" name="Dikdörtgen 8"/>
            <p:cNvSpPr/>
            <p:nvPr/>
          </p:nvSpPr>
          <p:spPr>
            <a:xfrm>
              <a:off x="5148064" y="1688515"/>
              <a:ext cx="684000" cy="5400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sz="1100" b="1" dirty="0" smtClean="0">
                  <a:solidFill>
                    <a:schemeClr val="tx2">
                      <a:lumMod val="50000"/>
                    </a:schemeClr>
                  </a:solidFill>
                </a:rPr>
                <a:t>MAL </a:t>
              </a:r>
            </a:p>
            <a:p>
              <a:pPr algn="ctr"/>
              <a:r>
                <a:rPr lang="tr-TR" sz="1100" b="1" dirty="0" smtClean="0">
                  <a:solidFill>
                    <a:schemeClr val="tx2">
                      <a:lumMod val="50000"/>
                    </a:schemeClr>
                  </a:solidFill>
                </a:rPr>
                <a:t>TESLİMİ</a:t>
              </a:r>
              <a:endParaRPr lang="tr-TR" sz="1100" b="1" dirty="0">
                <a:solidFill>
                  <a:schemeClr val="tx2">
                    <a:lumMod val="50000"/>
                  </a:schemeClr>
                </a:solidFill>
              </a:endParaRPr>
            </a:p>
          </p:txBody>
        </p:sp>
      </p:grpSp>
      <p:sp>
        <p:nvSpPr>
          <p:cNvPr id="4" name="Metin kutusu 3"/>
          <p:cNvSpPr txBox="1"/>
          <p:nvPr/>
        </p:nvSpPr>
        <p:spPr>
          <a:xfrm>
            <a:off x="755042" y="1751910"/>
            <a:ext cx="864096" cy="400110"/>
          </a:xfrm>
          <a:prstGeom prst="rect">
            <a:avLst/>
          </a:prstGeom>
          <a:noFill/>
        </p:spPr>
        <p:txBody>
          <a:bodyPr wrap="square" rtlCol="0">
            <a:spAutoFit/>
          </a:bodyPr>
          <a:lstStyle/>
          <a:p>
            <a:r>
              <a:rPr lang="tr-TR" sz="2000" b="1" dirty="0" smtClean="0">
                <a:solidFill>
                  <a:schemeClr val="tx2">
                    <a:lumMod val="50000"/>
                  </a:schemeClr>
                </a:solidFill>
              </a:rPr>
              <a:t>SATICI</a:t>
            </a:r>
            <a:endParaRPr lang="tr-TR" sz="2000" b="1" dirty="0">
              <a:solidFill>
                <a:schemeClr val="tx2">
                  <a:lumMod val="50000"/>
                </a:schemeClr>
              </a:solidFill>
            </a:endParaRPr>
          </a:p>
        </p:txBody>
      </p:sp>
      <p:sp>
        <p:nvSpPr>
          <p:cNvPr id="11" name="Metin kutusu 10"/>
          <p:cNvSpPr txBox="1"/>
          <p:nvPr/>
        </p:nvSpPr>
        <p:spPr>
          <a:xfrm>
            <a:off x="7236296" y="1821655"/>
            <a:ext cx="864096" cy="400110"/>
          </a:xfrm>
          <a:prstGeom prst="rect">
            <a:avLst/>
          </a:prstGeom>
          <a:noFill/>
        </p:spPr>
        <p:txBody>
          <a:bodyPr wrap="square" rtlCol="0">
            <a:spAutoFit/>
          </a:bodyPr>
          <a:lstStyle/>
          <a:p>
            <a:r>
              <a:rPr lang="tr-TR" sz="2000" b="1" dirty="0" smtClean="0">
                <a:solidFill>
                  <a:schemeClr val="tx2">
                    <a:lumMod val="50000"/>
                  </a:schemeClr>
                </a:solidFill>
              </a:rPr>
              <a:t>ALICI</a:t>
            </a:r>
            <a:endParaRPr lang="tr-TR" sz="2000" b="1" dirty="0">
              <a:solidFill>
                <a:schemeClr val="tx2">
                  <a:lumMod val="50000"/>
                </a:schemeClr>
              </a:solidFill>
            </a:endParaRPr>
          </a:p>
        </p:txBody>
      </p:sp>
      <p:pic>
        <p:nvPicPr>
          <p:cNvPr id="10" name="Picture 10" descr="D:\Users\seyhan_ebru\Pictures\resim.real.vista\industry-icon.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77000" y="2375435"/>
            <a:ext cx="1620180" cy="1620180"/>
          </a:xfrm>
          <a:prstGeom prst="rect">
            <a:avLst/>
          </a:prstGeom>
          <a:noFill/>
          <a:extLst>
            <a:ext uri="{909E8E84-426E-40DD-AFC4-6F175D3DCCD1}">
              <a14:hiddenFill xmlns:a14="http://schemas.microsoft.com/office/drawing/2010/main">
                <a:solidFill>
                  <a:srgbClr val="FFFFFF"/>
                </a:solidFill>
              </a14:hiddenFill>
            </a:ext>
          </a:extLst>
        </p:spPr>
      </p:pic>
      <p:sp>
        <p:nvSpPr>
          <p:cNvPr id="12" name="Metin kutusu 11"/>
          <p:cNvSpPr txBox="1"/>
          <p:nvPr/>
        </p:nvSpPr>
        <p:spPr>
          <a:xfrm>
            <a:off x="300577" y="4119234"/>
            <a:ext cx="1584175" cy="646331"/>
          </a:xfrm>
          <a:prstGeom prst="rect">
            <a:avLst/>
          </a:prstGeom>
          <a:solidFill>
            <a:schemeClr val="accent5">
              <a:lumMod val="60000"/>
              <a:lumOff val="40000"/>
            </a:schemeClr>
          </a:solidFill>
          <a:scene3d>
            <a:camera prst="orthographicFront"/>
            <a:lightRig rig="threePt" dir="t"/>
          </a:scene3d>
          <a:sp3d>
            <a:bevelT/>
          </a:sp3d>
        </p:spPr>
        <p:txBody>
          <a:bodyPr wrap="square" rtlCol="0">
            <a:spAutoFit/>
          </a:bodyPr>
          <a:lstStyle/>
          <a:p>
            <a:pPr algn="ctr"/>
            <a:r>
              <a:rPr lang="tr-TR" b="1" dirty="0" smtClean="0">
                <a:solidFill>
                  <a:schemeClr val="tx2">
                    <a:lumMod val="50000"/>
                  </a:schemeClr>
                </a:solidFill>
              </a:rPr>
              <a:t>Mehmet Limited Şirketi</a:t>
            </a:r>
            <a:endParaRPr lang="tr-TR" b="1" dirty="0">
              <a:solidFill>
                <a:schemeClr val="tx2">
                  <a:lumMod val="50000"/>
                </a:schemeClr>
              </a:solidFill>
            </a:endParaRPr>
          </a:p>
        </p:txBody>
      </p:sp>
      <p:sp>
        <p:nvSpPr>
          <p:cNvPr id="13" name="Metin kutusu 12"/>
          <p:cNvSpPr txBox="1"/>
          <p:nvPr/>
        </p:nvSpPr>
        <p:spPr>
          <a:xfrm>
            <a:off x="6876256" y="4221088"/>
            <a:ext cx="1584175" cy="646331"/>
          </a:xfrm>
          <a:prstGeom prst="rect">
            <a:avLst/>
          </a:prstGeom>
          <a:solidFill>
            <a:schemeClr val="accent5">
              <a:lumMod val="60000"/>
              <a:lumOff val="40000"/>
            </a:schemeClr>
          </a:solidFill>
          <a:scene3d>
            <a:camera prst="orthographicFront"/>
            <a:lightRig rig="threePt" dir="t"/>
          </a:scene3d>
          <a:sp3d>
            <a:bevelT/>
          </a:sp3d>
        </p:spPr>
        <p:txBody>
          <a:bodyPr wrap="square" rtlCol="0">
            <a:spAutoFit/>
          </a:bodyPr>
          <a:lstStyle/>
          <a:p>
            <a:pPr algn="ctr"/>
            <a:r>
              <a:rPr lang="tr-TR" b="1" dirty="0" smtClean="0">
                <a:solidFill>
                  <a:schemeClr val="tx2">
                    <a:lumMod val="50000"/>
                  </a:schemeClr>
                </a:solidFill>
              </a:rPr>
              <a:t>Ahmet Anonim Şirketi</a:t>
            </a:r>
            <a:endParaRPr lang="tr-TR" b="1" dirty="0">
              <a:solidFill>
                <a:schemeClr val="tx2">
                  <a:lumMod val="50000"/>
                </a:schemeClr>
              </a:solidFill>
            </a:endParaRPr>
          </a:p>
        </p:txBody>
      </p:sp>
      <p:sp>
        <p:nvSpPr>
          <p:cNvPr id="2" name="Metin kutusu 1"/>
          <p:cNvSpPr txBox="1"/>
          <p:nvPr/>
        </p:nvSpPr>
        <p:spPr>
          <a:xfrm>
            <a:off x="1650551" y="476672"/>
            <a:ext cx="5842899" cy="892552"/>
          </a:xfrm>
          <a:prstGeom prst="rect">
            <a:avLst/>
          </a:prstGeom>
          <a:noFill/>
        </p:spPr>
        <p:txBody>
          <a:bodyPr wrap="square" rtlCol="0">
            <a:spAutoFit/>
          </a:bodyPr>
          <a:lstStyle/>
          <a:p>
            <a:pPr algn="ctr"/>
            <a:r>
              <a:rPr lang="tr-TR" sz="2400" b="1" dirty="0" smtClean="0">
                <a:solidFill>
                  <a:schemeClr val="tx2">
                    <a:lumMod val="50000"/>
                  </a:schemeClr>
                </a:solidFill>
                <a:latin typeface="+mj-lt"/>
              </a:rPr>
              <a:t>GELENEKSEL FATURALAŞMA SÜRECİ</a:t>
            </a:r>
          </a:p>
          <a:p>
            <a:pPr algn="ctr"/>
            <a:r>
              <a:rPr lang="tr-TR" sz="2800" b="1" dirty="0" smtClean="0">
                <a:solidFill>
                  <a:schemeClr val="tx2">
                    <a:lumMod val="50000"/>
                  </a:schemeClr>
                </a:solidFill>
                <a:latin typeface="+mj-lt"/>
              </a:rPr>
              <a:t>MAL TESLİMİ VE FATURA GÖNDERİMİ</a:t>
            </a:r>
            <a:endParaRPr lang="tr-TR" sz="2800" b="1" dirty="0">
              <a:solidFill>
                <a:schemeClr val="tx2">
                  <a:lumMod val="50000"/>
                </a:schemeClr>
              </a:solidFill>
              <a:latin typeface="+mj-lt"/>
            </a:endParaRPr>
          </a:p>
        </p:txBody>
      </p:sp>
      <p:grpSp>
        <p:nvGrpSpPr>
          <p:cNvPr id="5" name="Grup 4"/>
          <p:cNvGrpSpPr/>
          <p:nvPr/>
        </p:nvGrpSpPr>
        <p:grpSpPr>
          <a:xfrm>
            <a:off x="1727383" y="1700808"/>
            <a:ext cx="1008112" cy="1008112"/>
            <a:chOff x="1727383" y="1700808"/>
            <a:chExt cx="1008112" cy="1008112"/>
          </a:xfrm>
        </p:grpSpPr>
        <p:pic>
          <p:nvPicPr>
            <p:cNvPr id="3074" name="Picture 2"/>
            <p:cNvPicPr>
              <a:picLocks noChangeAspect="1" noChangeArrowheads="1"/>
            </p:cNvPicPr>
            <p:nvPr/>
          </p:nvPicPr>
          <p:blipFill>
            <a:blip r:embed="rId5" cstate="print">
              <a:extLst>
                <a:ext uri="{28A0092B-C50C-407E-A947-70E740481C1C}">
                  <a14:useLocalDpi xmlns:a14="http://schemas.microsoft.com/office/drawing/2010/main" val="0"/>
                </a:ext>
              </a:extLst>
            </a:blip>
            <a:stretch>
              <a:fillRect/>
            </a:stretch>
          </p:blipFill>
          <p:spPr bwMode="auto">
            <a:xfrm>
              <a:off x="1727383" y="1700808"/>
              <a:ext cx="1008112" cy="1008112"/>
            </a:xfrm>
            <a:prstGeom prst="rect">
              <a:avLst/>
            </a:prstGeom>
            <a:noFill/>
            <a:extLst>
              <a:ext uri="{909E8E84-426E-40DD-AFC4-6F175D3DCCD1}">
                <a14:hiddenFill xmlns:a14="http://schemas.microsoft.com/office/drawing/2010/main">
                  <a:solidFill>
                    <a:srgbClr val="FFFFFF"/>
                  </a:solidFill>
                </a14:hiddenFill>
              </a:ext>
            </a:extLst>
          </p:spPr>
        </p:pic>
        <p:sp>
          <p:nvSpPr>
            <p:cNvPr id="3" name="Metin kutusu 2"/>
            <p:cNvSpPr txBox="1"/>
            <p:nvPr/>
          </p:nvSpPr>
          <p:spPr>
            <a:xfrm rot="20350804">
              <a:off x="1906169" y="2149665"/>
              <a:ext cx="768058" cy="261610"/>
            </a:xfrm>
            <a:prstGeom prst="rect">
              <a:avLst/>
            </a:prstGeom>
            <a:noFill/>
          </p:spPr>
          <p:txBody>
            <a:bodyPr wrap="square" rtlCol="0">
              <a:spAutoFit/>
            </a:bodyPr>
            <a:lstStyle/>
            <a:p>
              <a:r>
                <a:rPr lang="tr-TR" sz="1100" b="1" dirty="0" smtClean="0">
                  <a:solidFill>
                    <a:schemeClr val="tx2">
                      <a:lumMod val="50000"/>
                    </a:schemeClr>
                  </a:solidFill>
                </a:rPr>
                <a:t>FATURA</a:t>
              </a:r>
              <a:endParaRPr lang="tr-TR" sz="1100" b="1" dirty="0">
                <a:solidFill>
                  <a:schemeClr val="tx2">
                    <a:lumMod val="50000"/>
                  </a:schemeClr>
                </a:solidFill>
              </a:endParaRPr>
            </a:p>
          </p:txBody>
        </p:sp>
      </p:grpSp>
    </p:spTree>
    <p:extLst>
      <p:ext uri="{BB962C8B-B14F-4D97-AF65-F5344CB8AC3E}">
        <p14:creationId xmlns:p14="http://schemas.microsoft.com/office/powerpoint/2010/main" val="23051166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3" presetClass="path" presetSubtype="0" accel="50000" decel="50000" fill="hold" nodeType="clickEffect">
                                  <p:stCondLst>
                                    <p:cond delay="0"/>
                                  </p:stCondLst>
                                  <p:childTnLst>
                                    <p:animMotion origin="layout" path="M 2.77778E-6 -2.59259E-6 L 0.46059 -0.00416 " pathEditMode="relative" rAng="0" ptsTypes="AA">
                                      <p:cBhvr>
                                        <p:cTn id="6" dur="2000" fill="hold"/>
                                        <p:tgtEl>
                                          <p:spTgt spid="7"/>
                                        </p:tgtEl>
                                        <p:attrNameLst>
                                          <p:attrName>ppt_x</p:attrName>
                                          <p:attrName>ppt_y</p:attrName>
                                        </p:attrNameLst>
                                      </p:cBhvr>
                                      <p:rCtr x="23021" y="-208"/>
                                    </p:animMotion>
                                  </p:childTnLst>
                                </p:cTn>
                              </p:par>
                            </p:childTnLst>
                          </p:cTn>
                        </p:par>
                        <p:par>
                          <p:cTn id="7" fill="hold">
                            <p:stCondLst>
                              <p:cond delay="2000"/>
                            </p:stCondLst>
                            <p:childTnLst>
                              <p:par>
                                <p:cTn id="8" presetID="42" presetClass="path" presetSubtype="0" accel="50000" decel="50000" fill="hold" nodeType="afterEffect">
                                  <p:stCondLst>
                                    <p:cond delay="0"/>
                                  </p:stCondLst>
                                  <p:childTnLst>
                                    <p:animMotion origin="layout" path="M -3.61111E-6 3.7037E-6 L 0.49236 0.00023 " pathEditMode="relative" rAng="0" ptsTypes="AA">
                                      <p:cBhvr>
                                        <p:cTn id="9" dur="2000" fill="hold"/>
                                        <p:tgtEl>
                                          <p:spTgt spid="5"/>
                                        </p:tgtEl>
                                        <p:attrNameLst>
                                          <p:attrName>ppt_x</p:attrName>
                                          <p:attrName>ppt_y</p:attrName>
                                        </p:attrNameLst>
                                      </p:cBhvr>
                                      <p:rCtr x="2461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13" descr="D:\Users\seyhan_ebru\Pictures\resim.usb\desktop-icon.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3528" y="1988840"/>
            <a:ext cx="1265865" cy="1265865"/>
          </a:xfrm>
          <a:prstGeom prst="rect">
            <a:avLst/>
          </a:prstGeom>
          <a:noFill/>
          <a:extLst>
            <a:ext uri="{909E8E84-426E-40DD-AFC4-6F175D3DCCD1}">
              <a14:hiddenFill xmlns:a14="http://schemas.microsoft.com/office/drawing/2010/main">
                <a:solidFill>
                  <a:srgbClr val="FFFFFF"/>
                </a:solidFill>
              </a14:hiddenFill>
            </a:ext>
          </a:extLst>
        </p:spPr>
      </p:pic>
      <p:sp>
        <p:nvSpPr>
          <p:cNvPr id="5" name="Sağ Ok 4"/>
          <p:cNvSpPr/>
          <p:nvPr/>
        </p:nvSpPr>
        <p:spPr>
          <a:xfrm>
            <a:off x="1799184" y="2520727"/>
            <a:ext cx="390902" cy="216024"/>
          </a:xfrm>
          <a:prstGeom prst="rightArrow">
            <a:avLst/>
          </a:prstGeom>
          <a:solidFill>
            <a:srgbClr val="36AC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6" name="Metin kutusu 5"/>
          <p:cNvSpPr txBox="1"/>
          <p:nvPr/>
        </p:nvSpPr>
        <p:spPr>
          <a:xfrm>
            <a:off x="-7751" y="3205339"/>
            <a:ext cx="2229562" cy="369332"/>
          </a:xfrm>
          <a:prstGeom prst="rect">
            <a:avLst/>
          </a:prstGeom>
          <a:noFill/>
        </p:spPr>
        <p:txBody>
          <a:bodyPr wrap="square" rtlCol="0">
            <a:spAutoFit/>
          </a:bodyPr>
          <a:lstStyle/>
          <a:p>
            <a:pPr algn="ctr"/>
            <a:r>
              <a:rPr lang="tr-TR" dirty="0" smtClean="0"/>
              <a:t>Faturayı hazırlar</a:t>
            </a:r>
            <a:endParaRPr lang="tr-TR" dirty="0"/>
          </a:p>
        </p:txBody>
      </p:sp>
      <p:pic>
        <p:nvPicPr>
          <p:cNvPr id="9" name="Picture 14" descr="D:\Users\seyhan_ebru\Pictures\resim.usb\Print-icon.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374834" y="2220094"/>
            <a:ext cx="865940" cy="86594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15" descr="D:\Users\seyhan_ebru\Pictures\resim.document\Document2-icon.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677463" y="1625402"/>
            <a:ext cx="637487" cy="637487"/>
          </a:xfrm>
          <a:prstGeom prst="rect">
            <a:avLst/>
          </a:prstGeom>
          <a:noFill/>
          <a:scene3d>
            <a:camera prst="perspectiveLeft" fov="1500000">
              <a:rot lat="0" lon="0" rev="0"/>
            </a:camera>
            <a:lightRig rig="threePt" dir="t"/>
          </a:scene3d>
          <a:extLst>
            <a:ext uri="{909E8E84-426E-40DD-AFC4-6F175D3DCCD1}">
              <a14:hiddenFill xmlns:a14="http://schemas.microsoft.com/office/drawing/2010/main">
                <a:solidFill>
                  <a:srgbClr val="FFFFFF"/>
                </a:solidFill>
              </a14:hiddenFill>
            </a:ext>
          </a:extLst>
        </p:spPr>
      </p:pic>
      <p:sp>
        <p:nvSpPr>
          <p:cNvPr id="13" name="Metin kutusu 12"/>
          <p:cNvSpPr txBox="1"/>
          <p:nvPr/>
        </p:nvSpPr>
        <p:spPr>
          <a:xfrm>
            <a:off x="1799184" y="3203684"/>
            <a:ext cx="1944216" cy="369332"/>
          </a:xfrm>
          <a:prstGeom prst="rect">
            <a:avLst/>
          </a:prstGeom>
          <a:noFill/>
        </p:spPr>
        <p:txBody>
          <a:bodyPr wrap="square" rtlCol="0">
            <a:spAutoFit/>
          </a:bodyPr>
          <a:lstStyle/>
          <a:p>
            <a:pPr algn="ctr"/>
            <a:r>
              <a:rPr lang="tr-TR" dirty="0" smtClean="0"/>
              <a:t>Yazdırır</a:t>
            </a:r>
            <a:endParaRPr lang="tr-TR" dirty="0"/>
          </a:p>
        </p:txBody>
      </p:sp>
      <p:pic>
        <p:nvPicPr>
          <p:cNvPr id="15" name="Picture 11" descr="D:\Users\seyhan_ebru\Pictures\resim.real.vista\cabinet-icon.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346178" y="913019"/>
            <a:ext cx="996663" cy="996663"/>
          </a:xfrm>
          <a:prstGeom prst="rect">
            <a:avLst/>
          </a:prstGeom>
          <a:noFill/>
          <a:extLst>
            <a:ext uri="{909E8E84-426E-40DD-AFC4-6F175D3DCCD1}">
              <a14:hiddenFill xmlns:a14="http://schemas.microsoft.com/office/drawing/2010/main">
                <a:solidFill>
                  <a:srgbClr val="FFFFFF"/>
                </a:solidFill>
              </a14:hiddenFill>
            </a:ext>
          </a:extLst>
        </p:spPr>
      </p:pic>
      <p:sp>
        <p:nvSpPr>
          <p:cNvPr id="16" name="Sağ Ok 15"/>
          <p:cNvSpPr/>
          <p:nvPr/>
        </p:nvSpPr>
        <p:spPr>
          <a:xfrm rot="12653019">
            <a:off x="2370571" y="1489166"/>
            <a:ext cx="390902" cy="216024"/>
          </a:xfrm>
          <a:prstGeom prst="rightArrow">
            <a:avLst/>
          </a:prstGeom>
          <a:solidFill>
            <a:srgbClr val="36AC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pic>
        <p:nvPicPr>
          <p:cNvPr id="18" name="Picture 12" descr="D:\Users\seyhan_ebru\Pictures\resim.zarf\Mail-icon.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966006" y="2293761"/>
            <a:ext cx="520714" cy="520714"/>
          </a:xfrm>
          <a:prstGeom prst="rect">
            <a:avLst/>
          </a:prstGeom>
          <a:noFill/>
          <a:extLst>
            <a:ext uri="{909E8E84-426E-40DD-AFC4-6F175D3DCCD1}">
              <a14:hiddenFill xmlns:a14="http://schemas.microsoft.com/office/drawing/2010/main">
                <a:solidFill>
                  <a:srgbClr val="FFFFFF"/>
                </a:solidFill>
              </a14:hiddenFill>
            </a:ext>
          </a:extLst>
        </p:spPr>
      </p:pic>
      <p:sp>
        <p:nvSpPr>
          <p:cNvPr id="19" name="Sağ Ok 18"/>
          <p:cNvSpPr/>
          <p:nvPr/>
        </p:nvSpPr>
        <p:spPr>
          <a:xfrm>
            <a:off x="3432642" y="2545404"/>
            <a:ext cx="390902" cy="216024"/>
          </a:xfrm>
          <a:prstGeom prst="rightArrow">
            <a:avLst/>
          </a:prstGeom>
          <a:solidFill>
            <a:srgbClr val="36AC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20" name="Metin kutusu 19"/>
          <p:cNvSpPr txBox="1"/>
          <p:nvPr/>
        </p:nvSpPr>
        <p:spPr>
          <a:xfrm>
            <a:off x="3621714" y="3147928"/>
            <a:ext cx="1471300" cy="369332"/>
          </a:xfrm>
          <a:prstGeom prst="rect">
            <a:avLst/>
          </a:prstGeom>
          <a:noFill/>
        </p:spPr>
        <p:txBody>
          <a:bodyPr wrap="square" rtlCol="0">
            <a:spAutoFit/>
          </a:bodyPr>
          <a:lstStyle/>
          <a:p>
            <a:r>
              <a:rPr lang="tr-TR" dirty="0"/>
              <a:t>Z</a:t>
            </a:r>
            <a:r>
              <a:rPr lang="tr-TR" dirty="0" smtClean="0"/>
              <a:t>arfa koyar</a:t>
            </a:r>
            <a:endParaRPr lang="tr-TR" dirty="0"/>
          </a:p>
        </p:txBody>
      </p:sp>
      <p:grpSp>
        <p:nvGrpSpPr>
          <p:cNvPr id="21" name="Grup 20"/>
          <p:cNvGrpSpPr/>
          <p:nvPr/>
        </p:nvGrpSpPr>
        <p:grpSpPr>
          <a:xfrm>
            <a:off x="7548992" y="2140741"/>
            <a:ext cx="911440" cy="1025350"/>
            <a:chOff x="3204240" y="2835673"/>
            <a:chExt cx="911440" cy="1371176"/>
          </a:xfrm>
        </p:grpSpPr>
        <p:pic>
          <p:nvPicPr>
            <p:cNvPr id="22" name="Picture 21" descr="https://encrypted-tbn2.gstatic.com/images?q=tbn:ANd9GcSOZH3_Z4PFcBFJ3K0k95RdX0QrGgdZeIFsAkJpeuts_aarS-mz"/>
            <p:cNvPicPr>
              <a:picLocks noChangeAspect="1" noChangeArrowheads="1"/>
            </p:cNvPicPr>
            <p:nvPr/>
          </p:nvPicPr>
          <p:blipFill>
            <a:blip r:embed="rId7" cstate="print">
              <a:clrChange>
                <a:clrFrom>
                  <a:srgbClr val="FEFEFC"/>
                </a:clrFrom>
                <a:clrTo>
                  <a:srgbClr val="FEFEFC">
                    <a:alpha val="0"/>
                  </a:srgbClr>
                </a:clrTo>
              </a:clrChange>
              <a:extLst>
                <a:ext uri="{28A0092B-C50C-407E-A947-70E740481C1C}">
                  <a14:useLocalDpi xmlns:a14="http://schemas.microsoft.com/office/drawing/2010/main" val="0"/>
                </a:ext>
              </a:extLst>
            </a:blip>
            <a:srcRect/>
            <a:stretch>
              <a:fillRect/>
            </a:stretch>
          </p:blipFill>
          <p:spPr bwMode="auto">
            <a:xfrm>
              <a:off x="3204240" y="2835673"/>
              <a:ext cx="911440" cy="905598"/>
            </a:xfrm>
            <a:prstGeom prst="rect">
              <a:avLst/>
            </a:prstGeom>
            <a:noFill/>
            <a:extLst>
              <a:ext uri="{909E8E84-426E-40DD-AFC4-6F175D3DCCD1}">
                <a14:hiddenFill xmlns:a14="http://schemas.microsoft.com/office/drawing/2010/main">
                  <a:solidFill>
                    <a:srgbClr val="FFFFFF"/>
                  </a:solidFill>
                </a14:hiddenFill>
              </a:ext>
            </a:extLst>
          </p:spPr>
        </p:pic>
        <p:sp>
          <p:nvSpPr>
            <p:cNvPr id="23" name="Dikdörtgen 22"/>
            <p:cNvSpPr/>
            <p:nvPr/>
          </p:nvSpPr>
          <p:spPr>
            <a:xfrm>
              <a:off x="3782429" y="3573916"/>
              <a:ext cx="45719" cy="632933"/>
            </a:xfrm>
            <a:prstGeom prst="rect">
              <a:avLst/>
            </a:prstGeom>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grpSp>
      <p:sp>
        <p:nvSpPr>
          <p:cNvPr id="24" name="Sağ Ok 23"/>
          <p:cNvSpPr/>
          <p:nvPr/>
        </p:nvSpPr>
        <p:spPr>
          <a:xfrm>
            <a:off x="4751512" y="2536950"/>
            <a:ext cx="390902" cy="216024"/>
          </a:xfrm>
          <a:prstGeom prst="rightArrow">
            <a:avLst/>
          </a:prstGeom>
          <a:solidFill>
            <a:srgbClr val="36AC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29" name="Metin kutusu 28"/>
          <p:cNvSpPr txBox="1"/>
          <p:nvPr/>
        </p:nvSpPr>
        <p:spPr>
          <a:xfrm>
            <a:off x="5114839" y="3332366"/>
            <a:ext cx="1634073" cy="646331"/>
          </a:xfrm>
          <a:prstGeom prst="rect">
            <a:avLst/>
          </a:prstGeom>
          <a:noFill/>
        </p:spPr>
        <p:txBody>
          <a:bodyPr wrap="square" rtlCol="0">
            <a:spAutoFit/>
          </a:bodyPr>
          <a:lstStyle/>
          <a:p>
            <a:pPr algn="ctr"/>
            <a:r>
              <a:rPr lang="tr-TR" dirty="0" smtClean="0"/>
              <a:t>Alıcısına gönderir</a:t>
            </a:r>
          </a:p>
        </p:txBody>
      </p:sp>
      <p:grpSp>
        <p:nvGrpSpPr>
          <p:cNvPr id="30" name="Grup 29"/>
          <p:cNvGrpSpPr/>
          <p:nvPr/>
        </p:nvGrpSpPr>
        <p:grpSpPr>
          <a:xfrm>
            <a:off x="5204048" y="1916832"/>
            <a:ext cx="1600200" cy="1600200"/>
            <a:chOff x="4937809" y="1308687"/>
            <a:chExt cx="1600200" cy="1600200"/>
          </a:xfrm>
        </p:grpSpPr>
        <p:pic>
          <p:nvPicPr>
            <p:cNvPr id="31" name="Picture 17" descr="D:\Users\seyhan_ebru\Pictures\resim.kamyon\11660618-green-truck-icon.jpg"/>
            <p:cNvPicPr>
              <a:picLocks noChangeAspect="1" noChangeArrowheads="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937809" y="1308687"/>
              <a:ext cx="1600200" cy="1600200"/>
            </a:xfrm>
            <a:prstGeom prst="rect">
              <a:avLst/>
            </a:prstGeom>
            <a:noFill/>
            <a:extLst>
              <a:ext uri="{909E8E84-426E-40DD-AFC4-6F175D3DCCD1}">
                <a14:hiddenFill xmlns:a14="http://schemas.microsoft.com/office/drawing/2010/main">
                  <a:solidFill>
                    <a:srgbClr val="FFFFFF"/>
                  </a:solidFill>
                </a14:hiddenFill>
              </a:ext>
            </a:extLst>
          </p:spPr>
        </p:pic>
        <p:sp>
          <p:nvSpPr>
            <p:cNvPr id="32" name="Dikdörtgen 31"/>
            <p:cNvSpPr/>
            <p:nvPr/>
          </p:nvSpPr>
          <p:spPr>
            <a:xfrm>
              <a:off x="5148064" y="1688515"/>
              <a:ext cx="684000" cy="5400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grpSp>
      <p:sp>
        <p:nvSpPr>
          <p:cNvPr id="33" name="Sağ Ok 32"/>
          <p:cNvSpPr/>
          <p:nvPr/>
        </p:nvSpPr>
        <p:spPr>
          <a:xfrm>
            <a:off x="6989410" y="2517005"/>
            <a:ext cx="390902" cy="216024"/>
          </a:xfrm>
          <a:prstGeom prst="rightArrow">
            <a:avLst/>
          </a:prstGeom>
          <a:solidFill>
            <a:srgbClr val="36AC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34" name="Metin kutusu 33"/>
          <p:cNvSpPr txBox="1"/>
          <p:nvPr/>
        </p:nvSpPr>
        <p:spPr>
          <a:xfrm>
            <a:off x="7185005" y="3254705"/>
            <a:ext cx="1949371" cy="646331"/>
          </a:xfrm>
          <a:prstGeom prst="rect">
            <a:avLst/>
          </a:prstGeom>
          <a:noFill/>
        </p:spPr>
        <p:txBody>
          <a:bodyPr wrap="square" rtlCol="0">
            <a:spAutoFit/>
          </a:bodyPr>
          <a:lstStyle/>
          <a:p>
            <a:pPr algn="ctr"/>
            <a:r>
              <a:rPr lang="tr-TR" dirty="0" smtClean="0"/>
              <a:t>Posta kutusuna bırakır</a:t>
            </a:r>
            <a:endParaRPr lang="tr-TR" dirty="0"/>
          </a:p>
        </p:txBody>
      </p:sp>
      <p:sp>
        <p:nvSpPr>
          <p:cNvPr id="35" name="Sağ Ok 34"/>
          <p:cNvSpPr/>
          <p:nvPr/>
        </p:nvSpPr>
        <p:spPr>
          <a:xfrm rot="16200000" flipH="1">
            <a:off x="8012953" y="4092504"/>
            <a:ext cx="390902" cy="216024"/>
          </a:xfrm>
          <a:prstGeom prst="rightArrow">
            <a:avLst/>
          </a:prstGeom>
          <a:solidFill>
            <a:srgbClr val="36AC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pic>
        <p:nvPicPr>
          <p:cNvPr id="36" name="Picture 12" descr="D:\Users\seyhan_ebru\Pictures\resim.zarf\Mail-icon.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011726" y="4564470"/>
            <a:ext cx="520714" cy="520714"/>
          </a:xfrm>
          <a:prstGeom prst="rect">
            <a:avLst/>
          </a:prstGeom>
          <a:noFill/>
          <a:extLst>
            <a:ext uri="{909E8E84-426E-40DD-AFC4-6F175D3DCCD1}">
              <a14:hiddenFill xmlns:a14="http://schemas.microsoft.com/office/drawing/2010/main">
                <a:solidFill>
                  <a:srgbClr val="FFFFFF"/>
                </a:solidFill>
              </a14:hiddenFill>
            </a:ext>
          </a:extLst>
        </p:spPr>
      </p:pic>
      <p:sp>
        <p:nvSpPr>
          <p:cNvPr id="37" name="Metin kutusu 36"/>
          <p:cNvSpPr txBox="1"/>
          <p:nvPr/>
        </p:nvSpPr>
        <p:spPr>
          <a:xfrm>
            <a:off x="7308304" y="5053226"/>
            <a:ext cx="1944216" cy="369332"/>
          </a:xfrm>
          <a:prstGeom prst="rect">
            <a:avLst/>
          </a:prstGeom>
          <a:noFill/>
        </p:spPr>
        <p:txBody>
          <a:bodyPr wrap="square" rtlCol="0">
            <a:spAutoFit/>
          </a:bodyPr>
          <a:lstStyle/>
          <a:p>
            <a:r>
              <a:rPr lang="tr-TR" dirty="0" smtClean="0"/>
              <a:t>Zarf alıcıya ulaşır</a:t>
            </a:r>
            <a:endParaRPr lang="tr-TR" dirty="0"/>
          </a:p>
        </p:txBody>
      </p:sp>
      <p:pic>
        <p:nvPicPr>
          <p:cNvPr id="38" name="Picture 15" descr="D:\Users\seyhan_ebru\Pictures\resim.document\Document2-icon.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372200" y="4437112"/>
            <a:ext cx="864095" cy="864095"/>
          </a:xfrm>
          <a:prstGeom prst="rect">
            <a:avLst/>
          </a:prstGeom>
          <a:noFill/>
          <a:scene3d>
            <a:camera prst="perspectiveLeft">
              <a:rot lat="0" lon="1800000" rev="0"/>
            </a:camera>
            <a:lightRig rig="threePt" dir="t"/>
          </a:scene3d>
          <a:extLst>
            <a:ext uri="{909E8E84-426E-40DD-AFC4-6F175D3DCCD1}">
              <a14:hiddenFill xmlns:a14="http://schemas.microsoft.com/office/drawing/2010/main">
                <a:solidFill>
                  <a:srgbClr val="FFFFFF"/>
                </a:solidFill>
              </a14:hiddenFill>
            </a:ext>
          </a:extLst>
        </p:spPr>
      </p:pic>
      <p:pic>
        <p:nvPicPr>
          <p:cNvPr id="39" name="Picture 25" descr="D:\Users\seyhan_ebru\Pictures\resim.men\engineer-icon.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716016" y="4437112"/>
            <a:ext cx="989231" cy="989231"/>
          </a:xfrm>
          <a:prstGeom prst="rect">
            <a:avLst/>
          </a:prstGeom>
          <a:noFill/>
          <a:extLst>
            <a:ext uri="{909E8E84-426E-40DD-AFC4-6F175D3DCCD1}">
              <a14:hiddenFill xmlns:a14="http://schemas.microsoft.com/office/drawing/2010/main">
                <a:solidFill>
                  <a:srgbClr val="FFFFFF"/>
                </a:solidFill>
              </a14:hiddenFill>
            </a:ext>
          </a:extLst>
        </p:spPr>
      </p:pic>
      <p:sp>
        <p:nvSpPr>
          <p:cNvPr id="40" name="Sağ Ok 39"/>
          <p:cNvSpPr/>
          <p:nvPr/>
        </p:nvSpPr>
        <p:spPr>
          <a:xfrm flipH="1">
            <a:off x="7205434" y="4797152"/>
            <a:ext cx="390902" cy="216024"/>
          </a:xfrm>
          <a:prstGeom prst="rightArrow">
            <a:avLst/>
          </a:prstGeom>
          <a:solidFill>
            <a:srgbClr val="36AC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41" name="Sağ Ok 40"/>
          <p:cNvSpPr/>
          <p:nvPr/>
        </p:nvSpPr>
        <p:spPr>
          <a:xfrm flipH="1">
            <a:off x="5868144" y="4797152"/>
            <a:ext cx="390902" cy="216024"/>
          </a:xfrm>
          <a:prstGeom prst="rightArrow">
            <a:avLst/>
          </a:prstGeom>
          <a:solidFill>
            <a:srgbClr val="36AC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42" name="Metin kutusu 41"/>
          <p:cNvSpPr txBox="1"/>
          <p:nvPr/>
        </p:nvSpPr>
        <p:spPr>
          <a:xfrm>
            <a:off x="3968738" y="5373216"/>
            <a:ext cx="2619486" cy="646331"/>
          </a:xfrm>
          <a:prstGeom prst="rect">
            <a:avLst/>
          </a:prstGeom>
          <a:noFill/>
        </p:spPr>
        <p:txBody>
          <a:bodyPr wrap="square" rtlCol="0">
            <a:spAutoFit/>
          </a:bodyPr>
          <a:lstStyle/>
          <a:p>
            <a:pPr algn="ctr"/>
            <a:r>
              <a:rPr lang="tr-TR" dirty="0" smtClean="0"/>
              <a:t>Muhasebe faturayı kontrol eder</a:t>
            </a:r>
            <a:endParaRPr lang="tr-TR" dirty="0"/>
          </a:p>
        </p:txBody>
      </p:sp>
      <p:pic>
        <p:nvPicPr>
          <p:cNvPr id="46" name="Picture 13" descr="D:\Users\seyhan_ebru\Pictures\resim.usb\desktop-icon.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42039" y="4323375"/>
            <a:ext cx="1265865" cy="1265865"/>
          </a:xfrm>
          <a:prstGeom prst="rect">
            <a:avLst/>
          </a:prstGeom>
          <a:noFill/>
          <a:extLst>
            <a:ext uri="{909E8E84-426E-40DD-AFC4-6F175D3DCCD1}">
              <a14:hiddenFill xmlns:a14="http://schemas.microsoft.com/office/drawing/2010/main">
                <a:solidFill>
                  <a:srgbClr val="FFFFFF"/>
                </a:solidFill>
              </a14:hiddenFill>
            </a:ext>
          </a:extLst>
        </p:spPr>
      </p:pic>
      <p:sp>
        <p:nvSpPr>
          <p:cNvPr id="47" name="Sağ Ok 46"/>
          <p:cNvSpPr/>
          <p:nvPr/>
        </p:nvSpPr>
        <p:spPr>
          <a:xfrm flipH="1">
            <a:off x="4037082" y="4797152"/>
            <a:ext cx="390902" cy="216024"/>
          </a:xfrm>
          <a:prstGeom prst="rightArrow">
            <a:avLst/>
          </a:prstGeom>
          <a:solidFill>
            <a:srgbClr val="36AC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48" name="Metin kutusu 47"/>
          <p:cNvSpPr txBox="1"/>
          <p:nvPr/>
        </p:nvSpPr>
        <p:spPr>
          <a:xfrm>
            <a:off x="251520" y="4725144"/>
            <a:ext cx="2361341" cy="923330"/>
          </a:xfrm>
          <a:prstGeom prst="rect">
            <a:avLst/>
          </a:prstGeom>
          <a:noFill/>
        </p:spPr>
        <p:txBody>
          <a:bodyPr wrap="square" rtlCol="0">
            <a:spAutoFit/>
          </a:bodyPr>
          <a:lstStyle/>
          <a:p>
            <a:pPr algn="ctr"/>
            <a:r>
              <a:rPr lang="tr-TR" dirty="0" smtClean="0"/>
              <a:t>Faturayı kendi muhasebe sistemine işler</a:t>
            </a:r>
            <a:endParaRPr lang="tr-TR" dirty="0"/>
          </a:p>
        </p:txBody>
      </p:sp>
      <p:pic>
        <p:nvPicPr>
          <p:cNvPr id="43" name="Picture 11" descr="D:\Users\seyhan_ebru\Pictures\resim.real.vista\cabinet-icon.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948264" y="5562677"/>
            <a:ext cx="1106683" cy="1106683"/>
          </a:xfrm>
          <a:prstGeom prst="rect">
            <a:avLst/>
          </a:prstGeom>
          <a:noFill/>
          <a:extLst>
            <a:ext uri="{909E8E84-426E-40DD-AFC4-6F175D3DCCD1}">
              <a14:hiddenFill xmlns:a14="http://schemas.microsoft.com/office/drawing/2010/main">
                <a:solidFill>
                  <a:srgbClr val="FFFFFF"/>
                </a:solidFill>
              </a14:hiddenFill>
            </a:ext>
          </a:extLst>
        </p:spPr>
      </p:pic>
      <p:sp>
        <p:nvSpPr>
          <p:cNvPr id="44" name="Sağ Ok 43"/>
          <p:cNvSpPr/>
          <p:nvPr/>
        </p:nvSpPr>
        <p:spPr>
          <a:xfrm rot="3358314">
            <a:off x="7004970" y="5343903"/>
            <a:ext cx="390902" cy="216024"/>
          </a:xfrm>
          <a:prstGeom prst="rightArrow">
            <a:avLst/>
          </a:prstGeom>
          <a:solidFill>
            <a:srgbClr val="36AC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45" name="Metin kutusu 44"/>
          <p:cNvSpPr txBox="1"/>
          <p:nvPr/>
        </p:nvSpPr>
        <p:spPr>
          <a:xfrm>
            <a:off x="5724128" y="6084004"/>
            <a:ext cx="1944216" cy="369332"/>
          </a:xfrm>
          <a:prstGeom prst="rect">
            <a:avLst/>
          </a:prstGeom>
          <a:noFill/>
        </p:spPr>
        <p:txBody>
          <a:bodyPr wrap="square" rtlCol="0">
            <a:spAutoFit/>
          </a:bodyPr>
          <a:lstStyle/>
          <a:p>
            <a:r>
              <a:rPr lang="tr-TR" dirty="0" smtClean="0"/>
              <a:t>Arşive kaldırır</a:t>
            </a:r>
            <a:endParaRPr lang="tr-TR" dirty="0"/>
          </a:p>
        </p:txBody>
      </p:sp>
      <p:sp>
        <p:nvSpPr>
          <p:cNvPr id="49" name="Metin kutusu 48"/>
          <p:cNvSpPr txBox="1"/>
          <p:nvPr/>
        </p:nvSpPr>
        <p:spPr>
          <a:xfrm>
            <a:off x="234819" y="1744090"/>
            <a:ext cx="1656184" cy="400110"/>
          </a:xfrm>
          <a:prstGeom prst="rect">
            <a:avLst/>
          </a:prstGeom>
          <a:noFill/>
        </p:spPr>
        <p:txBody>
          <a:bodyPr wrap="square" rtlCol="0">
            <a:spAutoFit/>
          </a:bodyPr>
          <a:lstStyle/>
          <a:p>
            <a:r>
              <a:rPr lang="tr-TR" sz="2000" b="1" dirty="0" smtClean="0"/>
              <a:t>Mehmet Ltd.</a:t>
            </a:r>
            <a:endParaRPr lang="tr-TR" sz="2000" b="1" dirty="0"/>
          </a:p>
        </p:txBody>
      </p:sp>
      <p:sp>
        <p:nvSpPr>
          <p:cNvPr id="50" name="Metin kutusu 49"/>
          <p:cNvSpPr txBox="1"/>
          <p:nvPr/>
        </p:nvSpPr>
        <p:spPr>
          <a:xfrm>
            <a:off x="2483768" y="4109010"/>
            <a:ext cx="1656184" cy="400110"/>
          </a:xfrm>
          <a:prstGeom prst="rect">
            <a:avLst/>
          </a:prstGeom>
          <a:noFill/>
        </p:spPr>
        <p:txBody>
          <a:bodyPr wrap="square" rtlCol="0">
            <a:spAutoFit/>
          </a:bodyPr>
          <a:lstStyle/>
          <a:p>
            <a:r>
              <a:rPr lang="tr-TR" sz="2000" b="1" dirty="0"/>
              <a:t>A</a:t>
            </a:r>
            <a:r>
              <a:rPr lang="tr-TR" sz="2000" b="1" dirty="0" smtClean="0"/>
              <a:t>hmet A.Ş.</a:t>
            </a:r>
            <a:endParaRPr lang="tr-TR" sz="2000" b="1" dirty="0"/>
          </a:p>
        </p:txBody>
      </p:sp>
      <p:sp>
        <p:nvSpPr>
          <p:cNvPr id="2" name="Metin kutusu 1"/>
          <p:cNvSpPr txBox="1"/>
          <p:nvPr/>
        </p:nvSpPr>
        <p:spPr>
          <a:xfrm>
            <a:off x="2010477" y="368603"/>
            <a:ext cx="4902123" cy="523220"/>
          </a:xfrm>
          <a:prstGeom prst="rect">
            <a:avLst/>
          </a:prstGeom>
          <a:noFill/>
        </p:spPr>
        <p:txBody>
          <a:bodyPr wrap="square" rtlCol="0">
            <a:spAutoFit/>
          </a:bodyPr>
          <a:lstStyle/>
          <a:p>
            <a:pPr algn="ctr"/>
            <a:r>
              <a:rPr lang="tr-TR" sz="2800" b="1" dirty="0" smtClean="0">
                <a:latin typeface="+mj-lt"/>
              </a:rPr>
              <a:t>KAĞIT FATURALAŞMA SÜRECİ</a:t>
            </a:r>
            <a:endParaRPr lang="tr-TR" sz="2800" b="1" dirty="0">
              <a:latin typeface="+mj-lt"/>
            </a:endParaRPr>
          </a:p>
        </p:txBody>
      </p:sp>
      <p:sp>
        <p:nvSpPr>
          <p:cNvPr id="3" name="Metin kutusu 2"/>
          <p:cNvSpPr txBox="1"/>
          <p:nvPr/>
        </p:nvSpPr>
        <p:spPr>
          <a:xfrm>
            <a:off x="2339752" y="1124744"/>
            <a:ext cx="3023404" cy="369332"/>
          </a:xfrm>
          <a:prstGeom prst="rect">
            <a:avLst/>
          </a:prstGeom>
          <a:noFill/>
        </p:spPr>
        <p:txBody>
          <a:bodyPr wrap="square" rtlCol="0">
            <a:spAutoFit/>
          </a:bodyPr>
          <a:lstStyle/>
          <a:p>
            <a:r>
              <a:rPr lang="tr-TR" dirty="0" smtClean="0"/>
              <a:t>Bir kopyasını arşive kaldırır</a:t>
            </a:r>
            <a:endParaRPr lang="tr-TR" dirty="0"/>
          </a:p>
        </p:txBody>
      </p:sp>
      <p:sp>
        <p:nvSpPr>
          <p:cNvPr id="7" name="Metin kutusu 6"/>
          <p:cNvSpPr txBox="1"/>
          <p:nvPr/>
        </p:nvSpPr>
        <p:spPr>
          <a:xfrm>
            <a:off x="543536" y="5805264"/>
            <a:ext cx="3356550" cy="461665"/>
          </a:xfrm>
          <a:prstGeom prst="rect">
            <a:avLst/>
          </a:prstGeom>
          <a:solidFill>
            <a:srgbClr val="E3DA67"/>
          </a:solidFill>
          <a:scene3d>
            <a:camera prst="orthographicFront"/>
            <a:lightRig rig="threePt" dir="t"/>
          </a:scene3d>
          <a:sp3d>
            <a:bevelT/>
            <a:bevelB w="139700" h="139700" prst="divot"/>
          </a:sp3d>
        </p:spPr>
        <p:txBody>
          <a:bodyPr wrap="square" rtlCol="0">
            <a:spAutoFit/>
          </a:bodyPr>
          <a:lstStyle/>
          <a:p>
            <a:pPr algn="ctr"/>
            <a:r>
              <a:rPr lang="tr-TR" sz="2400" b="1" dirty="0" smtClean="0"/>
              <a:t>Ortalama 5 gün </a:t>
            </a:r>
            <a:endParaRPr lang="tr-TR" sz="2400" b="1" dirty="0"/>
          </a:p>
        </p:txBody>
      </p:sp>
    </p:spTree>
    <p:extLst>
      <p:ext uri="{BB962C8B-B14F-4D97-AF65-F5344CB8AC3E}">
        <p14:creationId xmlns:p14="http://schemas.microsoft.com/office/powerpoint/2010/main" val="115983821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500"/>
                                  </p:stCondLst>
                                  <p:childTnLst>
                                    <p:set>
                                      <p:cBhvr>
                                        <p:cTn id="6" dur="1" fill="hold">
                                          <p:stCondLst>
                                            <p:cond delay="0"/>
                                          </p:stCondLst>
                                        </p:cTn>
                                        <p:tgtEl>
                                          <p:spTgt spid="6"/>
                                        </p:tgtEl>
                                        <p:attrNameLst>
                                          <p:attrName>style.visibility</p:attrName>
                                        </p:attrNameLst>
                                      </p:cBhvr>
                                      <p:to>
                                        <p:strVal val="visible"/>
                                      </p:to>
                                    </p:set>
                                  </p:childTnLst>
                                </p:cTn>
                              </p:par>
                            </p:childTnLst>
                          </p:cTn>
                        </p:par>
                        <p:par>
                          <p:cTn id="7" fill="hold">
                            <p:stCondLst>
                              <p:cond delay="500"/>
                            </p:stCondLst>
                            <p:childTnLst>
                              <p:par>
                                <p:cTn id="8" presetID="10" presetClass="exit" presetSubtype="0" fill="hold" grpId="1" nodeType="afterEffect">
                                  <p:stCondLst>
                                    <p:cond delay="500"/>
                                  </p:stCondLst>
                                  <p:childTnLst>
                                    <p:animEffect transition="out" filter="fade">
                                      <p:cBhvr>
                                        <p:cTn id="9" dur="2000"/>
                                        <p:tgtEl>
                                          <p:spTgt spid="6"/>
                                        </p:tgtEl>
                                      </p:cBhvr>
                                    </p:animEffect>
                                    <p:set>
                                      <p:cBhvr>
                                        <p:cTn id="10" dur="1" fill="hold">
                                          <p:stCondLst>
                                            <p:cond delay="1999"/>
                                          </p:stCondLst>
                                        </p:cTn>
                                        <p:tgtEl>
                                          <p:spTgt spid="6"/>
                                        </p:tgtEl>
                                        <p:attrNameLst>
                                          <p:attrName>style.visibility</p:attrName>
                                        </p:attrNameLst>
                                      </p:cBhvr>
                                      <p:to>
                                        <p:strVal val="hidden"/>
                                      </p:to>
                                    </p:set>
                                  </p:childTnLst>
                                </p:cTn>
                              </p:par>
                            </p:childTnLst>
                          </p:cTn>
                        </p:par>
                        <p:par>
                          <p:cTn id="11" fill="hold">
                            <p:stCondLst>
                              <p:cond delay="3000"/>
                            </p:stCondLst>
                            <p:childTnLst>
                              <p:par>
                                <p:cTn id="12" presetID="22" presetClass="entr" presetSubtype="8" fill="hold" grpId="0" nodeType="afterEffect">
                                  <p:stCondLst>
                                    <p:cond delay="0"/>
                                  </p:stCondLst>
                                  <p:childTnLst>
                                    <p:set>
                                      <p:cBhvr>
                                        <p:cTn id="13" dur="1" fill="hold">
                                          <p:stCondLst>
                                            <p:cond delay="0"/>
                                          </p:stCondLst>
                                        </p:cTn>
                                        <p:tgtEl>
                                          <p:spTgt spid="5"/>
                                        </p:tgtEl>
                                        <p:attrNameLst>
                                          <p:attrName>style.visibility</p:attrName>
                                        </p:attrNameLst>
                                      </p:cBhvr>
                                      <p:to>
                                        <p:strVal val="visible"/>
                                      </p:to>
                                    </p:set>
                                    <p:animEffect transition="in" filter="wipe(left)">
                                      <p:cBhvr>
                                        <p:cTn id="14" dur="500"/>
                                        <p:tgtEl>
                                          <p:spTgt spid="5"/>
                                        </p:tgtEl>
                                      </p:cBhvr>
                                    </p:animEffect>
                                  </p:childTnLst>
                                </p:cTn>
                              </p:par>
                            </p:childTnLst>
                          </p:cTn>
                        </p:par>
                        <p:par>
                          <p:cTn id="15" fill="hold">
                            <p:stCondLst>
                              <p:cond delay="3500"/>
                            </p:stCondLst>
                            <p:childTnLst>
                              <p:par>
                                <p:cTn id="16" presetID="1" presetClass="entr" presetSubtype="0" fill="hold" grpId="0" nodeType="afterEffect">
                                  <p:stCondLst>
                                    <p:cond delay="500"/>
                                  </p:stCondLst>
                                  <p:childTnLst>
                                    <p:set>
                                      <p:cBhvr>
                                        <p:cTn id="17" dur="1" fill="hold">
                                          <p:stCondLst>
                                            <p:cond delay="0"/>
                                          </p:stCondLst>
                                        </p:cTn>
                                        <p:tgtEl>
                                          <p:spTgt spid="13"/>
                                        </p:tgtEl>
                                        <p:attrNameLst>
                                          <p:attrName>style.visibility</p:attrName>
                                        </p:attrNameLst>
                                      </p:cBhvr>
                                      <p:to>
                                        <p:strVal val="visible"/>
                                      </p:to>
                                    </p:set>
                                  </p:childTnLst>
                                </p:cTn>
                              </p:par>
                              <p:par>
                                <p:cTn id="18" presetID="1" presetClass="entr" presetSubtype="0" fill="hold" nodeType="withEffect">
                                  <p:stCondLst>
                                    <p:cond delay="0"/>
                                  </p:stCondLst>
                                  <p:childTnLst>
                                    <p:set>
                                      <p:cBhvr>
                                        <p:cTn id="19" dur="1" fill="hold">
                                          <p:stCondLst>
                                            <p:cond delay="0"/>
                                          </p:stCondLst>
                                        </p:cTn>
                                        <p:tgtEl>
                                          <p:spTgt spid="9"/>
                                        </p:tgtEl>
                                        <p:attrNameLst>
                                          <p:attrName>style.visibility</p:attrName>
                                        </p:attrNameLst>
                                      </p:cBhvr>
                                      <p:to>
                                        <p:strVal val="visible"/>
                                      </p:to>
                                    </p:set>
                                  </p:childTnLst>
                                </p:cTn>
                              </p:par>
                              <p:par>
                                <p:cTn id="20" presetID="1" presetClass="entr" presetSubtype="0" fill="hold" nodeType="withEffect">
                                  <p:stCondLst>
                                    <p:cond delay="0"/>
                                  </p:stCondLst>
                                  <p:childTnLst>
                                    <p:set>
                                      <p:cBhvr>
                                        <p:cTn id="21" dur="1" fill="hold">
                                          <p:stCondLst>
                                            <p:cond delay="0"/>
                                          </p:stCondLst>
                                        </p:cTn>
                                        <p:tgtEl>
                                          <p:spTgt spid="10"/>
                                        </p:tgtEl>
                                        <p:attrNameLst>
                                          <p:attrName>style.visibility</p:attrName>
                                        </p:attrNameLst>
                                      </p:cBhvr>
                                      <p:to>
                                        <p:strVal val="visible"/>
                                      </p:to>
                                    </p:set>
                                  </p:childTnLst>
                                </p:cTn>
                              </p:par>
                            </p:childTnLst>
                          </p:cTn>
                        </p:par>
                        <p:par>
                          <p:cTn id="22" fill="hold">
                            <p:stCondLst>
                              <p:cond delay="4000"/>
                            </p:stCondLst>
                            <p:childTnLst>
                              <p:par>
                                <p:cTn id="23" presetID="10" presetClass="exit" presetSubtype="0" fill="hold" grpId="1" nodeType="afterEffect">
                                  <p:stCondLst>
                                    <p:cond delay="500"/>
                                  </p:stCondLst>
                                  <p:childTnLst>
                                    <p:animEffect transition="out" filter="fade">
                                      <p:cBhvr>
                                        <p:cTn id="24" dur="2000"/>
                                        <p:tgtEl>
                                          <p:spTgt spid="13"/>
                                        </p:tgtEl>
                                      </p:cBhvr>
                                    </p:animEffect>
                                    <p:set>
                                      <p:cBhvr>
                                        <p:cTn id="25" dur="1" fill="hold">
                                          <p:stCondLst>
                                            <p:cond delay="1999"/>
                                          </p:stCondLst>
                                        </p:cTn>
                                        <p:tgtEl>
                                          <p:spTgt spid="13"/>
                                        </p:tgtEl>
                                        <p:attrNameLst>
                                          <p:attrName>style.visibility</p:attrName>
                                        </p:attrNameLst>
                                      </p:cBhvr>
                                      <p:to>
                                        <p:strVal val="hidden"/>
                                      </p:to>
                                    </p:set>
                                  </p:childTnLst>
                                </p:cTn>
                              </p:par>
                              <p:par>
                                <p:cTn id="26" presetID="22" presetClass="entr" presetSubtype="2" fill="hold" grpId="0" nodeType="withEffect">
                                  <p:stCondLst>
                                    <p:cond delay="0"/>
                                  </p:stCondLst>
                                  <p:childTnLst>
                                    <p:set>
                                      <p:cBhvr>
                                        <p:cTn id="27" dur="1" fill="hold">
                                          <p:stCondLst>
                                            <p:cond delay="0"/>
                                          </p:stCondLst>
                                        </p:cTn>
                                        <p:tgtEl>
                                          <p:spTgt spid="16"/>
                                        </p:tgtEl>
                                        <p:attrNameLst>
                                          <p:attrName>style.visibility</p:attrName>
                                        </p:attrNameLst>
                                      </p:cBhvr>
                                      <p:to>
                                        <p:strVal val="visible"/>
                                      </p:to>
                                    </p:set>
                                    <p:animEffect transition="in" filter="wipe(right)">
                                      <p:cBhvr>
                                        <p:cTn id="28" dur="500"/>
                                        <p:tgtEl>
                                          <p:spTgt spid="16"/>
                                        </p:tgtEl>
                                      </p:cBhvr>
                                    </p:animEffect>
                                  </p:childTnLst>
                                </p:cTn>
                              </p:par>
                              <p:par>
                                <p:cTn id="29" presetID="1" presetClass="entr" presetSubtype="0" fill="hold" nodeType="withEffect">
                                  <p:stCondLst>
                                    <p:cond delay="0"/>
                                  </p:stCondLst>
                                  <p:childTnLst>
                                    <p:set>
                                      <p:cBhvr>
                                        <p:cTn id="30" dur="1" fill="hold">
                                          <p:stCondLst>
                                            <p:cond delay="0"/>
                                          </p:stCondLst>
                                        </p:cTn>
                                        <p:tgtEl>
                                          <p:spTgt spid="15"/>
                                        </p:tgtEl>
                                        <p:attrNameLst>
                                          <p:attrName>style.visibility</p:attrName>
                                        </p:attrNameLst>
                                      </p:cBhvr>
                                      <p:to>
                                        <p:strVal val="visible"/>
                                      </p:to>
                                    </p:set>
                                  </p:childTnLst>
                                </p:cTn>
                              </p:par>
                              <p:par>
                                <p:cTn id="31" presetID="1" presetClass="entr" presetSubtype="0" fill="hold" grpId="0" nodeType="withEffect">
                                  <p:stCondLst>
                                    <p:cond delay="500"/>
                                  </p:stCondLst>
                                  <p:childTnLst>
                                    <p:set>
                                      <p:cBhvr>
                                        <p:cTn id="32" dur="1" fill="hold">
                                          <p:stCondLst>
                                            <p:cond delay="0"/>
                                          </p:stCondLst>
                                        </p:cTn>
                                        <p:tgtEl>
                                          <p:spTgt spid="3"/>
                                        </p:tgtEl>
                                        <p:attrNameLst>
                                          <p:attrName>style.visibility</p:attrName>
                                        </p:attrNameLst>
                                      </p:cBhvr>
                                      <p:to>
                                        <p:strVal val="visible"/>
                                      </p:to>
                                    </p:set>
                                  </p:childTnLst>
                                </p:cTn>
                              </p:par>
                            </p:childTnLst>
                          </p:cTn>
                        </p:par>
                        <p:par>
                          <p:cTn id="33" fill="hold">
                            <p:stCondLst>
                              <p:cond delay="6500"/>
                            </p:stCondLst>
                            <p:childTnLst>
                              <p:par>
                                <p:cTn id="34" presetID="10" presetClass="exit" presetSubtype="0" fill="hold" grpId="1" nodeType="afterEffect">
                                  <p:stCondLst>
                                    <p:cond delay="500"/>
                                  </p:stCondLst>
                                  <p:childTnLst>
                                    <p:animEffect transition="out" filter="fade">
                                      <p:cBhvr>
                                        <p:cTn id="35" dur="500"/>
                                        <p:tgtEl>
                                          <p:spTgt spid="3"/>
                                        </p:tgtEl>
                                      </p:cBhvr>
                                    </p:animEffect>
                                    <p:set>
                                      <p:cBhvr>
                                        <p:cTn id="36" dur="1" fill="hold">
                                          <p:stCondLst>
                                            <p:cond delay="499"/>
                                          </p:stCondLst>
                                        </p:cTn>
                                        <p:tgtEl>
                                          <p:spTgt spid="3"/>
                                        </p:tgtEl>
                                        <p:attrNameLst>
                                          <p:attrName>style.visibility</p:attrName>
                                        </p:attrNameLst>
                                      </p:cBhvr>
                                      <p:to>
                                        <p:strVal val="hidden"/>
                                      </p:to>
                                    </p:set>
                                  </p:childTnLst>
                                </p:cTn>
                              </p:par>
                            </p:childTnLst>
                          </p:cTn>
                        </p:par>
                        <p:par>
                          <p:cTn id="37" fill="hold">
                            <p:stCondLst>
                              <p:cond delay="7500"/>
                            </p:stCondLst>
                            <p:childTnLst>
                              <p:par>
                                <p:cTn id="38" presetID="1" presetClass="entr" presetSubtype="0" fill="hold" grpId="0" nodeType="afterEffect">
                                  <p:stCondLst>
                                    <p:cond delay="500"/>
                                  </p:stCondLst>
                                  <p:childTnLst>
                                    <p:set>
                                      <p:cBhvr>
                                        <p:cTn id="39" dur="1" fill="hold">
                                          <p:stCondLst>
                                            <p:cond delay="0"/>
                                          </p:stCondLst>
                                        </p:cTn>
                                        <p:tgtEl>
                                          <p:spTgt spid="20"/>
                                        </p:tgtEl>
                                        <p:attrNameLst>
                                          <p:attrName>style.visibility</p:attrName>
                                        </p:attrNameLst>
                                      </p:cBhvr>
                                      <p:to>
                                        <p:strVal val="visible"/>
                                      </p:to>
                                    </p:set>
                                  </p:childTnLst>
                                </p:cTn>
                              </p:par>
                              <p:par>
                                <p:cTn id="40" presetID="22" presetClass="entr" presetSubtype="8" fill="hold" grpId="0" nodeType="withEffect">
                                  <p:stCondLst>
                                    <p:cond delay="0"/>
                                  </p:stCondLst>
                                  <p:childTnLst>
                                    <p:set>
                                      <p:cBhvr>
                                        <p:cTn id="41" dur="1" fill="hold">
                                          <p:stCondLst>
                                            <p:cond delay="0"/>
                                          </p:stCondLst>
                                        </p:cTn>
                                        <p:tgtEl>
                                          <p:spTgt spid="19"/>
                                        </p:tgtEl>
                                        <p:attrNameLst>
                                          <p:attrName>style.visibility</p:attrName>
                                        </p:attrNameLst>
                                      </p:cBhvr>
                                      <p:to>
                                        <p:strVal val="visible"/>
                                      </p:to>
                                    </p:set>
                                    <p:animEffect transition="in" filter="wipe(left)">
                                      <p:cBhvr>
                                        <p:cTn id="42" dur="500"/>
                                        <p:tgtEl>
                                          <p:spTgt spid="19"/>
                                        </p:tgtEl>
                                      </p:cBhvr>
                                    </p:animEffect>
                                  </p:childTnLst>
                                </p:cTn>
                              </p:par>
                              <p:par>
                                <p:cTn id="43" presetID="1" presetClass="entr" presetSubtype="0" fill="hold" nodeType="withEffect">
                                  <p:stCondLst>
                                    <p:cond delay="0"/>
                                  </p:stCondLst>
                                  <p:childTnLst>
                                    <p:set>
                                      <p:cBhvr>
                                        <p:cTn id="44" dur="1" fill="hold">
                                          <p:stCondLst>
                                            <p:cond delay="0"/>
                                          </p:stCondLst>
                                        </p:cTn>
                                        <p:tgtEl>
                                          <p:spTgt spid="18"/>
                                        </p:tgtEl>
                                        <p:attrNameLst>
                                          <p:attrName>style.visibility</p:attrName>
                                        </p:attrNameLst>
                                      </p:cBhvr>
                                      <p:to>
                                        <p:strVal val="visible"/>
                                      </p:to>
                                    </p:set>
                                  </p:childTnLst>
                                </p:cTn>
                              </p:par>
                            </p:childTnLst>
                          </p:cTn>
                        </p:par>
                        <p:par>
                          <p:cTn id="45" fill="hold">
                            <p:stCondLst>
                              <p:cond delay="8000"/>
                            </p:stCondLst>
                            <p:childTnLst>
                              <p:par>
                                <p:cTn id="46" presetID="10" presetClass="exit" presetSubtype="0" fill="hold" grpId="1" nodeType="afterEffect">
                                  <p:stCondLst>
                                    <p:cond delay="500"/>
                                  </p:stCondLst>
                                  <p:childTnLst>
                                    <p:animEffect transition="out" filter="fade">
                                      <p:cBhvr>
                                        <p:cTn id="47" dur="2000"/>
                                        <p:tgtEl>
                                          <p:spTgt spid="20"/>
                                        </p:tgtEl>
                                      </p:cBhvr>
                                    </p:animEffect>
                                    <p:set>
                                      <p:cBhvr>
                                        <p:cTn id="48" dur="1" fill="hold">
                                          <p:stCondLst>
                                            <p:cond delay="1999"/>
                                          </p:stCondLst>
                                        </p:cTn>
                                        <p:tgtEl>
                                          <p:spTgt spid="20"/>
                                        </p:tgtEl>
                                        <p:attrNameLst>
                                          <p:attrName>style.visibility</p:attrName>
                                        </p:attrNameLst>
                                      </p:cBhvr>
                                      <p:to>
                                        <p:strVal val="hidden"/>
                                      </p:to>
                                    </p:set>
                                  </p:childTnLst>
                                </p:cTn>
                              </p:par>
                              <p:par>
                                <p:cTn id="49" presetID="22" presetClass="entr" presetSubtype="8" fill="hold" grpId="0" nodeType="withEffect">
                                  <p:stCondLst>
                                    <p:cond delay="700"/>
                                  </p:stCondLst>
                                  <p:childTnLst>
                                    <p:set>
                                      <p:cBhvr>
                                        <p:cTn id="50" dur="1" fill="hold">
                                          <p:stCondLst>
                                            <p:cond delay="0"/>
                                          </p:stCondLst>
                                        </p:cTn>
                                        <p:tgtEl>
                                          <p:spTgt spid="24"/>
                                        </p:tgtEl>
                                        <p:attrNameLst>
                                          <p:attrName>style.visibility</p:attrName>
                                        </p:attrNameLst>
                                      </p:cBhvr>
                                      <p:to>
                                        <p:strVal val="visible"/>
                                      </p:to>
                                    </p:set>
                                    <p:animEffect transition="in" filter="wipe(left)">
                                      <p:cBhvr>
                                        <p:cTn id="51" dur="500"/>
                                        <p:tgtEl>
                                          <p:spTgt spid="24"/>
                                        </p:tgtEl>
                                      </p:cBhvr>
                                    </p:animEffect>
                                  </p:childTnLst>
                                </p:cTn>
                              </p:par>
                            </p:childTnLst>
                          </p:cTn>
                        </p:par>
                        <p:par>
                          <p:cTn id="52" fill="hold">
                            <p:stCondLst>
                              <p:cond delay="10500"/>
                            </p:stCondLst>
                            <p:childTnLst>
                              <p:par>
                                <p:cTn id="53" presetID="1" presetClass="entr" presetSubtype="0" fill="hold" nodeType="afterEffect">
                                  <p:stCondLst>
                                    <p:cond delay="0"/>
                                  </p:stCondLst>
                                  <p:childTnLst>
                                    <p:set>
                                      <p:cBhvr>
                                        <p:cTn id="54" dur="1" fill="hold">
                                          <p:stCondLst>
                                            <p:cond delay="0"/>
                                          </p:stCondLst>
                                        </p:cTn>
                                        <p:tgtEl>
                                          <p:spTgt spid="30"/>
                                        </p:tgtEl>
                                        <p:attrNameLst>
                                          <p:attrName>style.visibility</p:attrName>
                                        </p:attrNameLst>
                                      </p:cBhvr>
                                      <p:to>
                                        <p:strVal val="visible"/>
                                      </p:to>
                                    </p:set>
                                  </p:childTnLst>
                                </p:cTn>
                              </p:par>
                            </p:childTnLst>
                          </p:cTn>
                        </p:par>
                        <p:par>
                          <p:cTn id="55" fill="hold">
                            <p:stCondLst>
                              <p:cond delay="10500"/>
                            </p:stCondLst>
                            <p:childTnLst>
                              <p:par>
                                <p:cTn id="56" presetID="1" presetClass="entr" presetSubtype="0" fill="hold" grpId="0" nodeType="afterEffect">
                                  <p:stCondLst>
                                    <p:cond delay="500"/>
                                  </p:stCondLst>
                                  <p:childTnLst>
                                    <p:set>
                                      <p:cBhvr>
                                        <p:cTn id="57" dur="1" fill="hold">
                                          <p:stCondLst>
                                            <p:cond delay="0"/>
                                          </p:stCondLst>
                                        </p:cTn>
                                        <p:tgtEl>
                                          <p:spTgt spid="29"/>
                                        </p:tgtEl>
                                        <p:attrNameLst>
                                          <p:attrName>style.visibility</p:attrName>
                                        </p:attrNameLst>
                                      </p:cBhvr>
                                      <p:to>
                                        <p:strVal val="visible"/>
                                      </p:to>
                                    </p:set>
                                  </p:childTnLst>
                                </p:cTn>
                              </p:par>
                            </p:childTnLst>
                          </p:cTn>
                        </p:par>
                        <p:par>
                          <p:cTn id="58" fill="hold">
                            <p:stCondLst>
                              <p:cond delay="11000"/>
                            </p:stCondLst>
                            <p:childTnLst>
                              <p:par>
                                <p:cTn id="59" presetID="10" presetClass="exit" presetSubtype="0" fill="hold" grpId="1" nodeType="afterEffect">
                                  <p:stCondLst>
                                    <p:cond delay="500"/>
                                  </p:stCondLst>
                                  <p:childTnLst>
                                    <p:animEffect transition="out" filter="fade">
                                      <p:cBhvr>
                                        <p:cTn id="60" dur="2000"/>
                                        <p:tgtEl>
                                          <p:spTgt spid="29"/>
                                        </p:tgtEl>
                                      </p:cBhvr>
                                    </p:animEffect>
                                    <p:set>
                                      <p:cBhvr>
                                        <p:cTn id="61" dur="1" fill="hold">
                                          <p:stCondLst>
                                            <p:cond delay="1999"/>
                                          </p:stCondLst>
                                        </p:cTn>
                                        <p:tgtEl>
                                          <p:spTgt spid="29"/>
                                        </p:tgtEl>
                                        <p:attrNameLst>
                                          <p:attrName>style.visibility</p:attrName>
                                        </p:attrNameLst>
                                      </p:cBhvr>
                                      <p:to>
                                        <p:strVal val="hidden"/>
                                      </p:to>
                                    </p:set>
                                  </p:childTnLst>
                                </p:cTn>
                              </p:par>
                              <p:par>
                                <p:cTn id="62" presetID="22" presetClass="entr" presetSubtype="8" fill="hold" grpId="0" nodeType="withEffect">
                                  <p:stCondLst>
                                    <p:cond delay="0"/>
                                  </p:stCondLst>
                                  <p:childTnLst>
                                    <p:set>
                                      <p:cBhvr>
                                        <p:cTn id="63" dur="1" fill="hold">
                                          <p:stCondLst>
                                            <p:cond delay="0"/>
                                          </p:stCondLst>
                                        </p:cTn>
                                        <p:tgtEl>
                                          <p:spTgt spid="33"/>
                                        </p:tgtEl>
                                        <p:attrNameLst>
                                          <p:attrName>style.visibility</p:attrName>
                                        </p:attrNameLst>
                                      </p:cBhvr>
                                      <p:to>
                                        <p:strVal val="visible"/>
                                      </p:to>
                                    </p:set>
                                    <p:animEffect transition="in" filter="wipe(left)">
                                      <p:cBhvr>
                                        <p:cTn id="64" dur="500"/>
                                        <p:tgtEl>
                                          <p:spTgt spid="33"/>
                                        </p:tgtEl>
                                      </p:cBhvr>
                                    </p:animEffect>
                                  </p:childTnLst>
                                </p:cTn>
                              </p:par>
                              <p:par>
                                <p:cTn id="65" presetID="1" presetClass="entr" presetSubtype="0" fill="hold" nodeType="withEffect">
                                  <p:stCondLst>
                                    <p:cond delay="0"/>
                                  </p:stCondLst>
                                  <p:childTnLst>
                                    <p:set>
                                      <p:cBhvr>
                                        <p:cTn id="66" dur="1" fill="hold">
                                          <p:stCondLst>
                                            <p:cond delay="0"/>
                                          </p:stCondLst>
                                        </p:cTn>
                                        <p:tgtEl>
                                          <p:spTgt spid="21"/>
                                        </p:tgtEl>
                                        <p:attrNameLst>
                                          <p:attrName>style.visibility</p:attrName>
                                        </p:attrNameLst>
                                      </p:cBhvr>
                                      <p:to>
                                        <p:strVal val="visible"/>
                                      </p:to>
                                    </p:set>
                                  </p:childTnLst>
                                </p:cTn>
                              </p:par>
                            </p:childTnLst>
                          </p:cTn>
                        </p:par>
                        <p:par>
                          <p:cTn id="67" fill="hold">
                            <p:stCondLst>
                              <p:cond delay="13500"/>
                            </p:stCondLst>
                            <p:childTnLst>
                              <p:par>
                                <p:cTn id="68" presetID="1" presetClass="entr" presetSubtype="0" fill="hold" grpId="0" nodeType="afterEffect">
                                  <p:stCondLst>
                                    <p:cond delay="500"/>
                                  </p:stCondLst>
                                  <p:childTnLst>
                                    <p:set>
                                      <p:cBhvr>
                                        <p:cTn id="69" dur="1" fill="hold">
                                          <p:stCondLst>
                                            <p:cond delay="0"/>
                                          </p:stCondLst>
                                        </p:cTn>
                                        <p:tgtEl>
                                          <p:spTgt spid="34"/>
                                        </p:tgtEl>
                                        <p:attrNameLst>
                                          <p:attrName>style.visibility</p:attrName>
                                        </p:attrNameLst>
                                      </p:cBhvr>
                                      <p:to>
                                        <p:strVal val="visible"/>
                                      </p:to>
                                    </p:set>
                                  </p:childTnLst>
                                </p:cTn>
                              </p:par>
                            </p:childTnLst>
                          </p:cTn>
                        </p:par>
                        <p:par>
                          <p:cTn id="70" fill="hold">
                            <p:stCondLst>
                              <p:cond delay="14000"/>
                            </p:stCondLst>
                            <p:childTnLst>
                              <p:par>
                                <p:cTn id="71" presetID="10" presetClass="exit" presetSubtype="0" fill="hold" grpId="1" nodeType="afterEffect">
                                  <p:stCondLst>
                                    <p:cond delay="500"/>
                                  </p:stCondLst>
                                  <p:childTnLst>
                                    <p:animEffect transition="out" filter="fade">
                                      <p:cBhvr>
                                        <p:cTn id="72" dur="2000"/>
                                        <p:tgtEl>
                                          <p:spTgt spid="34"/>
                                        </p:tgtEl>
                                      </p:cBhvr>
                                    </p:animEffect>
                                    <p:set>
                                      <p:cBhvr>
                                        <p:cTn id="73" dur="1" fill="hold">
                                          <p:stCondLst>
                                            <p:cond delay="1999"/>
                                          </p:stCondLst>
                                        </p:cTn>
                                        <p:tgtEl>
                                          <p:spTgt spid="34"/>
                                        </p:tgtEl>
                                        <p:attrNameLst>
                                          <p:attrName>style.visibility</p:attrName>
                                        </p:attrNameLst>
                                      </p:cBhvr>
                                      <p:to>
                                        <p:strVal val="hidden"/>
                                      </p:to>
                                    </p:set>
                                  </p:childTnLst>
                                </p:cTn>
                              </p:par>
                            </p:childTnLst>
                          </p:cTn>
                        </p:par>
                        <p:par>
                          <p:cTn id="74" fill="hold">
                            <p:stCondLst>
                              <p:cond delay="16500"/>
                            </p:stCondLst>
                            <p:childTnLst>
                              <p:par>
                                <p:cTn id="75" presetID="1" presetClass="entr" presetSubtype="0" fill="hold" grpId="0" nodeType="afterEffect">
                                  <p:stCondLst>
                                    <p:cond delay="500"/>
                                  </p:stCondLst>
                                  <p:childTnLst>
                                    <p:set>
                                      <p:cBhvr>
                                        <p:cTn id="76" dur="1" fill="hold">
                                          <p:stCondLst>
                                            <p:cond delay="0"/>
                                          </p:stCondLst>
                                        </p:cTn>
                                        <p:tgtEl>
                                          <p:spTgt spid="37"/>
                                        </p:tgtEl>
                                        <p:attrNameLst>
                                          <p:attrName>style.visibility</p:attrName>
                                        </p:attrNameLst>
                                      </p:cBhvr>
                                      <p:to>
                                        <p:strVal val="visible"/>
                                      </p:to>
                                    </p:set>
                                  </p:childTnLst>
                                </p:cTn>
                              </p:par>
                              <p:par>
                                <p:cTn id="77" presetID="22" presetClass="entr" presetSubtype="1" fill="hold" grpId="0" nodeType="withEffect">
                                  <p:stCondLst>
                                    <p:cond delay="0"/>
                                  </p:stCondLst>
                                  <p:childTnLst>
                                    <p:set>
                                      <p:cBhvr>
                                        <p:cTn id="78" dur="1" fill="hold">
                                          <p:stCondLst>
                                            <p:cond delay="0"/>
                                          </p:stCondLst>
                                        </p:cTn>
                                        <p:tgtEl>
                                          <p:spTgt spid="35"/>
                                        </p:tgtEl>
                                        <p:attrNameLst>
                                          <p:attrName>style.visibility</p:attrName>
                                        </p:attrNameLst>
                                      </p:cBhvr>
                                      <p:to>
                                        <p:strVal val="visible"/>
                                      </p:to>
                                    </p:set>
                                    <p:animEffect transition="in" filter="wipe(up)">
                                      <p:cBhvr>
                                        <p:cTn id="79" dur="500"/>
                                        <p:tgtEl>
                                          <p:spTgt spid="35"/>
                                        </p:tgtEl>
                                      </p:cBhvr>
                                    </p:animEffect>
                                  </p:childTnLst>
                                </p:cTn>
                              </p:par>
                              <p:par>
                                <p:cTn id="80" presetID="1" presetClass="entr" presetSubtype="0" fill="hold" nodeType="withEffect">
                                  <p:stCondLst>
                                    <p:cond delay="0"/>
                                  </p:stCondLst>
                                  <p:childTnLst>
                                    <p:set>
                                      <p:cBhvr>
                                        <p:cTn id="81" dur="1" fill="hold">
                                          <p:stCondLst>
                                            <p:cond delay="0"/>
                                          </p:stCondLst>
                                        </p:cTn>
                                        <p:tgtEl>
                                          <p:spTgt spid="36"/>
                                        </p:tgtEl>
                                        <p:attrNameLst>
                                          <p:attrName>style.visibility</p:attrName>
                                        </p:attrNameLst>
                                      </p:cBhvr>
                                      <p:to>
                                        <p:strVal val="visible"/>
                                      </p:to>
                                    </p:set>
                                  </p:childTnLst>
                                </p:cTn>
                              </p:par>
                            </p:childTnLst>
                          </p:cTn>
                        </p:par>
                        <p:par>
                          <p:cTn id="82" fill="hold">
                            <p:stCondLst>
                              <p:cond delay="17000"/>
                            </p:stCondLst>
                            <p:childTnLst>
                              <p:par>
                                <p:cTn id="83" presetID="10" presetClass="exit" presetSubtype="0" fill="hold" grpId="1" nodeType="afterEffect">
                                  <p:stCondLst>
                                    <p:cond delay="500"/>
                                  </p:stCondLst>
                                  <p:childTnLst>
                                    <p:animEffect transition="out" filter="fade">
                                      <p:cBhvr>
                                        <p:cTn id="84" dur="2000"/>
                                        <p:tgtEl>
                                          <p:spTgt spid="37"/>
                                        </p:tgtEl>
                                      </p:cBhvr>
                                    </p:animEffect>
                                    <p:set>
                                      <p:cBhvr>
                                        <p:cTn id="85" dur="1" fill="hold">
                                          <p:stCondLst>
                                            <p:cond delay="1999"/>
                                          </p:stCondLst>
                                        </p:cTn>
                                        <p:tgtEl>
                                          <p:spTgt spid="37"/>
                                        </p:tgtEl>
                                        <p:attrNameLst>
                                          <p:attrName>style.visibility</p:attrName>
                                        </p:attrNameLst>
                                      </p:cBhvr>
                                      <p:to>
                                        <p:strVal val="hidden"/>
                                      </p:to>
                                    </p:set>
                                  </p:childTnLst>
                                </p:cTn>
                              </p:par>
                            </p:childTnLst>
                          </p:cTn>
                        </p:par>
                        <p:par>
                          <p:cTn id="86" fill="hold">
                            <p:stCondLst>
                              <p:cond delay="19500"/>
                            </p:stCondLst>
                            <p:childTnLst>
                              <p:par>
                                <p:cTn id="87" presetID="22" presetClass="entr" presetSubtype="2" fill="hold" grpId="0" nodeType="afterEffect">
                                  <p:stCondLst>
                                    <p:cond delay="0"/>
                                  </p:stCondLst>
                                  <p:childTnLst>
                                    <p:set>
                                      <p:cBhvr>
                                        <p:cTn id="88" dur="1" fill="hold">
                                          <p:stCondLst>
                                            <p:cond delay="0"/>
                                          </p:stCondLst>
                                        </p:cTn>
                                        <p:tgtEl>
                                          <p:spTgt spid="40"/>
                                        </p:tgtEl>
                                        <p:attrNameLst>
                                          <p:attrName>style.visibility</p:attrName>
                                        </p:attrNameLst>
                                      </p:cBhvr>
                                      <p:to>
                                        <p:strVal val="visible"/>
                                      </p:to>
                                    </p:set>
                                    <p:animEffect transition="in" filter="wipe(right)">
                                      <p:cBhvr>
                                        <p:cTn id="89" dur="500"/>
                                        <p:tgtEl>
                                          <p:spTgt spid="40"/>
                                        </p:tgtEl>
                                      </p:cBhvr>
                                    </p:animEffect>
                                  </p:childTnLst>
                                </p:cTn>
                              </p:par>
                            </p:childTnLst>
                          </p:cTn>
                        </p:par>
                        <p:par>
                          <p:cTn id="90" fill="hold">
                            <p:stCondLst>
                              <p:cond delay="20000"/>
                            </p:stCondLst>
                            <p:childTnLst>
                              <p:par>
                                <p:cTn id="91" presetID="1" presetClass="entr" presetSubtype="0" fill="hold" nodeType="afterEffect">
                                  <p:stCondLst>
                                    <p:cond delay="0"/>
                                  </p:stCondLst>
                                  <p:childTnLst>
                                    <p:set>
                                      <p:cBhvr>
                                        <p:cTn id="92" dur="1" fill="hold">
                                          <p:stCondLst>
                                            <p:cond delay="0"/>
                                          </p:stCondLst>
                                        </p:cTn>
                                        <p:tgtEl>
                                          <p:spTgt spid="38"/>
                                        </p:tgtEl>
                                        <p:attrNameLst>
                                          <p:attrName>style.visibility</p:attrName>
                                        </p:attrNameLst>
                                      </p:cBhvr>
                                      <p:to>
                                        <p:strVal val="visible"/>
                                      </p:to>
                                    </p:set>
                                  </p:childTnLst>
                                </p:cTn>
                              </p:par>
                            </p:childTnLst>
                          </p:cTn>
                        </p:par>
                        <p:par>
                          <p:cTn id="93" fill="hold">
                            <p:stCondLst>
                              <p:cond delay="20000"/>
                            </p:stCondLst>
                            <p:childTnLst>
                              <p:par>
                                <p:cTn id="94" presetID="22" presetClass="entr" presetSubtype="2" fill="hold" grpId="0" nodeType="afterEffect">
                                  <p:stCondLst>
                                    <p:cond delay="0"/>
                                  </p:stCondLst>
                                  <p:childTnLst>
                                    <p:set>
                                      <p:cBhvr>
                                        <p:cTn id="95" dur="1" fill="hold">
                                          <p:stCondLst>
                                            <p:cond delay="0"/>
                                          </p:stCondLst>
                                        </p:cTn>
                                        <p:tgtEl>
                                          <p:spTgt spid="41"/>
                                        </p:tgtEl>
                                        <p:attrNameLst>
                                          <p:attrName>style.visibility</p:attrName>
                                        </p:attrNameLst>
                                      </p:cBhvr>
                                      <p:to>
                                        <p:strVal val="visible"/>
                                      </p:to>
                                    </p:set>
                                    <p:animEffect transition="in" filter="wipe(right)">
                                      <p:cBhvr>
                                        <p:cTn id="96" dur="500"/>
                                        <p:tgtEl>
                                          <p:spTgt spid="41"/>
                                        </p:tgtEl>
                                      </p:cBhvr>
                                    </p:animEffect>
                                  </p:childTnLst>
                                </p:cTn>
                              </p:par>
                            </p:childTnLst>
                          </p:cTn>
                        </p:par>
                        <p:par>
                          <p:cTn id="97" fill="hold">
                            <p:stCondLst>
                              <p:cond delay="20500"/>
                            </p:stCondLst>
                            <p:childTnLst>
                              <p:par>
                                <p:cTn id="98" presetID="1" presetClass="entr" presetSubtype="0" fill="hold" nodeType="afterEffect">
                                  <p:stCondLst>
                                    <p:cond delay="0"/>
                                  </p:stCondLst>
                                  <p:childTnLst>
                                    <p:set>
                                      <p:cBhvr>
                                        <p:cTn id="99" dur="1" fill="hold">
                                          <p:stCondLst>
                                            <p:cond delay="0"/>
                                          </p:stCondLst>
                                        </p:cTn>
                                        <p:tgtEl>
                                          <p:spTgt spid="39"/>
                                        </p:tgtEl>
                                        <p:attrNameLst>
                                          <p:attrName>style.visibility</p:attrName>
                                        </p:attrNameLst>
                                      </p:cBhvr>
                                      <p:to>
                                        <p:strVal val="visible"/>
                                      </p:to>
                                    </p:set>
                                  </p:childTnLst>
                                </p:cTn>
                              </p:par>
                              <p:par>
                                <p:cTn id="100" presetID="1" presetClass="entr" presetSubtype="0" fill="hold" grpId="0" nodeType="withEffect">
                                  <p:stCondLst>
                                    <p:cond delay="500"/>
                                  </p:stCondLst>
                                  <p:childTnLst>
                                    <p:set>
                                      <p:cBhvr>
                                        <p:cTn id="101" dur="1" fill="hold">
                                          <p:stCondLst>
                                            <p:cond delay="0"/>
                                          </p:stCondLst>
                                        </p:cTn>
                                        <p:tgtEl>
                                          <p:spTgt spid="42"/>
                                        </p:tgtEl>
                                        <p:attrNameLst>
                                          <p:attrName>style.visibility</p:attrName>
                                        </p:attrNameLst>
                                      </p:cBhvr>
                                      <p:to>
                                        <p:strVal val="visible"/>
                                      </p:to>
                                    </p:set>
                                  </p:childTnLst>
                                </p:cTn>
                              </p:par>
                              <p:par>
                                <p:cTn id="102" presetID="10" presetClass="exit" presetSubtype="0" fill="hold" grpId="1" nodeType="withEffect">
                                  <p:stCondLst>
                                    <p:cond delay="500"/>
                                  </p:stCondLst>
                                  <p:childTnLst>
                                    <p:animEffect transition="out" filter="fade">
                                      <p:cBhvr>
                                        <p:cTn id="103" dur="2000"/>
                                        <p:tgtEl>
                                          <p:spTgt spid="42"/>
                                        </p:tgtEl>
                                      </p:cBhvr>
                                    </p:animEffect>
                                    <p:set>
                                      <p:cBhvr>
                                        <p:cTn id="104" dur="1" fill="hold">
                                          <p:stCondLst>
                                            <p:cond delay="1999"/>
                                          </p:stCondLst>
                                        </p:cTn>
                                        <p:tgtEl>
                                          <p:spTgt spid="42"/>
                                        </p:tgtEl>
                                        <p:attrNameLst>
                                          <p:attrName>style.visibility</p:attrName>
                                        </p:attrNameLst>
                                      </p:cBhvr>
                                      <p:to>
                                        <p:strVal val="hidden"/>
                                      </p:to>
                                    </p:set>
                                  </p:childTnLst>
                                </p:cTn>
                              </p:par>
                            </p:childTnLst>
                          </p:cTn>
                        </p:par>
                        <p:par>
                          <p:cTn id="105" fill="hold">
                            <p:stCondLst>
                              <p:cond delay="23000"/>
                            </p:stCondLst>
                            <p:childTnLst>
                              <p:par>
                                <p:cTn id="106" presetID="22" presetClass="entr" presetSubtype="2" fill="hold" grpId="0" nodeType="afterEffect">
                                  <p:stCondLst>
                                    <p:cond delay="0"/>
                                  </p:stCondLst>
                                  <p:childTnLst>
                                    <p:set>
                                      <p:cBhvr>
                                        <p:cTn id="107" dur="1" fill="hold">
                                          <p:stCondLst>
                                            <p:cond delay="0"/>
                                          </p:stCondLst>
                                        </p:cTn>
                                        <p:tgtEl>
                                          <p:spTgt spid="47"/>
                                        </p:tgtEl>
                                        <p:attrNameLst>
                                          <p:attrName>style.visibility</p:attrName>
                                        </p:attrNameLst>
                                      </p:cBhvr>
                                      <p:to>
                                        <p:strVal val="visible"/>
                                      </p:to>
                                    </p:set>
                                    <p:animEffect transition="in" filter="wipe(right)">
                                      <p:cBhvr>
                                        <p:cTn id="108" dur="500"/>
                                        <p:tgtEl>
                                          <p:spTgt spid="47"/>
                                        </p:tgtEl>
                                      </p:cBhvr>
                                    </p:animEffect>
                                  </p:childTnLst>
                                </p:cTn>
                              </p:par>
                            </p:childTnLst>
                          </p:cTn>
                        </p:par>
                        <p:par>
                          <p:cTn id="109" fill="hold">
                            <p:stCondLst>
                              <p:cond delay="23500"/>
                            </p:stCondLst>
                            <p:childTnLst>
                              <p:par>
                                <p:cTn id="110" presetID="1" presetClass="entr" presetSubtype="0" fill="hold" nodeType="afterEffect">
                                  <p:stCondLst>
                                    <p:cond delay="0"/>
                                  </p:stCondLst>
                                  <p:childTnLst>
                                    <p:set>
                                      <p:cBhvr>
                                        <p:cTn id="111" dur="1" fill="hold">
                                          <p:stCondLst>
                                            <p:cond delay="0"/>
                                          </p:stCondLst>
                                        </p:cTn>
                                        <p:tgtEl>
                                          <p:spTgt spid="46"/>
                                        </p:tgtEl>
                                        <p:attrNameLst>
                                          <p:attrName>style.visibility</p:attrName>
                                        </p:attrNameLst>
                                      </p:cBhvr>
                                      <p:to>
                                        <p:strVal val="visible"/>
                                      </p:to>
                                    </p:set>
                                  </p:childTnLst>
                                </p:cTn>
                              </p:par>
                              <p:par>
                                <p:cTn id="112" presetID="10" presetClass="entr" presetSubtype="0" fill="hold" grpId="0" nodeType="withEffect">
                                  <p:stCondLst>
                                    <p:cond delay="0"/>
                                  </p:stCondLst>
                                  <p:childTnLst>
                                    <p:set>
                                      <p:cBhvr>
                                        <p:cTn id="113" dur="1" fill="hold">
                                          <p:stCondLst>
                                            <p:cond delay="0"/>
                                          </p:stCondLst>
                                        </p:cTn>
                                        <p:tgtEl>
                                          <p:spTgt spid="50"/>
                                        </p:tgtEl>
                                        <p:attrNameLst>
                                          <p:attrName>style.visibility</p:attrName>
                                        </p:attrNameLst>
                                      </p:cBhvr>
                                      <p:to>
                                        <p:strVal val="visible"/>
                                      </p:to>
                                    </p:set>
                                    <p:animEffect transition="in" filter="fade">
                                      <p:cBhvr>
                                        <p:cTn id="114" dur="500"/>
                                        <p:tgtEl>
                                          <p:spTgt spid="50"/>
                                        </p:tgtEl>
                                      </p:cBhvr>
                                    </p:animEffect>
                                  </p:childTnLst>
                                </p:cTn>
                              </p:par>
                            </p:childTnLst>
                          </p:cTn>
                        </p:par>
                        <p:par>
                          <p:cTn id="115" fill="hold">
                            <p:stCondLst>
                              <p:cond delay="24000"/>
                            </p:stCondLst>
                            <p:childTnLst>
                              <p:par>
                                <p:cTn id="116" presetID="1" presetClass="entr" presetSubtype="0" fill="hold" grpId="0" nodeType="afterEffect">
                                  <p:stCondLst>
                                    <p:cond delay="500"/>
                                  </p:stCondLst>
                                  <p:childTnLst>
                                    <p:set>
                                      <p:cBhvr>
                                        <p:cTn id="117" dur="1" fill="hold">
                                          <p:stCondLst>
                                            <p:cond delay="0"/>
                                          </p:stCondLst>
                                        </p:cTn>
                                        <p:tgtEl>
                                          <p:spTgt spid="48"/>
                                        </p:tgtEl>
                                        <p:attrNameLst>
                                          <p:attrName>style.visibility</p:attrName>
                                        </p:attrNameLst>
                                      </p:cBhvr>
                                      <p:to>
                                        <p:strVal val="visible"/>
                                      </p:to>
                                    </p:set>
                                  </p:childTnLst>
                                </p:cTn>
                              </p:par>
                            </p:childTnLst>
                          </p:cTn>
                        </p:par>
                        <p:par>
                          <p:cTn id="118" fill="hold">
                            <p:stCondLst>
                              <p:cond delay="24500"/>
                            </p:stCondLst>
                            <p:childTnLst>
                              <p:par>
                                <p:cTn id="119" presetID="10" presetClass="exit" presetSubtype="0" fill="hold" grpId="1" nodeType="afterEffect">
                                  <p:stCondLst>
                                    <p:cond delay="500"/>
                                  </p:stCondLst>
                                  <p:childTnLst>
                                    <p:animEffect transition="out" filter="fade">
                                      <p:cBhvr>
                                        <p:cTn id="120" dur="2000"/>
                                        <p:tgtEl>
                                          <p:spTgt spid="48"/>
                                        </p:tgtEl>
                                      </p:cBhvr>
                                    </p:animEffect>
                                    <p:set>
                                      <p:cBhvr>
                                        <p:cTn id="121" dur="1" fill="hold">
                                          <p:stCondLst>
                                            <p:cond delay="1999"/>
                                          </p:stCondLst>
                                        </p:cTn>
                                        <p:tgtEl>
                                          <p:spTgt spid="48"/>
                                        </p:tgtEl>
                                        <p:attrNameLst>
                                          <p:attrName>style.visibility</p:attrName>
                                        </p:attrNameLst>
                                      </p:cBhvr>
                                      <p:to>
                                        <p:strVal val="hidden"/>
                                      </p:to>
                                    </p:set>
                                  </p:childTnLst>
                                </p:cTn>
                              </p:par>
                            </p:childTnLst>
                          </p:cTn>
                        </p:par>
                        <p:par>
                          <p:cTn id="122" fill="hold">
                            <p:stCondLst>
                              <p:cond delay="27000"/>
                            </p:stCondLst>
                            <p:childTnLst>
                              <p:par>
                                <p:cTn id="123" presetID="1" presetClass="entr" presetSubtype="0" fill="hold" grpId="0" nodeType="afterEffect">
                                  <p:stCondLst>
                                    <p:cond delay="500"/>
                                  </p:stCondLst>
                                  <p:childTnLst>
                                    <p:set>
                                      <p:cBhvr>
                                        <p:cTn id="124" dur="1" fill="hold">
                                          <p:stCondLst>
                                            <p:cond delay="0"/>
                                          </p:stCondLst>
                                        </p:cTn>
                                        <p:tgtEl>
                                          <p:spTgt spid="45"/>
                                        </p:tgtEl>
                                        <p:attrNameLst>
                                          <p:attrName>style.visibility</p:attrName>
                                        </p:attrNameLst>
                                      </p:cBhvr>
                                      <p:to>
                                        <p:strVal val="visible"/>
                                      </p:to>
                                    </p:set>
                                  </p:childTnLst>
                                </p:cTn>
                              </p:par>
                              <p:par>
                                <p:cTn id="125" presetID="22" presetClass="entr" presetSubtype="1" fill="hold" grpId="0" nodeType="withEffect">
                                  <p:stCondLst>
                                    <p:cond delay="0"/>
                                  </p:stCondLst>
                                  <p:childTnLst>
                                    <p:set>
                                      <p:cBhvr>
                                        <p:cTn id="126" dur="1" fill="hold">
                                          <p:stCondLst>
                                            <p:cond delay="0"/>
                                          </p:stCondLst>
                                        </p:cTn>
                                        <p:tgtEl>
                                          <p:spTgt spid="44"/>
                                        </p:tgtEl>
                                        <p:attrNameLst>
                                          <p:attrName>style.visibility</p:attrName>
                                        </p:attrNameLst>
                                      </p:cBhvr>
                                      <p:to>
                                        <p:strVal val="visible"/>
                                      </p:to>
                                    </p:set>
                                    <p:animEffect transition="in" filter="wipe(up)">
                                      <p:cBhvr>
                                        <p:cTn id="127" dur="500"/>
                                        <p:tgtEl>
                                          <p:spTgt spid="44"/>
                                        </p:tgtEl>
                                      </p:cBhvr>
                                    </p:animEffect>
                                  </p:childTnLst>
                                </p:cTn>
                              </p:par>
                              <p:par>
                                <p:cTn id="128" presetID="1" presetClass="entr" presetSubtype="0" fill="hold" nodeType="withEffect">
                                  <p:stCondLst>
                                    <p:cond delay="0"/>
                                  </p:stCondLst>
                                  <p:childTnLst>
                                    <p:set>
                                      <p:cBhvr>
                                        <p:cTn id="129" dur="1" fill="hold">
                                          <p:stCondLst>
                                            <p:cond delay="0"/>
                                          </p:stCondLst>
                                        </p:cTn>
                                        <p:tgtEl>
                                          <p:spTgt spid="43"/>
                                        </p:tgtEl>
                                        <p:attrNameLst>
                                          <p:attrName>style.visibility</p:attrName>
                                        </p:attrNameLst>
                                      </p:cBhvr>
                                      <p:to>
                                        <p:strVal val="visible"/>
                                      </p:to>
                                    </p:set>
                                  </p:childTnLst>
                                </p:cTn>
                              </p:par>
                            </p:childTnLst>
                          </p:cTn>
                        </p:par>
                        <p:par>
                          <p:cTn id="130" fill="hold">
                            <p:stCondLst>
                              <p:cond delay="27500"/>
                            </p:stCondLst>
                            <p:childTnLst>
                              <p:par>
                                <p:cTn id="131" presetID="10" presetClass="exit" presetSubtype="0" fill="hold" grpId="1" nodeType="afterEffect">
                                  <p:stCondLst>
                                    <p:cond delay="500"/>
                                  </p:stCondLst>
                                  <p:childTnLst>
                                    <p:animEffect transition="out" filter="fade">
                                      <p:cBhvr>
                                        <p:cTn id="132" dur="2000"/>
                                        <p:tgtEl>
                                          <p:spTgt spid="45"/>
                                        </p:tgtEl>
                                      </p:cBhvr>
                                    </p:animEffect>
                                    <p:set>
                                      <p:cBhvr>
                                        <p:cTn id="133" dur="1" fill="hold">
                                          <p:stCondLst>
                                            <p:cond delay="1999"/>
                                          </p:stCondLst>
                                        </p:cTn>
                                        <p:tgtEl>
                                          <p:spTgt spid="45"/>
                                        </p:tgtEl>
                                        <p:attrNameLst>
                                          <p:attrName>style.visibility</p:attrName>
                                        </p:attrNameLst>
                                      </p:cBhvr>
                                      <p:to>
                                        <p:strVal val="hidden"/>
                                      </p:to>
                                    </p:set>
                                  </p:childTnLst>
                                </p:cTn>
                              </p:par>
                            </p:childTnLst>
                          </p:cTn>
                        </p:par>
                        <p:par>
                          <p:cTn id="134" fill="hold">
                            <p:stCondLst>
                              <p:cond delay="30000"/>
                            </p:stCondLst>
                            <p:childTnLst>
                              <p:par>
                                <p:cTn id="135" presetID="1" presetClass="entr" presetSubtype="0" fill="hold" grpId="2" nodeType="afterEffect">
                                  <p:stCondLst>
                                    <p:cond delay="500"/>
                                  </p:stCondLst>
                                  <p:childTnLst>
                                    <p:set>
                                      <p:cBhvr>
                                        <p:cTn id="136" dur="1" fill="hold">
                                          <p:stCondLst>
                                            <p:cond delay="0"/>
                                          </p:stCondLst>
                                        </p:cTn>
                                        <p:tgtEl>
                                          <p:spTgt spid="6"/>
                                        </p:tgtEl>
                                        <p:attrNameLst>
                                          <p:attrName>style.visibility</p:attrName>
                                        </p:attrNameLst>
                                      </p:cBhvr>
                                      <p:to>
                                        <p:strVal val="visible"/>
                                      </p:to>
                                    </p:set>
                                  </p:childTnLst>
                                </p:cTn>
                              </p:par>
                              <p:par>
                                <p:cTn id="137" presetID="1" presetClass="entr" presetSubtype="0" fill="hold" grpId="2" nodeType="withEffect">
                                  <p:stCondLst>
                                    <p:cond delay="500"/>
                                  </p:stCondLst>
                                  <p:childTnLst>
                                    <p:set>
                                      <p:cBhvr>
                                        <p:cTn id="138" dur="1" fill="hold">
                                          <p:stCondLst>
                                            <p:cond delay="0"/>
                                          </p:stCondLst>
                                        </p:cTn>
                                        <p:tgtEl>
                                          <p:spTgt spid="13"/>
                                        </p:tgtEl>
                                        <p:attrNameLst>
                                          <p:attrName>style.visibility</p:attrName>
                                        </p:attrNameLst>
                                      </p:cBhvr>
                                      <p:to>
                                        <p:strVal val="visible"/>
                                      </p:to>
                                    </p:set>
                                  </p:childTnLst>
                                </p:cTn>
                              </p:par>
                              <p:par>
                                <p:cTn id="139" presetID="1" presetClass="entr" presetSubtype="0" fill="hold" grpId="2" nodeType="withEffect">
                                  <p:stCondLst>
                                    <p:cond delay="500"/>
                                  </p:stCondLst>
                                  <p:childTnLst>
                                    <p:set>
                                      <p:cBhvr>
                                        <p:cTn id="140" dur="1" fill="hold">
                                          <p:stCondLst>
                                            <p:cond delay="0"/>
                                          </p:stCondLst>
                                        </p:cTn>
                                        <p:tgtEl>
                                          <p:spTgt spid="3"/>
                                        </p:tgtEl>
                                        <p:attrNameLst>
                                          <p:attrName>style.visibility</p:attrName>
                                        </p:attrNameLst>
                                      </p:cBhvr>
                                      <p:to>
                                        <p:strVal val="visible"/>
                                      </p:to>
                                    </p:set>
                                  </p:childTnLst>
                                </p:cTn>
                              </p:par>
                              <p:par>
                                <p:cTn id="141" presetID="1" presetClass="entr" presetSubtype="0" fill="hold" grpId="2" nodeType="withEffect">
                                  <p:stCondLst>
                                    <p:cond delay="500"/>
                                  </p:stCondLst>
                                  <p:childTnLst>
                                    <p:set>
                                      <p:cBhvr>
                                        <p:cTn id="142" dur="1" fill="hold">
                                          <p:stCondLst>
                                            <p:cond delay="0"/>
                                          </p:stCondLst>
                                        </p:cTn>
                                        <p:tgtEl>
                                          <p:spTgt spid="20"/>
                                        </p:tgtEl>
                                        <p:attrNameLst>
                                          <p:attrName>style.visibility</p:attrName>
                                        </p:attrNameLst>
                                      </p:cBhvr>
                                      <p:to>
                                        <p:strVal val="visible"/>
                                      </p:to>
                                    </p:set>
                                  </p:childTnLst>
                                </p:cTn>
                              </p:par>
                              <p:par>
                                <p:cTn id="143" presetID="1" presetClass="entr" presetSubtype="0" fill="hold" grpId="2" nodeType="withEffect">
                                  <p:stCondLst>
                                    <p:cond delay="500"/>
                                  </p:stCondLst>
                                  <p:childTnLst>
                                    <p:set>
                                      <p:cBhvr>
                                        <p:cTn id="144" dur="1" fill="hold">
                                          <p:stCondLst>
                                            <p:cond delay="0"/>
                                          </p:stCondLst>
                                        </p:cTn>
                                        <p:tgtEl>
                                          <p:spTgt spid="29"/>
                                        </p:tgtEl>
                                        <p:attrNameLst>
                                          <p:attrName>style.visibility</p:attrName>
                                        </p:attrNameLst>
                                      </p:cBhvr>
                                      <p:to>
                                        <p:strVal val="visible"/>
                                      </p:to>
                                    </p:set>
                                  </p:childTnLst>
                                </p:cTn>
                              </p:par>
                              <p:par>
                                <p:cTn id="145" presetID="1" presetClass="entr" presetSubtype="0" fill="hold" grpId="2" nodeType="withEffect">
                                  <p:stCondLst>
                                    <p:cond delay="500"/>
                                  </p:stCondLst>
                                  <p:childTnLst>
                                    <p:set>
                                      <p:cBhvr>
                                        <p:cTn id="146" dur="1" fill="hold">
                                          <p:stCondLst>
                                            <p:cond delay="0"/>
                                          </p:stCondLst>
                                        </p:cTn>
                                        <p:tgtEl>
                                          <p:spTgt spid="34"/>
                                        </p:tgtEl>
                                        <p:attrNameLst>
                                          <p:attrName>style.visibility</p:attrName>
                                        </p:attrNameLst>
                                      </p:cBhvr>
                                      <p:to>
                                        <p:strVal val="visible"/>
                                      </p:to>
                                    </p:set>
                                  </p:childTnLst>
                                </p:cTn>
                              </p:par>
                              <p:par>
                                <p:cTn id="147" presetID="1" presetClass="entr" presetSubtype="0" fill="hold" grpId="2" nodeType="withEffect">
                                  <p:stCondLst>
                                    <p:cond delay="500"/>
                                  </p:stCondLst>
                                  <p:childTnLst>
                                    <p:set>
                                      <p:cBhvr>
                                        <p:cTn id="148" dur="1" fill="hold">
                                          <p:stCondLst>
                                            <p:cond delay="0"/>
                                          </p:stCondLst>
                                        </p:cTn>
                                        <p:tgtEl>
                                          <p:spTgt spid="37"/>
                                        </p:tgtEl>
                                        <p:attrNameLst>
                                          <p:attrName>style.visibility</p:attrName>
                                        </p:attrNameLst>
                                      </p:cBhvr>
                                      <p:to>
                                        <p:strVal val="visible"/>
                                      </p:to>
                                    </p:set>
                                  </p:childTnLst>
                                </p:cTn>
                              </p:par>
                              <p:par>
                                <p:cTn id="149" presetID="1" presetClass="entr" presetSubtype="0" fill="hold" grpId="2" nodeType="withEffect">
                                  <p:stCondLst>
                                    <p:cond delay="500"/>
                                  </p:stCondLst>
                                  <p:childTnLst>
                                    <p:set>
                                      <p:cBhvr>
                                        <p:cTn id="150" dur="1" fill="hold">
                                          <p:stCondLst>
                                            <p:cond delay="0"/>
                                          </p:stCondLst>
                                        </p:cTn>
                                        <p:tgtEl>
                                          <p:spTgt spid="42"/>
                                        </p:tgtEl>
                                        <p:attrNameLst>
                                          <p:attrName>style.visibility</p:attrName>
                                        </p:attrNameLst>
                                      </p:cBhvr>
                                      <p:to>
                                        <p:strVal val="visible"/>
                                      </p:to>
                                    </p:set>
                                  </p:childTnLst>
                                </p:cTn>
                              </p:par>
                              <p:par>
                                <p:cTn id="151" presetID="1" presetClass="entr" presetSubtype="0" fill="hold" grpId="2" nodeType="withEffect">
                                  <p:stCondLst>
                                    <p:cond delay="500"/>
                                  </p:stCondLst>
                                  <p:childTnLst>
                                    <p:set>
                                      <p:cBhvr>
                                        <p:cTn id="152" dur="1" fill="hold">
                                          <p:stCondLst>
                                            <p:cond delay="0"/>
                                          </p:stCondLst>
                                        </p:cTn>
                                        <p:tgtEl>
                                          <p:spTgt spid="48"/>
                                        </p:tgtEl>
                                        <p:attrNameLst>
                                          <p:attrName>style.visibility</p:attrName>
                                        </p:attrNameLst>
                                      </p:cBhvr>
                                      <p:to>
                                        <p:strVal val="visible"/>
                                      </p:to>
                                    </p:set>
                                  </p:childTnLst>
                                </p:cTn>
                              </p:par>
                              <p:par>
                                <p:cTn id="153" presetID="1" presetClass="entr" presetSubtype="0" fill="hold" grpId="2" nodeType="withEffect">
                                  <p:stCondLst>
                                    <p:cond delay="500"/>
                                  </p:stCondLst>
                                  <p:childTnLst>
                                    <p:set>
                                      <p:cBhvr>
                                        <p:cTn id="154" dur="1" fill="hold">
                                          <p:stCondLst>
                                            <p:cond delay="0"/>
                                          </p:stCondLst>
                                        </p:cTn>
                                        <p:tgtEl>
                                          <p:spTgt spid="45"/>
                                        </p:tgtEl>
                                        <p:attrNameLst>
                                          <p:attrName>style.visibility</p:attrName>
                                        </p:attrNameLst>
                                      </p:cBhvr>
                                      <p:to>
                                        <p:strVal val="visible"/>
                                      </p:to>
                                    </p:set>
                                  </p:childTnLst>
                                </p:cTn>
                              </p:par>
                            </p:childTnLst>
                          </p:cTn>
                        </p:par>
                        <p:par>
                          <p:cTn id="155" fill="hold">
                            <p:stCondLst>
                              <p:cond delay="30500"/>
                            </p:stCondLst>
                            <p:childTnLst>
                              <p:par>
                                <p:cTn id="156" presetID="10" presetClass="entr" presetSubtype="0" fill="hold" grpId="0" nodeType="afterEffect">
                                  <p:stCondLst>
                                    <p:cond delay="0"/>
                                  </p:stCondLst>
                                  <p:childTnLst>
                                    <p:set>
                                      <p:cBhvr>
                                        <p:cTn id="157" dur="1" fill="hold">
                                          <p:stCondLst>
                                            <p:cond delay="0"/>
                                          </p:stCondLst>
                                        </p:cTn>
                                        <p:tgtEl>
                                          <p:spTgt spid="7"/>
                                        </p:tgtEl>
                                        <p:attrNameLst>
                                          <p:attrName>style.visibility</p:attrName>
                                        </p:attrNameLst>
                                      </p:cBhvr>
                                      <p:to>
                                        <p:strVal val="visible"/>
                                      </p:to>
                                    </p:set>
                                    <p:animEffect transition="in" filter="fade">
                                      <p:cBhvr>
                                        <p:cTn id="158"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p:bldP spid="6" grpId="1"/>
      <p:bldP spid="6" grpId="2"/>
      <p:bldP spid="13" grpId="0"/>
      <p:bldP spid="13" grpId="1"/>
      <p:bldP spid="13" grpId="2"/>
      <p:bldP spid="16" grpId="0" animBg="1"/>
      <p:bldP spid="19" grpId="0" animBg="1"/>
      <p:bldP spid="20" grpId="0"/>
      <p:bldP spid="20" grpId="1"/>
      <p:bldP spid="20" grpId="2"/>
      <p:bldP spid="24" grpId="0" animBg="1"/>
      <p:bldP spid="29" grpId="0"/>
      <p:bldP spid="29" grpId="1"/>
      <p:bldP spid="29" grpId="2"/>
      <p:bldP spid="33" grpId="0" animBg="1"/>
      <p:bldP spid="34" grpId="0"/>
      <p:bldP spid="34" grpId="1"/>
      <p:bldP spid="34" grpId="2"/>
      <p:bldP spid="35" grpId="0" animBg="1"/>
      <p:bldP spid="37" grpId="0"/>
      <p:bldP spid="37" grpId="1"/>
      <p:bldP spid="37" grpId="2"/>
      <p:bldP spid="40" grpId="0" animBg="1"/>
      <p:bldP spid="41" grpId="0" animBg="1"/>
      <p:bldP spid="42" grpId="0"/>
      <p:bldP spid="42" grpId="1"/>
      <p:bldP spid="42" grpId="2"/>
      <p:bldP spid="47" grpId="0" animBg="1"/>
      <p:bldP spid="48" grpId="0"/>
      <p:bldP spid="48" grpId="1"/>
      <p:bldP spid="48" grpId="2"/>
      <p:bldP spid="44" grpId="0" animBg="1"/>
      <p:bldP spid="45" grpId="0"/>
      <p:bldP spid="45" grpId="1"/>
      <p:bldP spid="45" grpId="2"/>
      <p:bldP spid="50" grpId="0"/>
      <p:bldP spid="3" grpId="0"/>
      <p:bldP spid="3" grpId="1"/>
      <p:bldP spid="3" grpId="2"/>
      <p:bldP spid="7"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ağ Ok 4"/>
          <p:cNvSpPr/>
          <p:nvPr/>
        </p:nvSpPr>
        <p:spPr>
          <a:xfrm>
            <a:off x="1799184" y="2520727"/>
            <a:ext cx="390902" cy="216024"/>
          </a:xfrm>
          <a:prstGeom prst="rightArrow">
            <a:avLst/>
          </a:prstGeom>
          <a:solidFill>
            <a:srgbClr val="36AC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6" name="Metin kutusu 5"/>
          <p:cNvSpPr txBox="1"/>
          <p:nvPr/>
        </p:nvSpPr>
        <p:spPr>
          <a:xfrm>
            <a:off x="0" y="3253563"/>
            <a:ext cx="2229562" cy="369332"/>
          </a:xfrm>
          <a:prstGeom prst="rect">
            <a:avLst/>
          </a:prstGeom>
          <a:noFill/>
        </p:spPr>
        <p:txBody>
          <a:bodyPr wrap="square" rtlCol="0">
            <a:spAutoFit/>
          </a:bodyPr>
          <a:lstStyle/>
          <a:p>
            <a:pPr algn="ctr"/>
            <a:r>
              <a:rPr lang="tr-TR" dirty="0"/>
              <a:t>Faturayı hazırlar</a:t>
            </a:r>
          </a:p>
        </p:txBody>
      </p:sp>
      <p:pic>
        <p:nvPicPr>
          <p:cNvPr id="9" name="Picture 14" descr="D:\Users\seyhan_ebru\Pictures\resim.usb\Print-icon.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374834" y="2220094"/>
            <a:ext cx="865940" cy="86594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15" descr="D:\Users\seyhan_ebru\Pictures\resim.document\Document2-icon.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677463" y="1625402"/>
            <a:ext cx="637487" cy="637487"/>
          </a:xfrm>
          <a:prstGeom prst="rect">
            <a:avLst/>
          </a:prstGeom>
          <a:noFill/>
          <a:scene3d>
            <a:camera prst="perspectiveLeft" fov="1500000">
              <a:rot lat="0" lon="0" rev="0"/>
            </a:camera>
            <a:lightRig rig="threePt" dir="t"/>
          </a:scene3d>
          <a:extLst>
            <a:ext uri="{909E8E84-426E-40DD-AFC4-6F175D3DCCD1}">
              <a14:hiddenFill xmlns:a14="http://schemas.microsoft.com/office/drawing/2010/main">
                <a:solidFill>
                  <a:srgbClr val="FFFFFF"/>
                </a:solidFill>
              </a14:hiddenFill>
            </a:ext>
          </a:extLst>
        </p:spPr>
      </p:pic>
      <p:sp>
        <p:nvSpPr>
          <p:cNvPr id="13" name="Metin kutusu 12"/>
          <p:cNvSpPr txBox="1"/>
          <p:nvPr/>
        </p:nvSpPr>
        <p:spPr>
          <a:xfrm>
            <a:off x="1929459" y="3275692"/>
            <a:ext cx="1944216" cy="369332"/>
          </a:xfrm>
          <a:prstGeom prst="rect">
            <a:avLst/>
          </a:prstGeom>
          <a:noFill/>
        </p:spPr>
        <p:txBody>
          <a:bodyPr wrap="square" rtlCol="0">
            <a:spAutoFit/>
          </a:bodyPr>
          <a:lstStyle/>
          <a:p>
            <a:pPr algn="ctr"/>
            <a:r>
              <a:rPr lang="tr-TR" dirty="0"/>
              <a:t>Y</a:t>
            </a:r>
            <a:r>
              <a:rPr lang="tr-TR" dirty="0" smtClean="0"/>
              <a:t>azdırır</a:t>
            </a:r>
            <a:endParaRPr lang="tr-TR" dirty="0"/>
          </a:p>
        </p:txBody>
      </p:sp>
      <p:pic>
        <p:nvPicPr>
          <p:cNvPr id="15" name="Picture 11" descr="D:\Users\seyhan_ebru\Pictures\resim.real.vista\cabinet-icon.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346178" y="913019"/>
            <a:ext cx="996663" cy="996663"/>
          </a:xfrm>
          <a:prstGeom prst="rect">
            <a:avLst/>
          </a:prstGeom>
          <a:noFill/>
          <a:extLst>
            <a:ext uri="{909E8E84-426E-40DD-AFC4-6F175D3DCCD1}">
              <a14:hiddenFill xmlns:a14="http://schemas.microsoft.com/office/drawing/2010/main">
                <a:solidFill>
                  <a:srgbClr val="FFFFFF"/>
                </a:solidFill>
              </a14:hiddenFill>
            </a:ext>
          </a:extLst>
        </p:spPr>
      </p:pic>
      <p:sp>
        <p:nvSpPr>
          <p:cNvPr id="16" name="Sağ Ok 15"/>
          <p:cNvSpPr/>
          <p:nvPr/>
        </p:nvSpPr>
        <p:spPr>
          <a:xfrm rot="12653019">
            <a:off x="2370571" y="1489166"/>
            <a:ext cx="390902" cy="216024"/>
          </a:xfrm>
          <a:prstGeom prst="rightArrow">
            <a:avLst/>
          </a:prstGeom>
          <a:solidFill>
            <a:srgbClr val="36AC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pic>
        <p:nvPicPr>
          <p:cNvPr id="18" name="Picture 12" descr="D:\Users\seyhan_ebru\Pictures\resim.zarf\Mail-icon.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66006" y="2293761"/>
            <a:ext cx="520714" cy="520714"/>
          </a:xfrm>
          <a:prstGeom prst="rect">
            <a:avLst/>
          </a:prstGeom>
          <a:noFill/>
          <a:extLst>
            <a:ext uri="{909E8E84-426E-40DD-AFC4-6F175D3DCCD1}">
              <a14:hiddenFill xmlns:a14="http://schemas.microsoft.com/office/drawing/2010/main">
                <a:solidFill>
                  <a:srgbClr val="FFFFFF"/>
                </a:solidFill>
              </a14:hiddenFill>
            </a:ext>
          </a:extLst>
        </p:spPr>
      </p:pic>
      <p:sp>
        <p:nvSpPr>
          <p:cNvPr id="19" name="Sağ Ok 18"/>
          <p:cNvSpPr/>
          <p:nvPr/>
        </p:nvSpPr>
        <p:spPr>
          <a:xfrm>
            <a:off x="3432642" y="2545404"/>
            <a:ext cx="390902" cy="216024"/>
          </a:xfrm>
          <a:prstGeom prst="rightArrow">
            <a:avLst/>
          </a:prstGeom>
          <a:solidFill>
            <a:srgbClr val="36AC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20" name="Metin kutusu 19"/>
          <p:cNvSpPr txBox="1"/>
          <p:nvPr/>
        </p:nvSpPr>
        <p:spPr>
          <a:xfrm>
            <a:off x="3676764" y="3275692"/>
            <a:ext cx="1471300" cy="369332"/>
          </a:xfrm>
          <a:prstGeom prst="rect">
            <a:avLst/>
          </a:prstGeom>
          <a:noFill/>
        </p:spPr>
        <p:txBody>
          <a:bodyPr wrap="square" rtlCol="0">
            <a:spAutoFit/>
          </a:bodyPr>
          <a:lstStyle/>
          <a:p>
            <a:r>
              <a:rPr lang="tr-TR" dirty="0"/>
              <a:t>Z</a:t>
            </a:r>
            <a:r>
              <a:rPr lang="tr-TR" dirty="0" smtClean="0"/>
              <a:t>arfa koyar</a:t>
            </a:r>
            <a:endParaRPr lang="tr-TR" dirty="0"/>
          </a:p>
        </p:txBody>
      </p:sp>
      <p:grpSp>
        <p:nvGrpSpPr>
          <p:cNvPr id="21" name="Grup 20"/>
          <p:cNvGrpSpPr/>
          <p:nvPr/>
        </p:nvGrpSpPr>
        <p:grpSpPr>
          <a:xfrm>
            <a:off x="7548992" y="2140741"/>
            <a:ext cx="911440" cy="1025350"/>
            <a:chOff x="3204240" y="2835673"/>
            <a:chExt cx="911440" cy="1371176"/>
          </a:xfrm>
        </p:grpSpPr>
        <p:pic>
          <p:nvPicPr>
            <p:cNvPr id="22" name="Picture 21" descr="https://encrypted-tbn2.gstatic.com/images?q=tbn:ANd9GcSOZH3_Z4PFcBFJ3K0k95RdX0QrGgdZeIFsAkJpeuts_aarS-mz"/>
            <p:cNvPicPr>
              <a:picLocks noChangeAspect="1" noChangeArrowheads="1"/>
            </p:cNvPicPr>
            <p:nvPr/>
          </p:nvPicPr>
          <p:blipFill>
            <a:blip r:embed="rId6" cstate="print">
              <a:clrChange>
                <a:clrFrom>
                  <a:srgbClr val="FEFEFC"/>
                </a:clrFrom>
                <a:clrTo>
                  <a:srgbClr val="FEFEFC">
                    <a:alpha val="0"/>
                  </a:srgbClr>
                </a:clrTo>
              </a:clrChange>
              <a:extLst>
                <a:ext uri="{28A0092B-C50C-407E-A947-70E740481C1C}">
                  <a14:useLocalDpi xmlns:a14="http://schemas.microsoft.com/office/drawing/2010/main" val="0"/>
                </a:ext>
              </a:extLst>
            </a:blip>
            <a:srcRect/>
            <a:stretch>
              <a:fillRect/>
            </a:stretch>
          </p:blipFill>
          <p:spPr bwMode="auto">
            <a:xfrm>
              <a:off x="3204240" y="2835673"/>
              <a:ext cx="911440" cy="905598"/>
            </a:xfrm>
            <a:prstGeom prst="rect">
              <a:avLst/>
            </a:prstGeom>
            <a:noFill/>
            <a:extLst>
              <a:ext uri="{909E8E84-426E-40DD-AFC4-6F175D3DCCD1}">
                <a14:hiddenFill xmlns:a14="http://schemas.microsoft.com/office/drawing/2010/main">
                  <a:solidFill>
                    <a:srgbClr val="FFFFFF"/>
                  </a:solidFill>
                </a14:hiddenFill>
              </a:ext>
            </a:extLst>
          </p:spPr>
        </p:pic>
        <p:sp>
          <p:nvSpPr>
            <p:cNvPr id="23" name="Dikdörtgen 22"/>
            <p:cNvSpPr/>
            <p:nvPr/>
          </p:nvSpPr>
          <p:spPr>
            <a:xfrm>
              <a:off x="3782429" y="3573916"/>
              <a:ext cx="45719" cy="632933"/>
            </a:xfrm>
            <a:prstGeom prst="rect">
              <a:avLst/>
            </a:prstGeom>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grpSp>
      <p:sp>
        <p:nvSpPr>
          <p:cNvPr id="24" name="Sağ Ok 23"/>
          <p:cNvSpPr/>
          <p:nvPr/>
        </p:nvSpPr>
        <p:spPr>
          <a:xfrm>
            <a:off x="4751512" y="2536950"/>
            <a:ext cx="390902" cy="216024"/>
          </a:xfrm>
          <a:prstGeom prst="rightArrow">
            <a:avLst/>
          </a:prstGeom>
          <a:solidFill>
            <a:srgbClr val="36AC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29" name="Metin kutusu 28"/>
          <p:cNvSpPr txBox="1"/>
          <p:nvPr/>
        </p:nvSpPr>
        <p:spPr>
          <a:xfrm>
            <a:off x="5114839" y="3332366"/>
            <a:ext cx="1634073" cy="646331"/>
          </a:xfrm>
          <a:prstGeom prst="rect">
            <a:avLst/>
          </a:prstGeom>
          <a:noFill/>
        </p:spPr>
        <p:txBody>
          <a:bodyPr wrap="square" rtlCol="0">
            <a:spAutoFit/>
          </a:bodyPr>
          <a:lstStyle/>
          <a:p>
            <a:pPr algn="ctr"/>
            <a:r>
              <a:rPr lang="tr-TR" dirty="0" smtClean="0"/>
              <a:t>Alıcısına gönderir</a:t>
            </a:r>
            <a:endParaRPr lang="tr-TR" dirty="0"/>
          </a:p>
        </p:txBody>
      </p:sp>
      <p:grpSp>
        <p:nvGrpSpPr>
          <p:cNvPr id="30" name="Grup 29"/>
          <p:cNvGrpSpPr/>
          <p:nvPr/>
        </p:nvGrpSpPr>
        <p:grpSpPr>
          <a:xfrm>
            <a:off x="5204048" y="1916832"/>
            <a:ext cx="1600200" cy="1600200"/>
            <a:chOff x="4937809" y="1308687"/>
            <a:chExt cx="1600200" cy="1600200"/>
          </a:xfrm>
        </p:grpSpPr>
        <p:pic>
          <p:nvPicPr>
            <p:cNvPr id="31" name="Picture 17" descr="D:\Users\seyhan_ebru\Pictures\resim.kamyon\11660618-green-truck-icon.jpg"/>
            <p:cNvPicPr>
              <a:picLocks noChangeAspect="1" noChangeArrowheads="1"/>
            </p:cNvPicPr>
            <p:nvPr/>
          </p:nvPicPr>
          <p:blipFill>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937809" y="1308687"/>
              <a:ext cx="1600200" cy="1600200"/>
            </a:xfrm>
            <a:prstGeom prst="rect">
              <a:avLst/>
            </a:prstGeom>
            <a:noFill/>
            <a:extLst>
              <a:ext uri="{909E8E84-426E-40DD-AFC4-6F175D3DCCD1}">
                <a14:hiddenFill xmlns:a14="http://schemas.microsoft.com/office/drawing/2010/main">
                  <a:solidFill>
                    <a:srgbClr val="FFFFFF"/>
                  </a:solidFill>
                </a14:hiddenFill>
              </a:ext>
            </a:extLst>
          </p:spPr>
        </p:pic>
        <p:sp>
          <p:nvSpPr>
            <p:cNvPr id="32" name="Dikdörtgen 31"/>
            <p:cNvSpPr/>
            <p:nvPr/>
          </p:nvSpPr>
          <p:spPr>
            <a:xfrm>
              <a:off x="5148064" y="1688515"/>
              <a:ext cx="684000" cy="5400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grpSp>
      <p:sp>
        <p:nvSpPr>
          <p:cNvPr id="33" name="Sağ Ok 32"/>
          <p:cNvSpPr/>
          <p:nvPr/>
        </p:nvSpPr>
        <p:spPr>
          <a:xfrm>
            <a:off x="6989410" y="2517005"/>
            <a:ext cx="390902" cy="216024"/>
          </a:xfrm>
          <a:prstGeom prst="rightArrow">
            <a:avLst/>
          </a:prstGeom>
          <a:solidFill>
            <a:srgbClr val="36AC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34" name="Metin kutusu 33"/>
          <p:cNvSpPr txBox="1"/>
          <p:nvPr/>
        </p:nvSpPr>
        <p:spPr>
          <a:xfrm>
            <a:off x="7185005" y="3254705"/>
            <a:ext cx="1949371" cy="646331"/>
          </a:xfrm>
          <a:prstGeom prst="rect">
            <a:avLst/>
          </a:prstGeom>
          <a:noFill/>
        </p:spPr>
        <p:txBody>
          <a:bodyPr wrap="square" rtlCol="0">
            <a:spAutoFit/>
          </a:bodyPr>
          <a:lstStyle/>
          <a:p>
            <a:pPr algn="ctr"/>
            <a:r>
              <a:rPr lang="tr-TR" dirty="0" smtClean="0"/>
              <a:t>Posta kutusuna bırakır</a:t>
            </a:r>
            <a:endParaRPr lang="tr-TR" dirty="0"/>
          </a:p>
        </p:txBody>
      </p:sp>
      <p:sp>
        <p:nvSpPr>
          <p:cNvPr id="35" name="Sağ Ok 34"/>
          <p:cNvSpPr/>
          <p:nvPr/>
        </p:nvSpPr>
        <p:spPr>
          <a:xfrm rot="16200000" flipH="1">
            <a:off x="8013600" y="4093200"/>
            <a:ext cx="390902" cy="216024"/>
          </a:xfrm>
          <a:prstGeom prst="rightArrow">
            <a:avLst/>
          </a:prstGeom>
          <a:solidFill>
            <a:srgbClr val="36AC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pic>
        <p:nvPicPr>
          <p:cNvPr id="36" name="Picture 12" descr="D:\Users\seyhan_ebru\Pictures\resim.zarf\Mail-icon.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013600" y="4564470"/>
            <a:ext cx="520714" cy="520714"/>
          </a:xfrm>
          <a:prstGeom prst="rect">
            <a:avLst/>
          </a:prstGeom>
          <a:noFill/>
          <a:extLst>
            <a:ext uri="{909E8E84-426E-40DD-AFC4-6F175D3DCCD1}">
              <a14:hiddenFill xmlns:a14="http://schemas.microsoft.com/office/drawing/2010/main">
                <a:solidFill>
                  <a:srgbClr val="FFFFFF"/>
                </a:solidFill>
              </a14:hiddenFill>
            </a:ext>
          </a:extLst>
        </p:spPr>
      </p:pic>
      <p:sp>
        <p:nvSpPr>
          <p:cNvPr id="37" name="Metin kutusu 36"/>
          <p:cNvSpPr txBox="1"/>
          <p:nvPr/>
        </p:nvSpPr>
        <p:spPr>
          <a:xfrm>
            <a:off x="7308304" y="5053226"/>
            <a:ext cx="1944216" cy="369332"/>
          </a:xfrm>
          <a:prstGeom prst="rect">
            <a:avLst/>
          </a:prstGeom>
          <a:noFill/>
        </p:spPr>
        <p:txBody>
          <a:bodyPr wrap="square" rtlCol="0">
            <a:spAutoFit/>
          </a:bodyPr>
          <a:lstStyle/>
          <a:p>
            <a:r>
              <a:rPr lang="tr-TR" dirty="0" smtClean="0"/>
              <a:t>Zarf alıcıya ulaşır</a:t>
            </a:r>
            <a:endParaRPr lang="tr-TR" dirty="0"/>
          </a:p>
        </p:txBody>
      </p:sp>
      <p:pic>
        <p:nvPicPr>
          <p:cNvPr id="38" name="Picture 15" descr="D:\Users\seyhan_ebru\Pictures\resim.document\Document2-icon.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372200" y="4437112"/>
            <a:ext cx="864095" cy="864095"/>
          </a:xfrm>
          <a:prstGeom prst="rect">
            <a:avLst/>
          </a:prstGeom>
          <a:noFill/>
          <a:scene3d>
            <a:camera prst="perspectiveLeft">
              <a:rot lat="0" lon="1800000" rev="0"/>
            </a:camera>
            <a:lightRig rig="threePt" dir="t"/>
          </a:scene3d>
          <a:extLst>
            <a:ext uri="{909E8E84-426E-40DD-AFC4-6F175D3DCCD1}">
              <a14:hiddenFill xmlns:a14="http://schemas.microsoft.com/office/drawing/2010/main">
                <a:solidFill>
                  <a:srgbClr val="FFFFFF"/>
                </a:solidFill>
              </a14:hiddenFill>
            </a:ext>
          </a:extLst>
        </p:spPr>
      </p:pic>
      <p:pic>
        <p:nvPicPr>
          <p:cNvPr id="39" name="Picture 25" descr="D:\Users\seyhan_ebru\Pictures\resim.men\engineer-icon.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716016" y="4437112"/>
            <a:ext cx="989231" cy="989231"/>
          </a:xfrm>
          <a:prstGeom prst="rect">
            <a:avLst/>
          </a:prstGeom>
          <a:noFill/>
          <a:extLst>
            <a:ext uri="{909E8E84-426E-40DD-AFC4-6F175D3DCCD1}">
              <a14:hiddenFill xmlns:a14="http://schemas.microsoft.com/office/drawing/2010/main">
                <a:solidFill>
                  <a:srgbClr val="FFFFFF"/>
                </a:solidFill>
              </a14:hiddenFill>
            </a:ext>
          </a:extLst>
        </p:spPr>
      </p:pic>
      <p:sp>
        <p:nvSpPr>
          <p:cNvPr id="40" name="Sağ Ok 39"/>
          <p:cNvSpPr/>
          <p:nvPr/>
        </p:nvSpPr>
        <p:spPr>
          <a:xfrm flipH="1">
            <a:off x="7205434" y="4797152"/>
            <a:ext cx="390902" cy="216024"/>
          </a:xfrm>
          <a:prstGeom prst="rightArrow">
            <a:avLst/>
          </a:prstGeom>
          <a:solidFill>
            <a:srgbClr val="36AC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41" name="Sağ Ok 40"/>
          <p:cNvSpPr/>
          <p:nvPr/>
        </p:nvSpPr>
        <p:spPr>
          <a:xfrm flipH="1">
            <a:off x="5868144" y="4797152"/>
            <a:ext cx="390902" cy="216024"/>
          </a:xfrm>
          <a:prstGeom prst="rightArrow">
            <a:avLst/>
          </a:prstGeom>
          <a:solidFill>
            <a:srgbClr val="36AC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42" name="Metin kutusu 41"/>
          <p:cNvSpPr txBox="1"/>
          <p:nvPr/>
        </p:nvSpPr>
        <p:spPr>
          <a:xfrm>
            <a:off x="3968738" y="5373216"/>
            <a:ext cx="2619486" cy="646331"/>
          </a:xfrm>
          <a:prstGeom prst="rect">
            <a:avLst/>
          </a:prstGeom>
          <a:noFill/>
        </p:spPr>
        <p:txBody>
          <a:bodyPr wrap="square" rtlCol="0">
            <a:spAutoFit/>
          </a:bodyPr>
          <a:lstStyle/>
          <a:p>
            <a:pPr algn="ctr"/>
            <a:r>
              <a:rPr lang="tr-TR" dirty="0" smtClean="0"/>
              <a:t>Muhasebe faturayı kontrol eder</a:t>
            </a:r>
            <a:endParaRPr lang="tr-TR" dirty="0"/>
          </a:p>
        </p:txBody>
      </p:sp>
      <p:sp>
        <p:nvSpPr>
          <p:cNvPr id="47" name="Sağ Ok 46"/>
          <p:cNvSpPr/>
          <p:nvPr/>
        </p:nvSpPr>
        <p:spPr>
          <a:xfrm flipH="1">
            <a:off x="4037082" y="4797152"/>
            <a:ext cx="390902" cy="216024"/>
          </a:xfrm>
          <a:prstGeom prst="rightArrow">
            <a:avLst/>
          </a:prstGeom>
          <a:solidFill>
            <a:srgbClr val="36AC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48" name="Metin kutusu 47"/>
          <p:cNvSpPr txBox="1"/>
          <p:nvPr/>
        </p:nvSpPr>
        <p:spPr>
          <a:xfrm>
            <a:off x="251520" y="4725144"/>
            <a:ext cx="2361341" cy="923330"/>
          </a:xfrm>
          <a:prstGeom prst="rect">
            <a:avLst/>
          </a:prstGeom>
          <a:noFill/>
        </p:spPr>
        <p:txBody>
          <a:bodyPr wrap="square" rtlCol="0">
            <a:spAutoFit/>
          </a:bodyPr>
          <a:lstStyle/>
          <a:p>
            <a:pPr algn="ctr"/>
            <a:r>
              <a:rPr lang="tr-TR" dirty="0" smtClean="0"/>
              <a:t>Faturayı kendi muhasebe sistemine işler</a:t>
            </a:r>
            <a:endParaRPr lang="tr-TR" dirty="0"/>
          </a:p>
        </p:txBody>
      </p:sp>
      <p:pic>
        <p:nvPicPr>
          <p:cNvPr id="43" name="Picture 11" descr="D:\Users\seyhan_ebru\Pictures\resim.real.vista\cabinet-icon.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948264" y="5562677"/>
            <a:ext cx="1106683" cy="1106683"/>
          </a:xfrm>
          <a:prstGeom prst="rect">
            <a:avLst/>
          </a:prstGeom>
          <a:noFill/>
          <a:extLst>
            <a:ext uri="{909E8E84-426E-40DD-AFC4-6F175D3DCCD1}">
              <a14:hiddenFill xmlns:a14="http://schemas.microsoft.com/office/drawing/2010/main">
                <a:solidFill>
                  <a:srgbClr val="FFFFFF"/>
                </a:solidFill>
              </a14:hiddenFill>
            </a:ext>
          </a:extLst>
        </p:spPr>
      </p:pic>
      <p:sp>
        <p:nvSpPr>
          <p:cNvPr id="44" name="Sağ Ok 43"/>
          <p:cNvSpPr/>
          <p:nvPr/>
        </p:nvSpPr>
        <p:spPr>
          <a:xfrm rot="3358314">
            <a:off x="7004970" y="5343903"/>
            <a:ext cx="390902" cy="216024"/>
          </a:xfrm>
          <a:prstGeom prst="rightArrow">
            <a:avLst/>
          </a:prstGeom>
          <a:solidFill>
            <a:srgbClr val="36AC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45" name="Metin kutusu 44"/>
          <p:cNvSpPr txBox="1"/>
          <p:nvPr/>
        </p:nvSpPr>
        <p:spPr>
          <a:xfrm>
            <a:off x="5724128" y="6084004"/>
            <a:ext cx="1944216" cy="369332"/>
          </a:xfrm>
          <a:prstGeom prst="rect">
            <a:avLst/>
          </a:prstGeom>
          <a:noFill/>
        </p:spPr>
        <p:txBody>
          <a:bodyPr wrap="square" rtlCol="0">
            <a:spAutoFit/>
          </a:bodyPr>
          <a:lstStyle/>
          <a:p>
            <a:r>
              <a:rPr lang="tr-TR" dirty="0" smtClean="0"/>
              <a:t>Arşive kaldırır</a:t>
            </a:r>
            <a:endParaRPr lang="tr-TR" dirty="0"/>
          </a:p>
        </p:txBody>
      </p:sp>
      <p:sp>
        <p:nvSpPr>
          <p:cNvPr id="49" name="Metin kutusu 48"/>
          <p:cNvSpPr txBox="1"/>
          <p:nvPr/>
        </p:nvSpPr>
        <p:spPr>
          <a:xfrm>
            <a:off x="234819" y="1744090"/>
            <a:ext cx="1656184" cy="400110"/>
          </a:xfrm>
          <a:prstGeom prst="rect">
            <a:avLst/>
          </a:prstGeom>
          <a:noFill/>
        </p:spPr>
        <p:txBody>
          <a:bodyPr wrap="square" rtlCol="0">
            <a:spAutoFit/>
          </a:bodyPr>
          <a:lstStyle/>
          <a:p>
            <a:r>
              <a:rPr lang="tr-TR" sz="2000" b="1" dirty="0" smtClean="0"/>
              <a:t>Mehmet Ltd.</a:t>
            </a:r>
            <a:endParaRPr lang="tr-TR" sz="2000" b="1" dirty="0"/>
          </a:p>
        </p:txBody>
      </p:sp>
      <p:grpSp>
        <p:nvGrpSpPr>
          <p:cNvPr id="7" name="Grup 6"/>
          <p:cNvGrpSpPr/>
          <p:nvPr/>
        </p:nvGrpSpPr>
        <p:grpSpPr>
          <a:xfrm>
            <a:off x="2442039" y="4109010"/>
            <a:ext cx="1697913" cy="1480230"/>
            <a:chOff x="2442039" y="4109010"/>
            <a:chExt cx="1697913" cy="1480230"/>
          </a:xfrm>
        </p:grpSpPr>
        <p:pic>
          <p:nvPicPr>
            <p:cNvPr id="46" name="Picture 13" descr="D:\Users\seyhan_ebru\Pictures\resim.usb\desktop-icon.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442039" y="4323375"/>
              <a:ext cx="1265865" cy="1265865"/>
            </a:xfrm>
            <a:prstGeom prst="rect">
              <a:avLst/>
            </a:prstGeom>
            <a:noFill/>
            <a:extLst>
              <a:ext uri="{909E8E84-426E-40DD-AFC4-6F175D3DCCD1}">
                <a14:hiddenFill xmlns:a14="http://schemas.microsoft.com/office/drawing/2010/main">
                  <a:solidFill>
                    <a:srgbClr val="FFFFFF"/>
                  </a:solidFill>
                </a14:hiddenFill>
              </a:ext>
            </a:extLst>
          </p:spPr>
        </p:pic>
        <p:sp>
          <p:nvSpPr>
            <p:cNvPr id="50" name="Metin kutusu 49"/>
            <p:cNvSpPr txBox="1"/>
            <p:nvPr/>
          </p:nvSpPr>
          <p:spPr>
            <a:xfrm>
              <a:off x="2483768" y="4109010"/>
              <a:ext cx="1656184" cy="400110"/>
            </a:xfrm>
            <a:prstGeom prst="rect">
              <a:avLst/>
            </a:prstGeom>
            <a:noFill/>
          </p:spPr>
          <p:txBody>
            <a:bodyPr wrap="square" rtlCol="0">
              <a:spAutoFit/>
            </a:bodyPr>
            <a:lstStyle/>
            <a:p>
              <a:r>
                <a:rPr lang="tr-TR" sz="2000" b="1" dirty="0"/>
                <a:t>A</a:t>
              </a:r>
              <a:r>
                <a:rPr lang="tr-TR" sz="2000" b="1" dirty="0" smtClean="0"/>
                <a:t>hmet A.Ş.</a:t>
              </a:r>
              <a:endParaRPr lang="tr-TR" sz="2000" b="1" dirty="0"/>
            </a:p>
          </p:txBody>
        </p:sp>
      </p:grpSp>
      <p:sp>
        <p:nvSpPr>
          <p:cNvPr id="2" name="Metin kutusu 1"/>
          <p:cNvSpPr txBox="1"/>
          <p:nvPr/>
        </p:nvSpPr>
        <p:spPr>
          <a:xfrm>
            <a:off x="2012400" y="367200"/>
            <a:ext cx="4903200" cy="523220"/>
          </a:xfrm>
          <a:prstGeom prst="rect">
            <a:avLst/>
          </a:prstGeom>
          <a:noFill/>
        </p:spPr>
        <p:txBody>
          <a:bodyPr wrap="square" rtlCol="0">
            <a:spAutoFit/>
          </a:bodyPr>
          <a:lstStyle/>
          <a:p>
            <a:pPr algn="ctr"/>
            <a:r>
              <a:rPr lang="tr-TR" sz="2800" b="1" dirty="0" smtClean="0">
                <a:latin typeface="+mj-lt"/>
              </a:rPr>
              <a:t>E-FATURA İŞLEM SÜRECİ</a:t>
            </a:r>
            <a:endParaRPr lang="tr-TR" sz="2800" b="1" dirty="0">
              <a:latin typeface="+mj-lt"/>
            </a:endParaRPr>
          </a:p>
        </p:txBody>
      </p:sp>
      <p:sp>
        <p:nvSpPr>
          <p:cNvPr id="3" name="Metin kutusu 2"/>
          <p:cNvSpPr txBox="1"/>
          <p:nvPr/>
        </p:nvSpPr>
        <p:spPr>
          <a:xfrm>
            <a:off x="2339752" y="1124744"/>
            <a:ext cx="3023404" cy="369332"/>
          </a:xfrm>
          <a:prstGeom prst="rect">
            <a:avLst/>
          </a:prstGeom>
          <a:noFill/>
        </p:spPr>
        <p:txBody>
          <a:bodyPr wrap="square" rtlCol="0">
            <a:spAutoFit/>
          </a:bodyPr>
          <a:lstStyle/>
          <a:p>
            <a:r>
              <a:rPr lang="tr-TR" dirty="0" smtClean="0"/>
              <a:t>Bir kopyasını arşive kaldırır</a:t>
            </a:r>
            <a:endParaRPr lang="tr-TR" dirty="0"/>
          </a:p>
        </p:txBody>
      </p:sp>
      <p:sp>
        <p:nvSpPr>
          <p:cNvPr id="61" name="Çarpma 60"/>
          <p:cNvSpPr/>
          <p:nvPr/>
        </p:nvSpPr>
        <p:spPr>
          <a:xfrm>
            <a:off x="2267744" y="2048602"/>
            <a:ext cx="1136189" cy="1296144"/>
          </a:xfrm>
          <a:prstGeom prst="mathMultiply">
            <a:avLst>
              <a:gd name="adj1" fmla="val 7327"/>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62" name="Çarpma 61"/>
          <p:cNvSpPr/>
          <p:nvPr/>
        </p:nvSpPr>
        <p:spPr>
          <a:xfrm>
            <a:off x="1275571" y="692696"/>
            <a:ext cx="1136189" cy="1296144"/>
          </a:xfrm>
          <a:prstGeom prst="mathMultiply">
            <a:avLst>
              <a:gd name="adj1" fmla="val 7327"/>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63" name="Çarpma 62"/>
          <p:cNvSpPr/>
          <p:nvPr/>
        </p:nvSpPr>
        <p:spPr>
          <a:xfrm>
            <a:off x="2555776" y="1481116"/>
            <a:ext cx="808992" cy="939772"/>
          </a:xfrm>
          <a:prstGeom prst="mathMultiply">
            <a:avLst>
              <a:gd name="adj1" fmla="val 7327"/>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64" name="Çarpma 63"/>
          <p:cNvSpPr/>
          <p:nvPr/>
        </p:nvSpPr>
        <p:spPr>
          <a:xfrm>
            <a:off x="7468259" y="1988840"/>
            <a:ext cx="1136189" cy="1296144"/>
          </a:xfrm>
          <a:prstGeom prst="mathMultiply">
            <a:avLst>
              <a:gd name="adj1" fmla="val 7327"/>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65" name="Çarpma 64"/>
          <p:cNvSpPr/>
          <p:nvPr/>
        </p:nvSpPr>
        <p:spPr>
          <a:xfrm>
            <a:off x="7740352" y="4293096"/>
            <a:ext cx="1136189" cy="1296144"/>
          </a:xfrm>
          <a:prstGeom prst="mathMultiply">
            <a:avLst>
              <a:gd name="adj1" fmla="val 7327"/>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66" name="Çarpma 65"/>
          <p:cNvSpPr/>
          <p:nvPr/>
        </p:nvSpPr>
        <p:spPr>
          <a:xfrm>
            <a:off x="6244123" y="4221088"/>
            <a:ext cx="1136189" cy="1296144"/>
          </a:xfrm>
          <a:prstGeom prst="mathMultiply">
            <a:avLst>
              <a:gd name="adj1" fmla="val 7327"/>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67" name="Çarpma 66"/>
          <p:cNvSpPr/>
          <p:nvPr/>
        </p:nvSpPr>
        <p:spPr>
          <a:xfrm>
            <a:off x="4731955" y="4293096"/>
            <a:ext cx="1136189" cy="1296144"/>
          </a:xfrm>
          <a:prstGeom prst="mathMultiply">
            <a:avLst>
              <a:gd name="adj1" fmla="val 7327"/>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68" name="Çarpma 67"/>
          <p:cNvSpPr/>
          <p:nvPr/>
        </p:nvSpPr>
        <p:spPr>
          <a:xfrm>
            <a:off x="6964203" y="5445224"/>
            <a:ext cx="1136189" cy="1296144"/>
          </a:xfrm>
          <a:prstGeom prst="mathMultiply">
            <a:avLst>
              <a:gd name="adj1" fmla="val 7327"/>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69" name="Çarpma 68"/>
          <p:cNvSpPr/>
          <p:nvPr/>
        </p:nvSpPr>
        <p:spPr>
          <a:xfrm>
            <a:off x="3635896" y="2060848"/>
            <a:ext cx="1136189" cy="1296144"/>
          </a:xfrm>
          <a:prstGeom prst="mathMultiply">
            <a:avLst>
              <a:gd name="adj1" fmla="val 7327"/>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70" name="Çarpma 69"/>
          <p:cNvSpPr/>
          <p:nvPr/>
        </p:nvSpPr>
        <p:spPr>
          <a:xfrm>
            <a:off x="5326593" y="1988840"/>
            <a:ext cx="1136189" cy="1296144"/>
          </a:xfrm>
          <a:prstGeom prst="mathMultiply">
            <a:avLst>
              <a:gd name="adj1" fmla="val 7327"/>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11" name="Sağ Ok 10"/>
          <p:cNvSpPr/>
          <p:nvPr/>
        </p:nvSpPr>
        <p:spPr>
          <a:xfrm>
            <a:off x="1836279" y="2296660"/>
            <a:ext cx="4896000" cy="628212"/>
          </a:xfrm>
          <a:prstGeom prst="rightArrow">
            <a:avLst>
              <a:gd name="adj1" fmla="val 54775"/>
              <a:gd name="adj2" fmla="val 133716"/>
            </a:avLst>
          </a:prstGeom>
          <a:solidFill>
            <a:srgbClr val="CDC12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sz="2300" b="1" dirty="0" smtClean="0">
                <a:solidFill>
                  <a:schemeClr val="tx1"/>
                </a:solidFill>
              </a:rPr>
              <a:t>e-Fatura</a:t>
            </a:r>
            <a:endParaRPr lang="tr-TR" sz="2300" b="1" dirty="0">
              <a:solidFill>
                <a:schemeClr val="tx1"/>
              </a:solidFill>
            </a:endParaRPr>
          </a:p>
        </p:txBody>
      </p:sp>
      <p:pic>
        <p:nvPicPr>
          <p:cNvPr id="4" name="Picture 13" descr="D:\Users\seyhan_ebru\Pictures\resim.usb\desktop-icon.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23528" y="1988840"/>
            <a:ext cx="1265865" cy="1265865"/>
          </a:xfrm>
          <a:prstGeom prst="rect">
            <a:avLst/>
          </a:prstGeom>
          <a:noFill/>
          <a:extLst>
            <a:ext uri="{909E8E84-426E-40DD-AFC4-6F175D3DCCD1}">
              <a14:hiddenFill xmlns:a14="http://schemas.microsoft.com/office/drawing/2010/main">
                <a:solidFill>
                  <a:srgbClr val="FFFFFF"/>
                </a:solidFill>
              </a14:hiddenFill>
            </a:ext>
          </a:extLst>
        </p:spPr>
      </p:pic>
      <p:sp>
        <p:nvSpPr>
          <p:cNvPr id="55" name="Metin kutusu 54"/>
          <p:cNvSpPr txBox="1"/>
          <p:nvPr/>
        </p:nvSpPr>
        <p:spPr>
          <a:xfrm>
            <a:off x="2333656" y="1769739"/>
            <a:ext cx="3356550" cy="461665"/>
          </a:xfrm>
          <a:prstGeom prst="rect">
            <a:avLst/>
          </a:prstGeom>
          <a:noFill/>
          <a:scene3d>
            <a:camera prst="orthographicFront"/>
            <a:lightRig rig="threePt" dir="t"/>
          </a:scene3d>
          <a:sp3d>
            <a:bevelT/>
            <a:bevelB w="139700" h="139700" prst="divot"/>
          </a:sp3d>
        </p:spPr>
        <p:txBody>
          <a:bodyPr wrap="square" rtlCol="0">
            <a:spAutoFit/>
          </a:bodyPr>
          <a:lstStyle/>
          <a:p>
            <a:pPr algn="ctr"/>
            <a:r>
              <a:rPr lang="tr-TR" sz="2400" b="1" dirty="0"/>
              <a:t>A</a:t>
            </a:r>
            <a:r>
              <a:rPr lang="tr-TR" sz="2400" b="1" dirty="0" smtClean="0"/>
              <a:t>nında</a:t>
            </a:r>
            <a:endParaRPr lang="tr-TR" sz="2400" b="1" dirty="0"/>
          </a:p>
        </p:txBody>
      </p:sp>
    </p:spTree>
    <p:extLst>
      <p:ext uri="{BB962C8B-B14F-4D97-AF65-F5344CB8AC3E}">
        <p14:creationId xmlns:p14="http://schemas.microsoft.com/office/powerpoint/2010/main" val="328933560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61"/>
                                        </p:tgtEl>
                                        <p:attrNameLst>
                                          <p:attrName>style.visibility</p:attrName>
                                        </p:attrNameLst>
                                      </p:cBhvr>
                                      <p:to>
                                        <p:strVal val="visible"/>
                                      </p:to>
                                    </p:set>
                                    <p:anim calcmode="lin" valueType="num">
                                      <p:cBhvr>
                                        <p:cTn id="7" dur="500" fill="hold"/>
                                        <p:tgtEl>
                                          <p:spTgt spid="61"/>
                                        </p:tgtEl>
                                        <p:attrNameLst>
                                          <p:attrName>ppt_w</p:attrName>
                                        </p:attrNameLst>
                                      </p:cBhvr>
                                      <p:tavLst>
                                        <p:tav tm="0">
                                          <p:val>
                                            <p:fltVal val="0"/>
                                          </p:val>
                                        </p:tav>
                                        <p:tav tm="100000">
                                          <p:val>
                                            <p:strVal val="#ppt_w"/>
                                          </p:val>
                                        </p:tav>
                                      </p:tavLst>
                                    </p:anim>
                                    <p:anim calcmode="lin" valueType="num">
                                      <p:cBhvr>
                                        <p:cTn id="8" dur="500" fill="hold"/>
                                        <p:tgtEl>
                                          <p:spTgt spid="61"/>
                                        </p:tgtEl>
                                        <p:attrNameLst>
                                          <p:attrName>ppt_h</p:attrName>
                                        </p:attrNameLst>
                                      </p:cBhvr>
                                      <p:tavLst>
                                        <p:tav tm="0">
                                          <p:val>
                                            <p:fltVal val="0"/>
                                          </p:val>
                                        </p:tav>
                                        <p:tav tm="100000">
                                          <p:val>
                                            <p:strVal val="#ppt_h"/>
                                          </p:val>
                                        </p:tav>
                                      </p:tavLst>
                                    </p:anim>
                                    <p:animEffect transition="in" filter="fade">
                                      <p:cBhvr>
                                        <p:cTn id="9" dur="500"/>
                                        <p:tgtEl>
                                          <p:spTgt spid="61"/>
                                        </p:tgtEl>
                                      </p:cBhvr>
                                    </p:animEffect>
                                  </p:childTnLst>
                                </p:cTn>
                              </p:par>
                            </p:childTnLst>
                          </p:cTn>
                        </p:par>
                        <p:par>
                          <p:cTn id="10" fill="hold">
                            <p:stCondLst>
                              <p:cond delay="500"/>
                            </p:stCondLst>
                            <p:childTnLst>
                              <p:par>
                                <p:cTn id="11" presetID="53" presetClass="entr" presetSubtype="16" fill="hold" grpId="0" nodeType="afterEffect">
                                  <p:stCondLst>
                                    <p:cond delay="0"/>
                                  </p:stCondLst>
                                  <p:childTnLst>
                                    <p:set>
                                      <p:cBhvr>
                                        <p:cTn id="12" dur="1" fill="hold">
                                          <p:stCondLst>
                                            <p:cond delay="0"/>
                                          </p:stCondLst>
                                        </p:cTn>
                                        <p:tgtEl>
                                          <p:spTgt spid="63"/>
                                        </p:tgtEl>
                                        <p:attrNameLst>
                                          <p:attrName>style.visibility</p:attrName>
                                        </p:attrNameLst>
                                      </p:cBhvr>
                                      <p:to>
                                        <p:strVal val="visible"/>
                                      </p:to>
                                    </p:set>
                                    <p:anim calcmode="lin" valueType="num">
                                      <p:cBhvr>
                                        <p:cTn id="13" dur="500" fill="hold"/>
                                        <p:tgtEl>
                                          <p:spTgt spid="63"/>
                                        </p:tgtEl>
                                        <p:attrNameLst>
                                          <p:attrName>ppt_w</p:attrName>
                                        </p:attrNameLst>
                                      </p:cBhvr>
                                      <p:tavLst>
                                        <p:tav tm="0">
                                          <p:val>
                                            <p:fltVal val="0"/>
                                          </p:val>
                                        </p:tav>
                                        <p:tav tm="100000">
                                          <p:val>
                                            <p:strVal val="#ppt_w"/>
                                          </p:val>
                                        </p:tav>
                                      </p:tavLst>
                                    </p:anim>
                                    <p:anim calcmode="lin" valueType="num">
                                      <p:cBhvr>
                                        <p:cTn id="14" dur="500" fill="hold"/>
                                        <p:tgtEl>
                                          <p:spTgt spid="63"/>
                                        </p:tgtEl>
                                        <p:attrNameLst>
                                          <p:attrName>ppt_h</p:attrName>
                                        </p:attrNameLst>
                                      </p:cBhvr>
                                      <p:tavLst>
                                        <p:tav tm="0">
                                          <p:val>
                                            <p:fltVal val="0"/>
                                          </p:val>
                                        </p:tav>
                                        <p:tav tm="100000">
                                          <p:val>
                                            <p:strVal val="#ppt_h"/>
                                          </p:val>
                                        </p:tav>
                                      </p:tavLst>
                                    </p:anim>
                                    <p:animEffect transition="in" filter="fade">
                                      <p:cBhvr>
                                        <p:cTn id="15" dur="500"/>
                                        <p:tgtEl>
                                          <p:spTgt spid="63"/>
                                        </p:tgtEl>
                                      </p:cBhvr>
                                    </p:animEffect>
                                  </p:childTnLst>
                                </p:cTn>
                              </p:par>
                            </p:childTnLst>
                          </p:cTn>
                        </p:par>
                        <p:par>
                          <p:cTn id="16" fill="hold">
                            <p:stCondLst>
                              <p:cond delay="1000"/>
                            </p:stCondLst>
                            <p:childTnLst>
                              <p:par>
                                <p:cTn id="17" presetID="53" presetClass="entr" presetSubtype="16" fill="hold" grpId="0" nodeType="afterEffect">
                                  <p:stCondLst>
                                    <p:cond delay="0"/>
                                  </p:stCondLst>
                                  <p:childTnLst>
                                    <p:set>
                                      <p:cBhvr>
                                        <p:cTn id="18" dur="1" fill="hold">
                                          <p:stCondLst>
                                            <p:cond delay="0"/>
                                          </p:stCondLst>
                                        </p:cTn>
                                        <p:tgtEl>
                                          <p:spTgt spid="62"/>
                                        </p:tgtEl>
                                        <p:attrNameLst>
                                          <p:attrName>style.visibility</p:attrName>
                                        </p:attrNameLst>
                                      </p:cBhvr>
                                      <p:to>
                                        <p:strVal val="visible"/>
                                      </p:to>
                                    </p:set>
                                    <p:anim calcmode="lin" valueType="num">
                                      <p:cBhvr>
                                        <p:cTn id="19" dur="500" fill="hold"/>
                                        <p:tgtEl>
                                          <p:spTgt spid="62"/>
                                        </p:tgtEl>
                                        <p:attrNameLst>
                                          <p:attrName>ppt_w</p:attrName>
                                        </p:attrNameLst>
                                      </p:cBhvr>
                                      <p:tavLst>
                                        <p:tav tm="0">
                                          <p:val>
                                            <p:fltVal val="0"/>
                                          </p:val>
                                        </p:tav>
                                        <p:tav tm="100000">
                                          <p:val>
                                            <p:strVal val="#ppt_w"/>
                                          </p:val>
                                        </p:tav>
                                      </p:tavLst>
                                    </p:anim>
                                    <p:anim calcmode="lin" valueType="num">
                                      <p:cBhvr>
                                        <p:cTn id="20" dur="500" fill="hold"/>
                                        <p:tgtEl>
                                          <p:spTgt spid="62"/>
                                        </p:tgtEl>
                                        <p:attrNameLst>
                                          <p:attrName>ppt_h</p:attrName>
                                        </p:attrNameLst>
                                      </p:cBhvr>
                                      <p:tavLst>
                                        <p:tav tm="0">
                                          <p:val>
                                            <p:fltVal val="0"/>
                                          </p:val>
                                        </p:tav>
                                        <p:tav tm="100000">
                                          <p:val>
                                            <p:strVal val="#ppt_h"/>
                                          </p:val>
                                        </p:tav>
                                      </p:tavLst>
                                    </p:anim>
                                    <p:animEffect transition="in" filter="fade">
                                      <p:cBhvr>
                                        <p:cTn id="21" dur="500"/>
                                        <p:tgtEl>
                                          <p:spTgt spid="62"/>
                                        </p:tgtEl>
                                      </p:cBhvr>
                                    </p:animEffect>
                                  </p:childTnLst>
                                </p:cTn>
                              </p:par>
                            </p:childTnLst>
                          </p:cTn>
                        </p:par>
                        <p:par>
                          <p:cTn id="22" fill="hold">
                            <p:stCondLst>
                              <p:cond delay="1500"/>
                            </p:stCondLst>
                            <p:childTnLst>
                              <p:par>
                                <p:cTn id="23" presetID="53" presetClass="entr" presetSubtype="16" fill="hold" grpId="0" nodeType="afterEffect">
                                  <p:stCondLst>
                                    <p:cond delay="0"/>
                                  </p:stCondLst>
                                  <p:childTnLst>
                                    <p:set>
                                      <p:cBhvr>
                                        <p:cTn id="24" dur="1" fill="hold">
                                          <p:stCondLst>
                                            <p:cond delay="0"/>
                                          </p:stCondLst>
                                        </p:cTn>
                                        <p:tgtEl>
                                          <p:spTgt spid="69"/>
                                        </p:tgtEl>
                                        <p:attrNameLst>
                                          <p:attrName>style.visibility</p:attrName>
                                        </p:attrNameLst>
                                      </p:cBhvr>
                                      <p:to>
                                        <p:strVal val="visible"/>
                                      </p:to>
                                    </p:set>
                                    <p:anim calcmode="lin" valueType="num">
                                      <p:cBhvr>
                                        <p:cTn id="25" dur="500" fill="hold"/>
                                        <p:tgtEl>
                                          <p:spTgt spid="69"/>
                                        </p:tgtEl>
                                        <p:attrNameLst>
                                          <p:attrName>ppt_w</p:attrName>
                                        </p:attrNameLst>
                                      </p:cBhvr>
                                      <p:tavLst>
                                        <p:tav tm="0">
                                          <p:val>
                                            <p:fltVal val="0"/>
                                          </p:val>
                                        </p:tav>
                                        <p:tav tm="100000">
                                          <p:val>
                                            <p:strVal val="#ppt_w"/>
                                          </p:val>
                                        </p:tav>
                                      </p:tavLst>
                                    </p:anim>
                                    <p:anim calcmode="lin" valueType="num">
                                      <p:cBhvr>
                                        <p:cTn id="26" dur="500" fill="hold"/>
                                        <p:tgtEl>
                                          <p:spTgt spid="69"/>
                                        </p:tgtEl>
                                        <p:attrNameLst>
                                          <p:attrName>ppt_h</p:attrName>
                                        </p:attrNameLst>
                                      </p:cBhvr>
                                      <p:tavLst>
                                        <p:tav tm="0">
                                          <p:val>
                                            <p:fltVal val="0"/>
                                          </p:val>
                                        </p:tav>
                                        <p:tav tm="100000">
                                          <p:val>
                                            <p:strVal val="#ppt_h"/>
                                          </p:val>
                                        </p:tav>
                                      </p:tavLst>
                                    </p:anim>
                                    <p:animEffect transition="in" filter="fade">
                                      <p:cBhvr>
                                        <p:cTn id="27" dur="500"/>
                                        <p:tgtEl>
                                          <p:spTgt spid="69"/>
                                        </p:tgtEl>
                                      </p:cBhvr>
                                    </p:animEffect>
                                  </p:childTnLst>
                                </p:cTn>
                              </p:par>
                            </p:childTnLst>
                          </p:cTn>
                        </p:par>
                        <p:par>
                          <p:cTn id="28" fill="hold">
                            <p:stCondLst>
                              <p:cond delay="2000"/>
                            </p:stCondLst>
                            <p:childTnLst>
                              <p:par>
                                <p:cTn id="29" presetID="53" presetClass="entr" presetSubtype="16" fill="hold" grpId="0" nodeType="afterEffect">
                                  <p:stCondLst>
                                    <p:cond delay="0"/>
                                  </p:stCondLst>
                                  <p:childTnLst>
                                    <p:set>
                                      <p:cBhvr>
                                        <p:cTn id="30" dur="1" fill="hold">
                                          <p:stCondLst>
                                            <p:cond delay="0"/>
                                          </p:stCondLst>
                                        </p:cTn>
                                        <p:tgtEl>
                                          <p:spTgt spid="70"/>
                                        </p:tgtEl>
                                        <p:attrNameLst>
                                          <p:attrName>style.visibility</p:attrName>
                                        </p:attrNameLst>
                                      </p:cBhvr>
                                      <p:to>
                                        <p:strVal val="visible"/>
                                      </p:to>
                                    </p:set>
                                    <p:anim calcmode="lin" valueType="num">
                                      <p:cBhvr>
                                        <p:cTn id="31" dur="500" fill="hold"/>
                                        <p:tgtEl>
                                          <p:spTgt spid="70"/>
                                        </p:tgtEl>
                                        <p:attrNameLst>
                                          <p:attrName>ppt_w</p:attrName>
                                        </p:attrNameLst>
                                      </p:cBhvr>
                                      <p:tavLst>
                                        <p:tav tm="0">
                                          <p:val>
                                            <p:fltVal val="0"/>
                                          </p:val>
                                        </p:tav>
                                        <p:tav tm="100000">
                                          <p:val>
                                            <p:strVal val="#ppt_w"/>
                                          </p:val>
                                        </p:tav>
                                      </p:tavLst>
                                    </p:anim>
                                    <p:anim calcmode="lin" valueType="num">
                                      <p:cBhvr>
                                        <p:cTn id="32" dur="500" fill="hold"/>
                                        <p:tgtEl>
                                          <p:spTgt spid="70"/>
                                        </p:tgtEl>
                                        <p:attrNameLst>
                                          <p:attrName>ppt_h</p:attrName>
                                        </p:attrNameLst>
                                      </p:cBhvr>
                                      <p:tavLst>
                                        <p:tav tm="0">
                                          <p:val>
                                            <p:fltVal val="0"/>
                                          </p:val>
                                        </p:tav>
                                        <p:tav tm="100000">
                                          <p:val>
                                            <p:strVal val="#ppt_h"/>
                                          </p:val>
                                        </p:tav>
                                      </p:tavLst>
                                    </p:anim>
                                    <p:animEffect transition="in" filter="fade">
                                      <p:cBhvr>
                                        <p:cTn id="33" dur="500"/>
                                        <p:tgtEl>
                                          <p:spTgt spid="70"/>
                                        </p:tgtEl>
                                      </p:cBhvr>
                                    </p:animEffect>
                                  </p:childTnLst>
                                </p:cTn>
                              </p:par>
                            </p:childTnLst>
                          </p:cTn>
                        </p:par>
                        <p:par>
                          <p:cTn id="34" fill="hold">
                            <p:stCondLst>
                              <p:cond delay="2500"/>
                            </p:stCondLst>
                            <p:childTnLst>
                              <p:par>
                                <p:cTn id="35" presetID="53" presetClass="entr" presetSubtype="16" fill="hold" grpId="0" nodeType="afterEffect">
                                  <p:stCondLst>
                                    <p:cond delay="0"/>
                                  </p:stCondLst>
                                  <p:childTnLst>
                                    <p:set>
                                      <p:cBhvr>
                                        <p:cTn id="36" dur="1" fill="hold">
                                          <p:stCondLst>
                                            <p:cond delay="0"/>
                                          </p:stCondLst>
                                        </p:cTn>
                                        <p:tgtEl>
                                          <p:spTgt spid="64"/>
                                        </p:tgtEl>
                                        <p:attrNameLst>
                                          <p:attrName>style.visibility</p:attrName>
                                        </p:attrNameLst>
                                      </p:cBhvr>
                                      <p:to>
                                        <p:strVal val="visible"/>
                                      </p:to>
                                    </p:set>
                                    <p:anim calcmode="lin" valueType="num">
                                      <p:cBhvr>
                                        <p:cTn id="37" dur="500" fill="hold"/>
                                        <p:tgtEl>
                                          <p:spTgt spid="64"/>
                                        </p:tgtEl>
                                        <p:attrNameLst>
                                          <p:attrName>ppt_w</p:attrName>
                                        </p:attrNameLst>
                                      </p:cBhvr>
                                      <p:tavLst>
                                        <p:tav tm="0">
                                          <p:val>
                                            <p:fltVal val="0"/>
                                          </p:val>
                                        </p:tav>
                                        <p:tav tm="100000">
                                          <p:val>
                                            <p:strVal val="#ppt_w"/>
                                          </p:val>
                                        </p:tav>
                                      </p:tavLst>
                                    </p:anim>
                                    <p:anim calcmode="lin" valueType="num">
                                      <p:cBhvr>
                                        <p:cTn id="38" dur="500" fill="hold"/>
                                        <p:tgtEl>
                                          <p:spTgt spid="64"/>
                                        </p:tgtEl>
                                        <p:attrNameLst>
                                          <p:attrName>ppt_h</p:attrName>
                                        </p:attrNameLst>
                                      </p:cBhvr>
                                      <p:tavLst>
                                        <p:tav tm="0">
                                          <p:val>
                                            <p:fltVal val="0"/>
                                          </p:val>
                                        </p:tav>
                                        <p:tav tm="100000">
                                          <p:val>
                                            <p:strVal val="#ppt_h"/>
                                          </p:val>
                                        </p:tav>
                                      </p:tavLst>
                                    </p:anim>
                                    <p:animEffect transition="in" filter="fade">
                                      <p:cBhvr>
                                        <p:cTn id="39" dur="500"/>
                                        <p:tgtEl>
                                          <p:spTgt spid="64"/>
                                        </p:tgtEl>
                                      </p:cBhvr>
                                    </p:animEffect>
                                  </p:childTnLst>
                                </p:cTn>
                              </p:par>
                            </p:childTnLst>
                          </p:cTn>
                        </p:par>
                        <p:par>
                          <p:cTn id="40" fill="hold">
                            <p:stCondLst>
                              <p:cond delay="3000"/>
                            </p:stCondLst>
                            <p:childTnLst>
                              <p:par>
                                <p:cTn id="41" presetID="53" presetClass="entr" presetSubtype="16" fill="hold" grpId="0" nodeType="afterEffect">
                                  <p:stCondLst>
                                    <p:cond delay="0"/>
                                  </p:stCondLst>
                                  <p:childTnLst>
                                    <p:set>
                                      <p:cBhvr>
                                        <p:cTn id="42" dur="1" fill="hold">
                                          <p:stCondLst>
                                            <p:cond delay="0"/>
                                          </p:stCondLst>
                                        </p:cTn>
                                        <p:tgtEl>
                                          <p:spTgt spid="65"/>
                                        </p:tgtEl>
                                        <p:attrNameLst>
                                          <p:attrName>style.visibility</p:attrName>
                                        </p:attrNameLst>
                                      </p:cBhvr>
                                      <p:to>
                                        <p:strVal val="visible"/>
                                      </p:to>
                                    </p:set>
                                    <p:anim calcmode="lin" valueType="num">
                                      <p:cBhvr>
                                        <p:cTn id="43" dur="500" fill="hold"/>
                                        <p:tgtEl>
                                          <p:spTgt spid="65"/>
                                        </p:tgtEl>
                                        <p:attrNameLst>
                                          <p:attrName>ppt_w</p:attrName>
                                        </p:attrNameLst>
                                      </p:cBhvr>
                                      <p:tavLst>
                                        <p:tav tm="0">
                                          <p:val>
                                            <p:fltVal val="0"/>
                                          </p:val>
                                        </p:tav>
                                        <p:tav tm="100000">
                                          <p:val>
                                            <p:strVal val="#ppt_w"/>
                                          </p:val>
                                        </p:tav>
                                      </p:tavLst>
                                    </p:anim>
                                    <p:anim calcmode="lin" valueType="num">
                                      <p:cBhvr>
                                        <p:cTn id="44" dur="500" fill="hold"/>
                                        <p:tgtEl>
                                          <p:spTgt spid="65"/>
                                        </p:tgtEl>
                                        <p:attrNameLst>
                                          <p:attrName>ppt_h</p:attrName>
                                        </p:attrNameLst>
                                      </p:cBhvr>
                                      <p:tavLst>
                                        <p:tav tm="0">
                                          <p:val>
                                            <p:fltVal val="0"/>
                                          </p:val>
                                        </p:tav>
                                        <p:tav tm="100000">
                                          <p:val>
                                            <p:strVal val="#ppt_h"/>
                                          </p:val>
                                        </p:tav>
                                      </p:tavLst>
                                    </p:anim>
                                    <p:animEffect transition="in" filter="fade">
                                      <p:cBhvr>
                                        <p:cTn id="45" dur="500"/>
                                        <p:tgtEl>
                                          <p:spTgt spid="65"/>
                                        </p:tgtEl>
                                      </p:cBhvr>
                                    </p:animEffect>
                                  </p:childTnLst>
                                </p:cTn>
                              </p:par>
                            </p:childTnLst>
                          </p:cTn>
                        </p:par>
                        <p:par>
                          <p:cTn id="46" fill="hold">
                            <p:stCondLst>
                              <p:cond delay="3500"/>
                            </p:stCondLst>
                            <p:childTnLst>
                              <p:par>
                                <p:cTn id="47" presetID="53" presetClass="entr" presetSubtype="16" fill="hold" grpId="0" nodeType="afterEffect">
                                  <p:stCondLst>
                                    <p:cond delay="0"/>
                                  </p:stCondLst>
                                  <p:childTnLst>
                                    <p:set>
                                      <p:cBhvr>
                                        <p:cTn id="48" dur="1" fill="hold">
                                          <p:stCondLst>
                                            <p:cond delay="0"/>
                                          </p:stCondLst>
                                        </p:cTn>
                                        <p:tgtEl>
                                          <p:spTgt spid="66"/>
                                        </p:tgtEl>
                                        <p:attrNameLst>
                                          <p:attrName>style.visibility</p:attrName>
                                        </p:attrNameLst>
                                      </p:cBhvr>
                                      <p:to>
                                        <p:strVal val="visible"/>
                                      </p:to>
                                    </p:set>
                                    <p:anim calcmode="lin" valueType="num">
                                      <p:cBhvr>
                                        <p:cTn id="49" dur="500" fill="hold"/>
                                        <p:tgtEl>
                                          <p:spTgt spid="66"/>
                                        </p:tgtEl>
                                        <p:attrNameLst>
                                          <p:attrName>ppt_w</p:attrName>
                                        </p:attrNameLst>
                                      </p:cBhvr>
                                      <p:tavLst>
                                        <p:tav tm="0">
                                          <p:val>
                                            <p:fltVal val="0"/>
                                          </p:val>
                                        </p:tav>
                                        <p:tav tm="100000">
                                          <p:val>
                                            <p:strVal val="#ppt_w"/>
                                          </p:val>
                                        </p:tav>
                                      </p:tavLst>
                                    </p:anim>
                                    <p:anim calcmode="lin" valueType="num">
                                      <p:cBhvr>
                                        <p:cTn id="50" dur="500" fill="hold"/>
                                        <p:tgtEl>
                                          <p:spTgt spid="66"/>
                                        </p:tgtEl>
                                        <p:attrNameLst>
                                          <p:attrName>ppt_h</p:attrName>
                                        </p:attrNameLst>
                                      </p:cBhvr>
                                      <p:tavLst>
                                        <p:tav tm="0">
                                          <p:val>
                                            <p:fltVal val="0"/>
                                          </p:val>
                                        </p:tav>
                                        <p:tav tm="100000">
                                          <p:val>
                                            <p:strVal val="#ppt_h"/>
                                          </p:val>
                                        </p:tav>
                                      </p:tavLst>
                                    </p:anim>
                                    <p:animEffect transition="in" filter="fade">
                                      <p:cBhvr>
                                        <p:cTn id="51" dur="500"/>
                                        <p:tgtEl>
                                          <p:spTgt spid="66"/>
                                        </p:tgtEl>
                                      </p:cBhvr>
                                    </p:animEffect>
                                  </p:childTnLst>
                                </p:cTn>
                              </p:par>
                            </p:childTnLst>
                          </p:cTn>
                        </p:par>
                        <p:par>
                          <p:cTn id="52" fill="hold">
                            <p:stCondLst>
                              <p:cond delay="4000"/>
                            </p:stCondLst>
                            <p:childTnLst>
                              <p:par>
                                <p:cTn id="53" presetID="53" presetClass="entr" presetSubtype="16" fill="hold" grpId="0" nodeType="afterEffect">
                                  <p:stCondLst>
                                    <p:cond delay="0"/>
                                  </p:stCondLst>
                                  <p:childTnLst>
                                    <p:set>
                                      <p:cBhvr>
                                        <p:cTn id="54" dur="1" fill="hold">
                                          <p:stCondLst>
                                            <p:cond delay="0"/>
                                          </p:stCondLst>
                                        </p:cTn>
                                        <p:tgtEl>
                                          <p:spTgt spid="67"/>
                                        </p:tgtEl>
                                        <p:attrNameLst>
                                          <p:attrName>style.visibility</p:attrName>
                                        </p:attrNameLst>
                                      </p:cBhvr>
                                      <p:to>
                                        <p:strVal val="visible"/>
                                      </p:to>
                                    </p:set>
                                    <p:anim calcmode="lin" valueType="num">
                                      <p:cBhvr>
                                        <p:cTn id="55" dur="500" fill="hold"/>
                                        <p:tgtEl>
                                          <p:spTgt spid="67"/>
                                        </p:tgtEl>
                                        <p:attrNameLst>
                                          <p:attrName>ppt_w</p:attrName>
                                        </p:attrNameLst>
                                      </p:cBhvr>
                                      <p:tavLst>
                                        <p:tav tm="0">
                                          <p:val>
                                            <p:fltVal val="0"/>
                                          </p:val>
                                        </p:tav>
                                        <p:tav tm="100000">
                                          <p:val>
                                            <p:strVal val="#ppt_w"/>
                                          </p:val>
                                        </p:tav>
                                      </p:tavLst>
                                    </p:anim>
                                    <p:anim calcmode="lin" valueType="num">
                                      <p:cBhvr>
                                        <p:cTn id="56" dur="500" fill="hold"/>
                                        <p:tgtEl>
                                          <p:spTgt spid="67"/>
                                        </p:tgtEl>
                                        <p:attrNameLst>
                                          <p:attrName>ppt_h</p:attrName>
                                        </p:attrNameLst>
                                      </p:cBhvr>
                                      <p:tavLst>
                                        <p:tav tm="0">
                                          <p:val>
                                            <p:fltVal val="0"/>
                                          </p:val>
                                        </p:tav>
                                        <p:tav tm="100000">
                                          <p:val>
                                            <p:strVal val="#ppt_h"/>
                                          </p:val>
                                        </p:tav>
                                      </p:tavLst>
                                    </p:anim>
                                    <p:animEffect transition="in" filter="fade">
                                      <p:cBhvr>
                                        <p:cTn id="57" dur="500"/>
                                        <p:tgtEl>
                                          <p:spTgt spid="67"/>
                                        </p:tgtEl>
                                      </p:cBhvr>
                                    </p:animEffect>
                                  </p:childTnLst>
                                </p:cTn>
                              </p:par>
                            </p:childTnLst>
                          </p:cTn>
                        </p:par>
                        <p:par>
                          <p:cTn id="58" fill="hold">
                            <p:stCondLst>
                              <p:cond delay="4500"/>
                            </p:stCondLst>
                            <p:childTnLst>
                              <p:par>
                                <p:cTn id="59" presetID="53" presetClass="entr" presetSubtype="16" fill="hold" grpId="0" nodeType="afterEffect">
                                  <p:stCondLst>
                                    <p:cond delay="0"/>
                                  </p:stCondLst>
                                  <p:childTnLst>
                                    <p:set>
                                      <p:cBhvr>
                                        <p:cTn id="60" dur="1" fill="hold">
                                          <p:stCondLst>
                                            <p:cond delay="0"/>
                                          </p:stCondLst>
                                        </p:cTn>
                                        <p:tgtEl>
                                          <p:spTgt spid="68"/>
                                        </p:tgtEl>
                                        <p:attrNameLst>
                                          <p:attrName>style.visibility</p:attrName>
                                        </p:attrNameLst>
                                      </p:cBhvr>
                                      <p:to>
                                        <p:strVal val="visible"/>
                                      </p:to>
                                    </p:set>
                                    <p:anim calcmode="lin" valueType="num">
                                      <p:cBhvr>
                                        <p:cTn id="61" dur="500" fill="hold"/>
                                        <p:tgtEl>
                                          <p:spTgt spid="68"/>
                                        </p:tgtEl>
                                        <p:attrNameLst>
                                          <p:attrName>ppt_w</p:attrName>
                                        </p:attrNameLst>
                                      </p:cBhvr>
                                      <p:tavLst>
                                        <p:tav tm="0">
                                          <p:val>
                                            <p:fltVal val="0"/>
                                          </p:val>
                                        </p:tav>
                                        <p:tav tm="100000">
                                          <p:val>
                                            <p:strVal val="#ppt_w"/>
                                          </p:val>
                                        </p:tav>
                                      </p:tavLst>
                                    </p:anim>
                                    <p:anim calcmode="lin" valueType="num">
                                      <p:cBhvr>
                                        <p:cTn id="62" dur="500" fill="hold"/>
                                        <p:tgtEl>
                                          <p:spTgt spid="68"/>
                                        </p:tgtEl>
                                        <p:attrNameLst>
                                          <p:attrName>ppt_h</p:attrName>
                                        </p:attrNameLst>
                                      </p:cBhvr>
                                      <p:tavLst>
                                        <p:tav tm="0">
                                          <p:val>
                                            <p:fltVal val="0"/>
                                          </p:val>
                                        </p:tav>
                                        <p:tav tm="100000">
                                          <p:val>
                                            <p:strVal val="#ppt_h"/>
                                          </p:val>
                                        </p:tav>
                                      </p:tavLst>
                                    </p:anim>
                                    <p:animEffect transition="in" filter="fade">
                                      <p:cBhvr>
                                        <p:cTn id="63" dur="500"/>
                                        <p:tgtEl>
                                          <p:spTgt spid="68"/>
                                        </p:tgtEl>
                                      </p:cBhvr>
                                    </p:animEffect>
                                  </p:childTnLst>
                                </p:cTn>
                              </p:par>
                            </p:childTnLst>
                          </p:cTn>
                        </p:par>
                        <p:par>
                          <p:cTn id="64" fill="hold">
                            <p:stCondLst>
                              <p:cond delay="5000"/>
                            </p:stCondLst>
                            <p:childTnLst>
                              <p:par>
                                <p:cTn id="65" presetID="10" presetClass="exit" presetSubtype="0" fill="hold" grpId="1" nodeType="afterEffect">
                                  <p:stCondLst>
                                    <p:cond delay="0"/>
                                  </p:stCondLst>
                                  <p:childTnLst>
                                    <p:animEffect transition="out" filter="fade">
                                      <p:cBhvr>
                                        <p:cTn id="66" dur="500"/>
                                        <p:tgtEl>
                                          <p:spTgt spid="61"/>
                                        </p:tgtEl>
                                      </p:cBhvr>
                                    </p:animEffect>
                                    <p:set>
                                      <p:cBhvr>
                                        <p:cTn id="67" dur="1" fill="hold">
                                          <p:stCondLst>
                                            <p:cond delay="499"/>
                                          </p:stCondLst>
                                        </p:cTn>
                                        <p:tgtEl>
                                          <p:spTgt spid="61"/>
                                        </p:tgtEl>
                                        <p:attrNameLst>
                                          <p:attrName>style.visibility</p:attrName>
                                        </p:attrNameLst>
                                      </p:cBhvr>
                                      <p:to>
                                        <p:strVal val="hidden"/>
                                      </p:to>
                                    </p:set>
                                  </p:childTnLst>
                                </p:cTn>
                              </p:par>
                              <p:par>
                                <p:cTn id="68" presetID="10" presetClass="exit" presetSubtype="0" fill="hold" grpId="1" nodeType="withEffect">
                                  <p:stCondLst>
                                    <p:cond delay="0"/>
                                  </p:stCondLst>
                                  <p:childTnLst>
                                    <p:animEffect transition="out" filter="fade">
                                      <p:cBhvr>
                                        <p:cTn id="69" dur="500"/>
                                        <p:tgtEl>
                                          <p:spTgt spid="62"/>
                                        </p:tgtEl>
                                      </p:cBhvr>
                                    </p:animEffect>
                                    <p:set>
                                      <p:cBhvr>
                                        <p:cTn id="70" dur="1" fill="hold">
                                          <p:stCondLst>
                                            <p:cond delay="499"/>
                                          </p:stCondLst>
                                        </p:cTn>
                                        <p:tgtEl>
                                          <p:spTgt spid="62"/>
                                        </p:tgtEl>
                                        <p:attrNameLst>
                                          <p:attrName>style.visibility</p:attrName>
                                        </p:attrNameLst>
                                      </p:cBhvr>
                                      <p:to>
                                        <p:strVal val="hidden"/>
                                      </p:to>
                                    </p:set>
                                  </p:childTnLst>
                                </p:cTn>
                              </p:par>
                              <p:par>
                                <p:cTn id="71" presetID="10" presetClass="exit" presetSubtype="0" fill="hold" grpId="1" nodeType="withEffect">
                                  <p:stCondLst>
                                    <p:cond delay="0"/>
                                  </p:stCondLst>
                                  <p:childTnLst>
                                    <p:animEffect transition="out" filter="fade">
                                      <p:cBhvr>
                                        <p:cTn id="72" dur="500"/>
                                        <p:tgtEl>
                                          <p:spTgt spid="63"/>
                                        </p:tgtEl>
                                      </p:cBhvr>
                                    </p:animEffect>
                                    <p:set>
                                      <p:cBhvr>
                                        <p:cTn id="73" dur="1" fill="hold">
                                          <p:stCondLst>
                                            <p:cond delay="499"/>
                                          </p:stCondLst>
                                        </p:cTn>
                                        <p:tgtEl>
                                          <p:spTgt spid="63"/>
                                        </p:tgtEl>
                                        <p:attrNameLst>
                                          <p:attrName>style.visibility</p:attrName>
                                        </p:attrNameLst>
                                      </p:cBhvr>
                                      <p:to>
                                        <p:strVal val="hidden"/>
                                      </p:to>
                                    </p:set>
                                  </p:childTnLst>
                                </p:cTn>
                              </p:par>
                              <p:par>
                                <p:cTn id="74" presetID="10" presetClass="exit" presetSubtype="0" fill="hold" grpId="1" nodeType="withEffect">
                                  <p:stCondLst>
                                    <p:cond delay="0"/>
                                  </p:stCondLst>
                                  <p:childTnLst>
                                    <p:animEffect transition="out" filter="fade">
                                      <p:cBhvr>
                                        <p:cTn id="75" dur="500"/>
                                        <p:tgtEl>
                                          <p:spTgt spid="64"/>
                                        </p:tgtEl>
                                      </p:cBhvr>
                                    </p:animEffect>
                                    <p:set>
                                      <p:cBhvr>
                                        <p:cTn id="76" dur="1" fill="hold">
                                          <p:stCondLst>
                                            <p:cond delay="499"/>
                                          </p:stCondLst>
                                        </p:cTn>
                                        <p:tgtEl>
                                          <p:spTgt spid="64"/>
                                        </p:tgtEl>
                                        <p:attrNameLst>
                                          <p:attrName>style.visibility</p:attrName>
                                        </p:attrNameLst>
                                      </p:cBhvr>
                                      <p:to>
                                        <p:strVal val="hidden"/>
                                      </p:to>
                                    </p:set>
                                  </p:childTnLst>
                                </p:cTn>
                              </p:par>
                              <p:par>
                                <p:cTn id="77" presetID="10" presetClass="exit" presetSubtype="0" fill="hold" grpId="1" nodeType="withEffect">
                                  <p:stCondLst>
                                    <p:cond delay="0"/>
                                  </p:stCondLst>
                                  <p:childTnLst>
                                    <p:animEffect transition="out" filter="fade">
                                      <p:cBhvr>
                                        <p:cTn id="78" dur="500"/>
                                        <p:tgtEl>
                                          <p:spTgt spid="65"/>
                                        </p:tgtEl>
                                      </p:cBhvr>
                                    </p:animEffect>
                                    <p:set>
                                      <p:cBhvr>
                                        <p:cTn id="79" dur="1" fill="hold">
                                          <p:stCondLst>
                                            <p:cond delay="499"/>
                                          </p:stCondLst>
                                        </p:cTn>
                                        <p:tgtEl>
                                          <p:spTgt spid="65"/>
                                        </p:tgtEl>
                                        <p:attrNameLst>
                                          <p:attrName>style.visibility</p:attrName>
                                        </p:attrNameLst>
                                      </p:cBhvr>
                                      <p:to>
                                        <p:strVal val="hidden"/>
                                      </p:to>
                                    </p:set>
                                  </p:childTnLst>
                                </p:cTn>
                              </p:par>
                              <p:par>
                                <p:cTn id="80" presetID="10" presetClass="exit" presetSubtype="0" fill="hold" grpId="1" nodeType="withEffect">
                                  <p:stCondLst>
                                    <p:cond delay="0"/>
                                  </p:stCondLst>
                                  <p:childTnLst>
                                    <p:animEffect transition="out" filter="fade">
                                      <p:cBhvr>
                                        <p:cTn id="81" dur="500"/>
                                        <p:tgtEl>
                                          <p:spTgt spid="66"/>
                                        </p:tgtEl>
                                      </p:cBhvr>
                                    </p:animEffect>
                                    <p:set>
                                      <p:cBhvr>
                                        <p:cTn id="82" dur="1" fill="hold">
                                          <p:stCondLst>
                                            <p:cond delay="499"/>
                                          </p:stCondLst>
                                        </p:cTn>
                                        <p:tgtEl>
                                          <p:spTgt spid="66"/>
                                        </p:tgtEl>
                                        <p:attrNameLst>
                                          <p:attrName>style.visibility</p:attrName>
                                        </p:attrNameLst>
                                      </p:cBhvr>
                                      <p:to>
                                        <p:strVal val="hidden"/>
                                      </p:to>
                                    </p:set>
                                  </p:childTnLst>
                                </p:cTn>
                              </p:par>
                              <p:par>
                                <p:cTn id="83" presetID="10" presetClass="exit" presetSubtype="0" fill="hold" grpId="1" nodeType="withEffect">
                                  <p:stCondLst>
                                    <p:cond delay="0"/>
                                  </p:stCondLst>
                                  <p:childTnLst>
                                    <p:animEffect transition="out" filter="fade">
                                      <p:cBhvr>
                                        <p:cTn id="84" dur="500"/>
                                        <p:tgtEl>
                                          <p:spTgt spid="67"/>
                                        </p:tgtEl>
                                      </p:cBhvr>
                                    </p:animEffect>
                                    <p:set>
                                      <p:cBhvr>
                                        <p:cTn id="85" dur="1" fill="hold">
                                          <p:stCondLst>
                                            <p:cond delay="499"/>
                                          </p:stCondLst>
                                        </p:cTn>
                                        <p:tgtEl>
                                          <p:spTgt spid="67"/>
                                        </p:tgtEl>
                                        <p:attrNameLst>
                                          <p:attrName>style.visibility</p:attrName>
                                        </p:attrNameLst>
                                      </p:cBhvr>
                                      <p:to>
                                        <p:strVal val="hidden"/>
                                      </p:to>
                                    </p:set>
                                  </p:childTnLst>
                                </p:cTn>
                              </p:par>
                              <p:par>
                                <p:cTn id="86" presetID="10" presetClass="exit" presetSubtype="0" fill="hold" grpId="1" nodeType="withEffect">
                                  <p:stCondLst>
                                    <p:cond delay="0"/>
                                  </p:stCondLst>
                                  <p:childTnLst>
                                    <p:animEffect transition="out" filter="fade">
                                      <p:cBhvr>
                                        <p:cTn id="87" dur="500"/>
                                        <p:tgtEl>
                                          <p:spTgt spid="68"/>
                                        </p:tgtEl>
                                      </p:cBhvr>
                                    </p:animEffect>
                                    <p:set>
                                      <p:cBhvr>
                                        <p:cTn id="88" dur="1" fill="hold">
                                          <p:stCondLst>
                                            <p:cond delay="499"/>
                                          </p:stCondLst>
                                        </p:cTn>
                                        <p:tgtEl>
                                          <p:spTgt spid="68"/>
                                        </p:tgtEl>
                                        <p:attrNameLst>
                                          <p:attrName>style.visibility</p:attrName>
                                        </p:attrNameLst>
                                      </p:cBhvr>
                                      <p:to>
                                        <p:strVal val="hidden"/>
                                      </p:to>
                                    </p:set>
                                  </p:childTnLst>
                                </p:cTn>
                              </p:par>
                              <p:par>
                                <p:cTn id="89" presetID="10" presetClass="exit" presetSubtype="0" fill="hold" grpId="1" nodeType="withEffect">
                                  <p:stCondLst>
                                    <p:cond delay="0"/>
                                  </p:stCondLst>
                                  <p:childTnLst>
                                    <p:animEffect transition="out" filter="fade">
                                      <p:cBhvr>
                                        <p:cTn id="90" dur="500"/>
                                        <p:tgtEl>
                                          <p:spTgt spid="69"/>
                                        </p:tgtEl>
                                      </p:cBhvr>
                                    </p:animEffect>
                                    <p:set>
                                      <p:cBhvr>
                                        <p:cTn id="91" dur="1" fill="hold">
                                          <p:stCondLst>
                                            <p:cond delay="499"/>
                                          </p:stCondLst>
                                        </p:cTn>
                                        <p:tgtEl>
                                          <p:spTgt spid="69"/>
                                        </p:tgtEl>
                                        <p:attrNameLst>
                                          <p:attrName>style.visibility</p:attrName>
                                        </p:attrNameLst>
                                      </p:cBhvr>
                                      <p:to>
                                        <p:strVal val="hidden"/>
                                      </p:to>
                                    </p:set>
                                  </p:childTnLst>
                                </p:cTn>
                              </p:par>
                              <p:par>
                                <p:cTn id="92" presetID="10" presetClass="exit" presetSubtype="0" fill="hold" grpId="1" nodeType="withEffect">
                                  <p:stCondLst>
                                    <p:cond delay="0"/>
                                  </p:stCondLst>
                                  <p:childTnLst>
                                    <p:animEffect transition="out" filter="fade">
                                      <p:cBhvr>
                                        <p:cTn id="93" dur="500"/>
                                        <p:tgtEl>
                                          <p:spTgt spid="70"/>
                                        </p:tgtEl>
                                      </p:cBhvr>
                                    </p:animEffect>
                                    <p:set>
                                      <p:cBhvr>
                                        <p:cTn id="94" dur="1" fill="hold">
                                          <p:stCondLst>
                                            <p:cond delay="499"/>
                                          </p:stCondLst>
                                        </p:cTn>
                                        <p:tgtEl>
                                          <p:spTgt spid="70"/>
                                        </p:tgtEl>
                                        <p:attrNameLst>
                                          <p:attrName>style.visibility</p:attrName>
                                        </p:attrNameLst>
                                      </p:cBhvr>
                                      <p:to>
                                        <p:strVal val="hidden"/>
                                      </p:to>
                                    </p:set>
                                  </p:childTnLst>
                                </p:cTn>
                              </p:par>
                            </p:childTnLst>
                          </p:cTn>
                        </p:par>
                        <p:par>
                          <p:cTn id="95" fill="hold">
                            <p:stCondLst>
                              <p:cond delay="5500"/>
                            </p:stCondLst>
                            <p:childTnLst>
                              <p:par>
                                <p:cTn id="96" presetID="10" presetClass="exit" presetSubtype="0" fill="hold" grpId="0" nodeType="afterEffect">
                                  <p:stCondLst>
                                    <p:cond delay="0"/>
                                  </p:stCondLst>
                                  <p:childTnLst>
                                    <p:animEffect transition="out" filter="fade">
                                      <p:cBhvr>
                                        <p:cTn id="97" dur="500"/>
                                        <p:tgtEl>
                                          <p:spTgt spid="6"/>
                                        </p:tgtEl>
                                      </p:cBhvr>
                                    </p:animEffect>
                                    <p:set>
                                      <p:cBhvr>
                                        <p:cTn id="98" dur="1" fill="hold">
                                          <p:stCondLst>
                                            <p:cond delay="499"/>
                                          </p:stCondLst>
                                        </p:cTn>
                                        <p:tgtEl>
                                          <p:spTgt spid="6"/>
                                        </p:tgtEl>
                                        <p:attrNameLst>
                                          <p:attrName>style.visibility</p:attrName>
                                        </p:attrNameLst>
                                      </p:cBhvr>
                                      <p:to>
                                        <p:strVal val="hidden"/>
                                      </p:to>
                                    </p:set>
                                  </p:childTnLst>
                                </p:cTn>
                              </p:par>
                              <p:par>
                                <p:cTn id="99" presetID="10" presetClass="exit" presetSubtype="0" fill="hold" grpId="0" nodeType="withEffect">
                                  <p:stCondLst>
                                    <p:cond delay="0"/>
                                  </p:stCondLst>
                                  <p:childTnLst>
                                    <p:animEffect transition="out" filter="fade">
                                      <p:cBhvr>
                                        <p:cTn id="100" dur="500"/>
                                        <p:tgtEl>
                                          <p:spTgt spid="5"/>
                                        </p:tgtEl>
                                      </p:cBhvr>
                                    </p:animEffect>
                                    <p:set>
                                      <p:cBhvr>
                                        <p:cTn id="101" dur="1" fill="hold">
                                          <p:stCondLst>
                                            <p:cond delay="499"/>
                                          </p:stCondLst>
                                        </p:cTn>
                                        <p:tgtEl>
                                          <p:spTgt spid="5"/>
                                        </p:tgtEl>
                                        <p:attrNameLst>
                                          <p:attrName>style.visibility</p:attrName>
                                        </p:attrNameLst>
                                      </p:cBhvr>
                                      <p:to>
                                        <p:strVal val="hidden"/>
                                      </p:to>
                                    </p:set>
                                  </p:childTnLst>
                                </p:cTn>
                              </p:par>
                              <p:par>
                                <p:cTn id="102" presetID="10" presetClass="exit" presetSubtype="0" fill="hold" nodeType="withEffect">
                                  <p:stCondLst>
                                    <p:cond delay="0"/>
                                  </p:stCondLst>
                                  <p:childTnLst>
                                    <p:animEffect transition="out" filter="fade">
                                      <p:cBhvr>
                                        <p:cTn id="103" dur="500"/>
                                        <p:tgtEl>
                                          <p:spTgt spid="9"/>
                                        </p:tgtEl>
                                      </p:cBhvr>
                                    </p:animEffect>
                                    <p:set>
                                      <p:cBhvr>
                                        <p:cTn id="104" dur="1" fill="hold">
                                          <p:stCondLst>
                                            <p:cond delay="499"/>
                                          </p:stCondLst>
                                        </p:cTn>
                                        <p:tgtEl>
                                          <p:spTgt spid="9"/>
                                        </p:tgtEl>
                                        <p:attrNameLst>
                                          <p:attrName>style.visibility</p:attrName>
                                        </p:attrNameLst>
                                      </p:cBhvr>
                                      <p:to>
                                        <p:strVal val="hidden"/>
                                      </p:to>
                                    </p:set>
                                  </p:childTnLst>
                                </p:cTn>
                              </p:par>
                              <p:par>
                                <p:cTn id="105" presetID="10" presetClass="exit" presetSubtype="0" fill="hold" grpId="0" nodeType="withEffect">
                                  <p:stCondLst>
                                    <p:cond delay="0"/>
                                  </p:stCondLst>
                                  <p:childTnLst>
                                    <p:animEffect transition="out" filter="fade">
                                      <p:cBhvr>
                                        <p:cTn id="106" dur="500"/>
                                        <p:tgtEl>
                                          <p:spTgt spid="13"/>
                                        </p:tgtEl>
                                      </p:cBhvr>
                                    </p:animEffect>
                                    <p:set>
                                      <p:cBhvr>
                                        <p:cTn id="107" dur="1" fill="hold">
                                          <p:stCondLst>
                                            <p:cond delay="499"/>
                                          </p:stCondLst>
                                        </p:cTn>
                                        <p:tgtEl>
                                          <p:spTgt spid="13"/>
                                        </p:tgtEl>
                                        <p:attrNameLst>
                                          <p:attrName>style.visibility</p:attrName>
                                        </p:attrNameLst>
                                      </p:cBhvr>
                                      <p:to>
                                        <p:strVal val="hidden"/>
                                      </p:to>
                                    </p:set>
                                  </p:childTnLst>
                                </p:cTn>
                              </p:par>
                              <p:par>
                                <p:cTn id="108" presetID="10" presetClass="exit" presetSubtype="0" fill="hold" nodeType="withEffect">
                                  <p:stCondLst>
                                    <p:cond delay="0"/>
                                  </p:stCondLst>
                                  <p:childTnLst>
                                    <p:animEffect transition="out" filter="fade">
                                      <p:cBhvr>
                                        <p:cTn id="109" dur="500"/>
                                        <p:tgtEl>
                                          <p:spTgt spid="10"/>
                                        </p:tgtEl>
                                      </p:cBhvr>
                                    </p:animEffect>
                                    <p:set>
                                      <p:cBhvr>
                                        <p:cTn id="110" dur="1" fill="hold">
                                          <p:stCondLst>
                                            <p:cond delay="499"/>
                                          </p:stCondLst>
                                        </p:cTn>
                                        <p:tgtEl>
                                          <p:spTgt spid="10"/>
                                        </p:tgtEl>
                                        <p:attrNameLst>
                                          <p:attrName>style.visibility</p:attrName>
                                        </p:attrNameLst>
                                      </p:cBhvr>
                                      <p:to>
                                        <p:strVal val="hidden"/>
                                      </p:to>
                                    </p:set>
                                  </p:childTnLst>
                                </p:cTn>
                              </p:par>
                              <p:par>
                                <p:cTn id="111" presetID="10" presetClass="exit" presetSubtype="0" fill="hold" grpId="0" nodeType="withEffect">
                                  <p:stCondLst>
                                    <p:cond delay="0"/>
                                  </p:stCondLst>
                                  <p:childTnLst>
                                    <p:animEffect transition="out" filter="fade">
                                      <p:cBhvr>
                                        <p:cTn id="112" dur="500"/>
                                        <p:tgtEl>
                                          <p:spTgt spid="16"/>
                                        </p:tgtEl>
                                      </p:cBhvr>
                                    </p:animEffect>
                                    <p:set>
                                      <p:cBhvr>
                                        <p:cTn id="113" dur="1" fill="hold">
                                          <p:stCondLst>
                                            <p:cond delay="499"/>
                                          </p:stCondLst>
                                        </p:cTn>
                                        <p:tgtEl>
                                          <p:spTgt spid="16"/>
                                        </p:tgtEl>
                                        <p:attrNameLst>
                                          <p:attrName>style.visibility</p:attrName>
                                        </p:attrNameLst>
                                      </p:cBhvr>
                                      <p:to>
                                        <p:strVal val="hidden"/>
                                      </p:to>
                                    </p:set>
                                  </p:childTnLst>
                                </p:cTn>
                              </p:par>
                              <p:par>
                                <p:cTn id="114" presetID="10" presetClass="exit" presetSubtype="0" fill="hold" nodeType="withEffect">
                                  <p:stCondLst>
                                    <p:cond delay="0"/>
                                  </p:stCondLst>
                                  <p:childTnLst>
                                    <p:animEffect transition="out" filter="fade">
                                      <p:cBhvr>
                                        <p:cTn id="115" dur="500"/>
                                        <p:tgtEl>
                                          <p:spTgt spid="15"/>
                                        </p:tgtEl>
                                      </p:cBhvr>
                                    </p:animEffect>
                                    <p:set>
                                      <p:cBhvr>
                                        <p:cTn id="116" dur="1" fill="hold">
                                          <p:stCondLst>
                                            <p:cond delay="499"/>
                                          </p:stCondLst>
                                        </p:cTn>
                                        <p:tgtEl>
                                          <p:spTgt spid="15"/>
                                        </p:tgtEl>
                                        <p:attrNameLst>
                                          <p:attrName>style.visibility</p:attrName>
                                        </p:attrNameLst>
                                      </p:cBhvr>
                                      <p:to>
                                        <p:strVal val="hidden"/>
                                      </p:to>
                                    </p:set>
                                  </p:childTnLst>
                                </p:cTn>
                              </p:par>
                              <p:par>
                                <p:cTn id="117" presetID="10" presetClass="exit" presetSubtype="0" fill="hold" grpId="0" nodeType="withEffect">
                                  <p:stCondLst>
                                    <p:cond delay="0"/>
                                  </p:stCondLst>
                                  <p:childTnLst>
                                    <p:animEffect transition="out" filter="fade">
                                      <p:cBhvr>
                                        <p:cTn id="118" dur="500"/>
                                        <p:tgtEl>
                                          <p:spTgt spid="3"/>
                                        </p:tgtEl>
                                      </p:cBhvr>
                                    </p:animEffect>
                                    <p:set>
                                      <p:cBhvr>
                                        <p:cTn id="119" dur="1" fill="hold">
                                          <p:stCondLst>
                                            <p:cond delay="499"/>
                                          </p:stCondLst>
                                        </p:cTn>
                                        <p:tgtEl>
                                          <p:spTgt spid="3"/>
                                        </p:tgtEl>
                                        <p:attrNameLst>
                                          <p:attrName>style.visibility</p:attrName>
                                        </p:attrNameLst>
                                      </p:cBhvr>
                                      <p:to>
                                        <p:strVal val="hidden"/>
                                      </p:to>
                                    </p:set>
                                  </p:childTnLst>
                                </p:cTn>
                              </p:par>
                              <p:par>
                                <p:cTn id="120" presetID="10" presetClass="exit" presetSubtype="0" fill="hold" nodeType="withEffect">
                                  <p:stCondLst>
                                    <p:cond delay="0"/>
                                  </p:stCondLst>
                                  <p:childTnLst>
                                    <p:animEffect transition="out" filter="fade">
                                      <p:cBhvr>
                                        <p:cTn id="121" dur="500"/>
                                        <p:tgtEl>
                                          <p:spTgt spid="18"/>
                                        </p:tgtEl>
                                      </p:cBhvr>
                                    </p:animEffect>
                                    <p:set>
                                      <p:cBhvr>
                                        <p:cTn id="122" dur="1" fill="hold">
                                          <p:stCondLst>
                                            <p:cond delay="499"/>
                                          </p:stCondLst>
                                        </p:cTn>
                                        <p:tgtEl>
                                          <p:spTgt spid="18"/>
                                        </p:tgtEl>
                                        <p:attrNameLst>
                                          <p:attrName>style.visibility</p:attrName>
                                        </p:attrNameLst>
                                      </p:cBhvr>
                                      <p:to>
                                        <p:strVal val="hidden"/>
                                      </p:to>
                                    </p:set>
                                  </p:childTnLst>
                                </p:cTn>
                              </p:par>
                              <p:par>
                                <p:cTn id="123" presetID="10" presetClass="exit" presetSubtype="0" fill="hold" grpId="0" nodeType="withEffect">
                                  <p:stCondLst>
                                    <p:cond delay="0"/>
                                  </p:stCondLst>
                                  <p:childTnLst>
                                    <p:animEffect transition="out" filter="fade">
                                      <p:cBhvr>
                                        <p:cTn id="124" dur="500"/>
                                        <p:tgtEl>
                                          <p:spTgt spid="19"/>
                                        </p:tgtEl>
                                      </p:cBhvr>
                                    </p:animEffect>
                                    <p:set>
                                      <p:cBhvr>
                                        <p:cTn id="125" dur="1" fill="hold">
                                          <p:stCondLst>
                                            <p:cond delay="499"/>
                                          </p:stCondLst>
                                        </p:cTn>
                                        <p:tgtEl>
                                          <p:spTgt spid="19"/>
                                        </p:tgtEl>
                                        <p:attrNameLst>
                                          <p:attrName>style.visibility</p:attrName>
                                        </p:attrNameLst>
                                      </p:cBhvr>
                                      <p:to>
                                        <p:strVal val="hidden"/>
                                      </p:to>
                                    </p:set>
                                  </p:childTnLst>
                                </p:cTn>
                              </p:par>
                              <p:par>
                                <p:cTn id="126" presetID="10" presetClass="exit" presetSubtype="0" fill="hold" grpId="0" nodeType="withEffect">
                                  <p:stCondLst>
                                    <p:cond delay="0"/>
                                  </p:stCondLst>
                                  <p:childTnLst>
                                    <p:animEffect transition="out" filter="fade">
                                      <p:cBhvr>
                                        <p:cTn id="127" dur="500"/>
                                        <p:tgtEl>
                                          <p:spTgt spid="20"/>
                                        </p:tgtEl>
                                      </p:cBhvr>
                                    </p:animEffect>
                                    <p:set>
                                      <p:cBhvr>
                                        <p:cTn id="128" dur="1" fill="hold">
                                          <p:stCondLst>
                                            <p:cond delay="499"/>
                                          </p:stCondLst>
                                        </p:cTn>
                                        <p:tgtEl>
                                          <p:spTgt spid="20"/>
                                        </p:tgtEl>
                                        <p:attrNameLst>
                                          <p:attrName>style.visibility</p:attrName>
                                        </p:attrNameLst>
                                      </p:cBhvr>
                                      <p:to>
                                        <p:strVal val="hidden"/>
                                      </p:to>
                                    </p:set>
                                  </p:childTnLst>
                                </p:cTn>
                              </p:par>
                              <p:par>
                                <p:cTn id="129" presetID="10" presetClass="exit" presetSubtype="0" fill="hold" grpId="0" nodeType="withEffect">
                                  <p:stCondLst>
                                    <p:cond delay="0"/>
                                  </p:stCondLst>
                                  <p:childTnLst>
                                    <p:animEffect transition="out" filter="fade">
                                      <p:cBhvr>
                                        <p:cTn id="130" dur="500"/>
                                        <p:tgtEl>
                                          <p:spTgt spid="24"/>
                                        </p:tgtEl>
                                      </p:cBhvr>
                                    </p:animEffect>
                                    <p:set>
                                      <p:cBhvr>
                                        <p:cTn id="131" dur="1" fill="hold">
                                          <p:stCondLst>
                                            <p:cond delay="499"/>
                                          </p:stCondLst>
                                        </p:cTn>
                                        <p:tgtEl>
                                          <p:spTgt spid="24"/>
                                        </p:tgtEl>
                                        <p:attrNameLst>
                                          <p:attrName>style.visibility</p:attrName>
                                        </p:attrNameLst>
                                      </p:cBhvr>
                                      <p:to>
                                        <p:strVal val="hidden"/>
                                      </p:to>
                                    </p:set>
                                  </p:childTnLst>
                                </p:cTn>
                              </p:par>
                              <p:par>
                                <p:cTn id="132" presetID="10" presetClass="exit" presetSubtype="0" fill="hold" nodeType="withEffect">
                                  <p:stCondLst>
                                    <p:cond delay="0"/>
                                  </p:stCondLst>
                                  <p:childTnLst>
                                    <p:animEffect transition="out" filter="fade">
                                      <p:cBhvr>
                                        <p:cTn id="133" dur="500"/>
                                        <p:tgtEl>
                                          <p:spTgt spid="30"/>
                                        </p:tgtEl>
                                      </p:cBhvr>
                                    </p:animEffect>
                                    <p:set>
                                      <p:cBhvr>
                                        <p:cTn id="134" dur="1" fill="hold">
                                          <p:stCondLst>
                                            <p:cond delay="499"/>
                                          </p:stCondLst>
                                        </p:cTn>
                                        <p:tgtEl>
                                          <p:spTgt spid="30"/>
                                        </p:tgtEl>
                                        <p:attrNameLst>
                                          <p:attrName>style.visibility</p:attrName>
                                        </p:attrNameLst>
                                      </p:cBhvr>
                                      <p:to>
                                        <p:strVal val="hidden"/>
                                      </p:to>
                                    </p:set>
                                  </p:childTnLst>
                                </p:cTn>
                              </p:par>
                              <p:par>
                                <p:cTn id="135" presetID="10" presetClass="exit" presetSubtype="0" fill="hold" grpId="0" nodeType="withEffect">
                                  <p:stCondLst>
                                    <p:cond delay="0"/>
                                  </p:stCondLst>
                                  <p:childTnLst>
                                    <p:animEffect transition="out" filter="fade">
                                      <p:cBhvr>
                                        <p:cTn id="136" dur="500"/>
                                        <p:tgtEl>
                                          <p:spTgt spid="29"/>
                                        </p:tgtEl>
                                      </p:cBhvr>
                                    </p:animEffect>
                                    <p:set>
                                      <p:cBhvr>
                                        <p:cTn id="137" dur="1" fill="hold">
                                          <p:stCondLst>
                                            <p:cond delay="499"/>
                                          </p:stCondLst>
                                        </p:cTn>
                                        <p:tgtEl>
                                          <p:spTgt spid="29"/>
                                        </p:tgtEl>
                                        <p:attrNameLst>
                                          <p:attrName>style.visibility</p:attrName>
                                        </p:attrNameLst>
                                      </p:cBhvr>
                                      <p:to>
                                        <p:strVal val="hidden"/>
                                      </p:to>
                                    </p:set>
                                  </p:childTnLst>
                                </p:cTn>
                              </p:par>
                              <p:par>
                                <p:cTn id="138" presetID="10" presetClass="exit" presetSubtype="0" fill="hold" grpId="0" nodeType="withEffect">
                                  <p:stCondLst>
                                    <p:cond delay="0"/>
                                  </p:stCondLst>
                                  <p:childTnLst>
                                    <p:animEffect transition="out" filter="fade">
                                      <p:cBhvr>
                                        <p:cTn id="139" dur="500"/>
                                        <p:tgtEl>
                                          <p:spTgt spid="34"/>
                                        </p:tgtEl>
                                      </p:cBhvr>
                                    </p:animEffect>
                                    <p:set>
                                      <p:cBhvr>
                                        <p:cTn id="140" dur="1" fill="hold">
                                          <p:stCondLst>
                                            <p:cond delay="499"/>
                                          </p:stCondLst>
                                        </p:cTn>
                                        <p:tgtEl>
                                          <p:spTgt spid="34"/>
                                        </p:tgtEl>
                                        <p:attrNameLst>
                                          <p:attrName>style.visibility</p:attrName>
                                        </p:attrNameLst>
                                      </p:cBhvr>
                                      <p:to>
                                        <p:strVal val="hidden"/>
                                      </p:to>
                                    </p:set>
                                  </p:childTnLst>
                                </p:cTn>
                              </p:par>
                              <p:par>
                                <p:cTn id="141" presetID="10" presetClass="exit" presetSubtype="0" fill="hold" grpId="0" nodeType="withEffect">
                                  <p:stCondLst>
                                    <p:cond delay="0"/>
                                  </p:stCondLst>
                                  <p:childTnLst>
                                    <p:animEffect transition="out" filter="fade">
                                      <p:cBhvr>
                                        <p:cTn id="142" dur="500"/>
                                        <p:tgtEl>
                                          <p:spTgt spid="33"/>
                                        </p:tgtEl>
                                      </p:cBhvr>
                                    </p:animEffect>
                                    <p:set>
                                      <p:cBhvr>
                                        <p:cTn id="143" dur="1" fill="hold">
                                          <p:stCondLst>
                                            <p:cond delay="499"/>
                                          </p:stCondLst>
                                        </p:cTn>
                                        <p:tgtEl>
                                          <p:spTgt spid="33"/>
                                        </p:tgtEl>
                                        <p:attrNameLst>
                                          <p:attrName>style.visibility</p:attrName>
                                        </p:attrNameLst>
                                      </p:cBhvr>
                                      <p:to>
                                        <p:strVal val="hidden"/>
                                      </p:to>
                                    </p:set>
                                  </p:childTnLst>
                                </p:cTn>
                              </p:par>
                              <p:par>
                                <p:cTn id="144" presetID="10" presetClass="exit" presetSubtype="0" fill="hold" nodeType="withEffect">
                                  <p:stCondLst>
                                    <p:cond delay="0"/>
                                  </p:stCondLst>
                                  <p:childTnLst>
                                    <p:animEffect transition="out" filter="fade">
                                      <p:cBhvr>
                                        <p:cTn id="145" dur="500"/>
                                        <p:tgtEl>
                                          <p:spTgt spid="21"/>
                                        </p:tgtEl>
                                      </p:cBhvr>
                                    </p:animEffect>
                                    <p:set>
                                      <p:cBhvr>
                                        <p:cTn id="146" dur="1" fill="hold">
                                          <p:stCondLst>
                                            <p:cond delay="499"/>
                                          </p:stCondLst>
                                        </p:cTn>
                                        <p:tgtEl>
                                          <p:spTgt spid="21"/>
                                        </p:tgtEl>
                                        <p:attrNameLst>
                                          <p:attrName>style.visibility</p:attrName>
                                        </p:attrNameLst>
                                      </p:cBhvr>
                                      <p:to>
                                        <p:strVal val="hidden"/>
                                      </p:to>
                                    </p:set>
                                  </p:childTnLst>
                                </p:cTn>
                              </p:par>
                              <p:par>
                                <p:cTn id="147" presetID="10" presetClass="exit" presetSubtype="0" fill="hold" grpId="0" nodeType="withEffect">
                                  <p:stCondLst>
                                    <p:cond delay="0"/>
                                  </p:stCondLst>
                                  <p:childTnLst>
                                    <p:animEffect transition="out" filter="fade">
                                      <p:cBhvr>
                                        <p:cTn id="148" dur="500"/>
                                        <p:tgtEl>
                                          <p:spTgt spid="35"/>
                                        </p:tgtEl>
                                      </p:cBhvr>
                                    </p:animEffect>
                                    <p:set>
                                      <p:cBhvr>
                                        <p:cTn id="149" dur="1" fill="hold">
                                          <p:stCondLst>
                                            <p:cond delay="499"/>
                                          </p:stCondLst>
                                        </p:cTn>
                                        <p:tgtEl>
                                          <p:spTgt spid="35"/>
                                        </p:tgtEl>
                                        <p:attrNameLst>
                                          <p:attrName>style.visibility</p:attrName>
                                        </p:attrNameLst>
                                      </p:cBhvr>
                                      <p:to>
                                        <p:strVal val="hidden"/>
                                      </p:to>
                                    </p:set>
                                  </p:childTnLst>
                                </p:cTn>
                              </p:par>
                              <p:par>
                                <p:cTn id="150" presetID="10" presetClass="exit" presetSubtype="0" fill="hold" nodeType="withEffect">
                                  <p:stCondLst>
                                    <p:cond delay="0"/>
                                  </p:stCondLst>
                                  <p:childTnLst>
                                    <p:animEffect transition="out" filter="fade">
                                      <p:cBhvr>
                                        <p:cTn id="151" dur="500"/>
                                        <p:tgtEl>
                                          <p:spTgt spid="36"/>
                                        </p:tgtEl>
                                      </p:cBhvr>
                                    </p:animEffect>
                                    <p:set>
                                      <p:cBhvr>
                                        <p:cTn id="152" dur="1" fill="hold">
                                          <p:stCondLst>
                                            <p:cond delay="499"/>
                                          </p:stCondLst>
                                        </p:cTn>
                                        <p:tgtEl>
                                          <p:spTgt spid="36"/>
                                        </p:tgtEl>
                                        <p:attrNameLst>
                                          <p:attrName>style.visibility</p:attrName>
                                        </p:attrNameLst>
                                      </p:cBhvr>
                                      <p:to>
                                        <p:strVal val="hidden"/>
                                      </p:to>
                                    </p:set>
                                  </p:childTnLst>
                                </p:cTn>
                              </p:par>
                              <p:par>
                                <p:cTn id="153" presetID="10" presetClass="exit" presetSubtype="0" fill="hold" grpId="0" nodeType="withEffect">
                                  <p:stCondLst>
                                    <p:cond delay="0"/>
                                  </p:stCondLst>
                                  <p:childTnLst>
                                    <p:animEffect transition="out" filter="fade">
                                      <p:cBhvr>
                                        <p:cTn id="154" dur="500"/>
                                        <p:tgtEl>
                                          <p:spTgt spid="37"/>
                                        </p:tgtEl>
                                      </p:cBhvr>
                                    </p:animEffect>
                                    <p:set>
                                      <p:cBhvr>
                                        <p:cTn id="155" dur="1" fill="hold">
                                          <p:stCondLst>
                                            <p:cond delay="499"/>
                                          </p:stCondLst>
                                        </p:cTn>
                                        <p:tgtEl>
                                          <p:spTgt spid="37"/>
                                        </p:tgtEl>
                                        <p:attrNameLst>
                                          <p:attrName>style.visibility</p:attrName>
                                        </p:attrNameLst>
                                      </p:cBhvr>
                                      <p:to>
                                        <p:strVal val="hidden"/>
                                      </p:to>
                                    </p:set>
                                  </p:childTnLst>
                                </p:cTn>
                              </p:par>
                              <p:par>
                                <p:cTn id="156" presetID="10" presetClass="exit" presetSubtype="0" fill="hold" grpId="0" nodeType="withEffect">
                                  <p:stCondLst>
                                    <p:cond delay="0"/>
                                  </p:stCondLst>
                                  <p:childTnLst>
                                    <p:animEffect transition="out" filter="fade">
                                      <p:cBhvr>
                                        <p:cTn id="157" dur="500"/>
                                        <p:tgtEl>
                                          <p:spTgt spid="40"/>
                                        </p:tgtEl>
                                      </p:cBhvr>
                                    </p:animEffect>
                                    <p:set>
                                      <p:cBhvr>
                                        <p:cTn id="158" dur="1" fill="hold">
                                          <p:stCondLst>
                                            <p:cond delay="499"/>
                                          </p:stCondLst>
                                        </p:cTn>
                                        <p:tgtEl>
                                          <p:spTgt spid="40"/>
                                        </p:tgtEl>
                                        <p:attrNameLst>
                                          <p:attrName>style.visibility</p:attrName>
                                        </p:attrNameLst>
                                      </p:cBhvr>
                                      <p:to>
                                        <p:strVal val="hidden"/>
                                      </p:to>
                                    </p:set>
                                  </p:childTnLst>
                                </p:cTn>
                              </p:par>
                              <p:par>
                                <p:cTn id="159" presetID="10" presetClass="exit" presetSubtype="0" fill="hold" nodeType="withEffect">
                                  <p:stCondLst>
                                    <p:cond delay="0"/>
                                  </p:stCondLst>
                                  <p:childTnLst>
                                    <p:animEffect transition="out" filter="fade">
                                      <p:cBhvr>
                                        <p:cTn id="160" dur="500"/>
                                        <p:tgtEl>
                                          <p:spTgt spid="38"/>
                                        </p:tgtEl>
                                      </p:cBhvr>
                                    </p:animEffect>
                                    <p:set>
                                      <p:cBhvr>
                                        <p:cTn id="161" dur="1" fill="hold">
                                          <p:stCondLst>
                                            <p:cond delay="499"/>
                                          </p:stCondLst>
                                        </p:cTn>
                                        <p:tgtEl>
                                          <p:spTgt spid="38"/>
                                        </p:tgtEl>
                                        <p:attrNameLst>
                                          <p:attrName>style.visibility</p:attrName>
                                        </p:attrNameLst>
                                      </p:cBhvr>
                                      <p:to>
                                        <p:strVal val="hidden"/>
                                      </p:to>
                                    </p:set>
                                  </p:childTnLst>
                                </p:cTn>
                              </p:par>
                              <p:par>
                                <p:cTn id="162" presetID="10" presetClass="exit" presetSubtype="0" fill="hold" grpId="0" nodeType="withEffect">
                                  <p:stCondLst>
                                    <p:cond delay="0"/>
                                  </p:stCondLst>
                                  <p:childTnLst>
                                    <p:animEffect transition="out" filter="fade">
                                      <p:cBhvr>
                                        <p:cTn id="163" dur="500"/>
                                        <p:tgtEl>
                                          <p:spTgt spid="41"/>
                                        </p:tgtEl>
                                      </p:cBhvr>
                                    </p:animEffect>
                                    <p:set>
                                      <p:cBhvr>
                                        <p:cTn id="164" dur="1" fill="hold">
                                          <p:stCondLst>
                                            <p:cond delay="499"/>
                                          </p:stCondLst>
                                        </p:cTn>
                                        <p:tgtEl>
                                          <p:spTgt spid="41"/>
                                        </p:tgtEl>
                                        <p:attrNameLst>
                                          <p:attrName>style.visibility</p:attrName>
                                        </p:attrNameLst>
                                      </p:cBhvr>
                                      <p:to>
                                        <p:strVal val="hidden"/>
                                      </p:to>
                                    </p:set>
                                  </p:childTnLst>
                                </p:cTn>
                              </p:par>
                              <p:par>
                                <p:cTn id="165" presetID="10" presetClass="exit" presetSubtype="0" fill="hold" grpId="0" nodeType="withEffect">
                                  <p:stCondLst>
                                    <p:cond delay="0"/>
                                  </p:stCondLst>
                                  <p:childTnLst>
                                    <p:animEffect transition="out" filter="fade">
                                      <p:cBhvr>
                                        <p:cTn id="166" dur="500"/>
                                        <p:tgtEl>
                                          <p:spTgt spid="44"/>
                                        </p:tgtEl>
                                      </p:cBhvr>
                                    </p:animEffect>
                                    <p:set>
                                      <p:cBhvr>
                                        <p:cTn id="167" dur="1" fill="hold">
                                          <p:stCondLst>
                                            <p:cond delay="499"/>
                                          </p:stCondLst>
                                        </p:cTn>
                                        <p:tgtEl>
                                          <p:spTgt spid="44"/>
                                        </p:tgtEl>
                                        <p:attrNameLst>
                                          <p:attrName>style.visibility</p:attrName>
                                        </p:attrNameLst>
                                      </p:cBhvr>
                                      <p:to>
                                        <p:strVal val="hidden"/>
                                      </p:to>
                                    </p:set>
                                  </p:childTnLst>
                                </p:cTn>
                              </p:par>
                              <p:par>
                                <p:cTn id="168" presetID="10" presetClass="exit" presetSubtype="0" fill="hold" nodeType="withEffect">
                                  <p:stCondLst>
                                    <p:cond delay="0"/>
                                  </p:stCondLst>
                                  <p:childTnLst>
                                    <p:animEffect transition="out" filter="fade">
                                      <p:cBhvr>
                                        <p:cTn id="169" dur="500"/>
                                        <p:tgtEl>
                                          <p:spTgt spid="43"/>
                                        </p:tgtEl>
                                      </p:cBhvr>
                                    </p:animEffect>
                                    <p:set>
                                      <p:cBhvr>
                                        <p:cTn id="170" dur="1" fill="hold">
                                          <p:stCondLst>
                                            <p:cond delay="499"/>
                                          </p:stCondLst>
                                        </p:cTn>
                                        <p:tgtEl>
                                          <p:spTgt spid="43"/>
                                        </p:tgtEl>
                                        <p:attrNameLst>
                                          <p:attrName>style.visibility</p:attrName>
                                        </p:attrNameLst>
                                      </p:cBhvr>
                                      <p:to>
                                        <p:strVal val="hidden"/>
                                      </p:to>
                                    </p:set>
                                  </p:childTnLst>
                                </p:cTn>
                              </p:par>
                              <p:par>
                                <p:cTn id="171" presetID="10" presetClass="exit" presetSubtype="0" fill="hold" grpId="0" nodeType="withEffect">
                                  <p:stCondLst>
                                    <p:cond delay="0"/>
                                  </p:stCondLst>
                                  <p:childTnLst>
                                    <p:animEffect transition="out" filter="fade">
                                      <p:cBhvr>
                                        <p:cTn id="172" dur="500"/>
                                        <p:tgtEl>
                                          <p:spTgt spid="45"/>
                                        </p:tgtEl>
                                      </p:cBhvr>
                                    </p:animEffect>
                                    <p:set>
                                      <p:cBhvr>
                                        <p:cTn id="173" dur="1" fill="hold">
                                          <p:stCondLst>
                                            <p:cond delay="499"/>
                                          </p:stCondLst>
                                        </p:cTn>
                                        <p:tgtEl>
                                          <p:spTgt spid="45"/>
                                        </p:tgtEl>
                                        <p:attrNameLst>
                                          <p:attrName>style.visibility</p:attrName>
                                        </p:attrNameLst>
                                      </p:cBhvr>
                                      <p:to>
                                        <p:strVal val="hidden"/>
                                      </p:to>
                                    </p:set>
                                  </p:childTnLst>
                                </p:cTn>
                              </p:par>
                              <p:par>
                                <p:cTn id="174" presetID="10" presetClass="exit" presetSubtype="0" fill="hold" nodeType="withEffect">
                                  <p:stCondLst>
                                    <p:cond delay="0"/>
                                  </p:stCondLst>
                                  <p:childTnLst>
                                    <p:animEffect transition="out" filter="fade">
                                      <p:cBhvr>
                                        <p:cTn id="175" dur="500"/>
                                        <p:tgtEl>
                                          <p:spTgt spid="39"/>
                                        </p:tgtEl>
                                      </p:cBhvr>
                                    </p:animEffect>
                                    <p:set>
                                      <p:cBhvr>
                                        <p:cTn id="176" dur="1" fill="hold">
                                          <p:stCondLst>
                                            <p:cond delay="499"/>
                                          </p:stCondLst>
                                        </p:cTn>
                                        <p:tgtEl>
                                          <p:spTgt spid="39"/>
                                        </p:tgtEl>
                                        <p:attrNameLst>
                                          <p:attrName>style.visibility</p:attrName>
                                        </p:attrNameLst>
                                      </p:cBhvr>
                                      <p:to>
                                        <p:strVal val="hidden"/>
                                      </p:to>
                                    </p:set>
                                  </p:childTnLst>
                                </p:cTn>
                              </p:par>
                              <p:par>
                                <p:cTn id="177" presetID="10" presetClass="exit" presetSubtype="0" fill="hold" grpId="0" nodeType="withEffect">
                                  <p:stCondLst>
                                    <p:cond delay="0"/>
                                  </p:stCondLst>
                                  <p:childTnLst>
                                    <p:animEffect transition="out" filter="fade">
                                      <p:cBhvr>
                                        <p:cTn id="178" dur="500"/>
                                        <p:tgtEl>
                                          <p:spTgt spid="42"/>
                                        </p:tgtEl>
                                      </p:cBhvr>
                                    </p:animEffect>
                                    <p:set>
                                      <p:cBhvr>
                                        <p:cTn id="179" dur="1" fill="hold">
                                          <p:stCondLst>
                                            <p:cond delay="499"/>
                                          </p:stCondLst>
                                        </p:cTn>
                                        <p:tgtEl>
                                          <p:spTgt spid="42"/>
                                        </p:tgtEl>
                                        <p:attrNameLst>
                                          <p:attrName>style.visibility</p:attrName>
                                        </p:attrNameLst>
                                      </p:cBhvr>
                                      <p:to>
                                        <p:strVal val="hidden"/>
                                      </p:to>
                                    </p:set>
                                  </p:childTnLst>
                                </p:cTn>
                              </p:par>
                              <p:par>
                                <p:cTn id="180" presetID="10" presetClass="exit" presetSubtype="0" fill="hold" grpId="0" nodeType="withEffect">
                                  <p:stCondLst>
                                    <p:cond delay="0"/>
                                  </p:stCondLst>
                                  <p:childTnLst>
                                    <p:animEffect transition="out" filter="fade">
                                      <p:cBhvr>
                                        <p:cTn id="181" dur="500"/>
                                        <p:tgtEl>
                                          <p:spTgt spid="47"/>
                                        </p:tgtEl>
                                      </p:cBhvr>
                                    </p:animEffect>
                                    <p:set>
                                      <p:cBhvr>
                                        <p:cTn id="182" dur="1" fill="hold">
                                          <p:stCondLst>
                                            <p:cond delay="499"/>
                                          </p:stCondLst>
                                        </p:cTn>
                                        <p:tgtEl>
                                          <p:spTgt spid="47"/>
                                        </p:tgtEl>
                                        <p:attrNameLst>
                                          <p:attrName>style.visibility</p:attrName>
                                        </p:attrNameLst>
                                      </p:cBhvr>
                                      <p:to>
                                        <p:strVal val="hidden"/>
                                      </p:to>
                                    </p:set>
                                  </p:childTnLst>
                                </p:cTn>
                              </p:par>
                              <p:par>
                                <p:cTn id="183" presetID="10" presetClass="exit" presetSubtype="0" fill="hold" grpId="0" nodeType="withEffect">
                                  <p:stCondLst>
                                    <p:cond delay="0"/>
                                  </p:stCondLst>
                                  <p:childTnLst>
                                    <p:animEffect transition="out" filter="fade">
                                      <p:cBhvr>
                                        <p:cTn id="184" dur="500"/>
                                        <p:tgtEl>
                                          <p:spTgt spid="48"/>
                                        </p:tgtEl>
                                      </p:cBhvr>
                                    </p:animEffect>
                                    <p:set>
                                      <p:cBhvr>
                                        <p:cTn id="185" dur="1" fill="hold">
                                          <p:stCondLst>
                                            <p:cond delay="499"/>
                                          </p:stCondLst>
                                        </p:cTn>
                                        <p:tgtEl>
                                          <p:spTgt spid="48"/>
                                        </p:tgtEl>
                                        <p:attrNameLst>
                                          <p:attrName>style.visibility</p:attrName>
                                        </p:attrNameLst>
                                      </p:cBhvr>
                                      <p:to>
                                        <p:strVal val="hidden"/>
                                      </p:to>
                                    </p:set>
                                  </p:childTnLst>
                                </p:cTn>
                              </p:par>
                            </p:childTnLst>
                          </p:cTn>
                        </p:par>
                        <p:par>
                          <p:cTn id="186" fill="hold">
                            <p:stCondLst>
                              <p:cond delay="6000"/>
                            </p:stCondLst>
                            <p:childTnLst>
                              <p:par>
                                <p:cTn id="187" presetID="42" presetClass="path" presetSubtype="0" accel="50000" decel="50000" fill="hold" nodeType="afterEffect">
                                  <p:stCondLst>
                                    <p:cond delay="0"/>
                                  </p:stCondLst>
                                  <p:childTnLst>
                                    <p:animMotion origin="layout" path="M 4.16667E-6 -4.44444E-6 L 0.47864 -0.33287 " pathEditMode="relative" rAng="0" ptsTypes="AA">
                                      <p:cBhvr>
                                        <p:cTn id="188" dur="2000" fill="hold"/>
                                        <p:tgtEl>
                                          <p:spTgt spid="7"/>
                                        </p:tgtEl>
                                        <p:attrNameLst>
                                          <p:attrName>ppt_x</p:attrName>
                                          <p:attrName>ppt_y</p:attrName>
                                        </p:attrNameLst>
                                      </p:cBhvr>
                                      <p:rCtr x="23924" y="-16644"/>
                                    </p:animMotion>
                                  </p:childTnLst>
                                </p:cTn>
                              </p:par>
                            </p:childTnLst>
                          </p:cTn>
                        </p:par>
                        <p:par>
                          <p:cTn id="189" fill="hold">
                            <p:stCondLst>
                              <p:cond delay="8000"/>
                            </p:stCondLst>
                            <p:childTnLst>
                              <p:par>
                                <p:cTn id="190" presetID="10" presetClass="entr" presetSubtype="0" fill="hold" grpId="0" nodeType="afterEffect">
                                  <p:stCondLst>
                                    <p:cond delay="0"/>
                                  </p:stCondLst>
                                  <p:childTnLst>
                                    <p:set>
                                      <p:cBhvr>
                                        <p:cTn id="191" dur="1" fill="hold">
                                          <p:stCondLst>
                                            <p:cond delay="0"/>
                                          </p:stCondLst>
                                        </p:cTn>
                                        <p:tgtEl>
                                          <p:spTgt spid="2"/>
                                        </p:tgtEl>
                                        <p:attrNameLst>
                                          <p:attrName>style.visibility</p:attrName>
                                        </p:attrNameLst>
                                      </p:cBhvr>
                                      <p:to>
                                        <p:strVal val="visible"/>
                                      </p:to>
                                    </p:set>
                                    <p:animEffect transition="in" filter="fade">
                                      <p:cBhvr>
                                        <p:cTn id="192" dur="500"/>
                                        <p:tgtEl>
                                          <p:spTgt spid="2"/>
                                        </p:tgtEl>
                                      </p:cBhvr>
                                    </p:animEffect>
                                  </p:childTnLst>
                                </p:cTn>
                              </p:par>
                            </p:childTnLst>
                          </p:cTn>
                        </p:par>
                        <p:par>
                          <p:cTn id="193" fill="hold">
                            <p:stCondLst>
                              <p:cond delay="8500"/>
                            </p:stCondLst>
                            <p:childTnLst>
                              <p:par>
                                <p:cTn id="194" presetID="10" presetClass="entr" presetSubtype="0" fill="hold" grpId="0" nodeType="afterEffect">
                                  <p:stCondLst>
                                    <p:cond delay="0"/>
                                  </p:stCondLst>
                                  <p:childTnLst>
                                    <p:set>
                                      <p:cBhvr>
                                        <p:cTn id="195" dur="1" fill="hold">
                                          <p:stCondLst>
                                            <p:cond delay="0"/>
                                          </p:stCondLst>
                                        </p:cTn>
                                        <p:tgtEl>
                                          <p:spTgt spid="55"/>
                                        </p:tgtEl>
                                        <p:attrNameLst>
                                          <p:attrName>style.visibility</p:attrName>
                                        </p:attrNameLst>
                                      </p:cBhvr>
                                      <p:to>
                                        <p:strVal val="visible"/>
                                      </p:to>
                                    </p:set>
                                    <p:animEffect transition="in" filter="fade">
                                      <p:cBhvr>
                                        <p:cTn id="196" dur="500"/>
                                        <p:tgtEl>
                                          <p:spTgt spid="55"/>
                                        </p:tgtEl>
                                      </p:cBhvr>
                                    </p:animEffect>
                                  </p:childTnLst>
                                </p:cTn>
                              </p:par>
                            </p:childTnLst>
                          </p:cTn>
                        </p:par>
                        <p:par>
                          <p:cTn id="197" fill="hold">
                            <p:stCondLst>
                              <p:cond delay="9000"/>
                            </p:stCondLst>
                            <p:childTnLst>
                              <p:par>
                                <p:cTn id="198" presetID="22" presetClass="entr" presetSubtype="8" fill="hold" grpId="0" nodeType="afterEffect">
                                  <p:stCondLst>
                                    <p:cond delay="0"/>
                                  </p:stCondLst>
                                  <p:childTnLst>
                                    <p:set>
                                      <p:cBhvr>
                                        <p:cTn id="199" dur="1" fill="hold">
                                          <p:stCondLst>
                                            <p:cond delay="0"/>
                                          </p:stCondLst>
                                        </p:cTn>
                                        <p:tgtEl>
                                          <p:spTgt spid="11"/>
                                        </p:tgtEl>
                                        <p:attrNameLst>
                                          <p:attrName>style.visibility</p:attrName>
                                        </p:attrNameLst>
                                      </p:cBhvr>
                                      <p:to>
                                        <p:strVal val="visible"/>
                                      </p:to>
                                    </p:set>
                                    <p:animEffect transition="in" filter="wipe(left)">
                                      <p:cBhvr>
                                        <p:cTn id="200" dur="7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p:bldP spid="13" grpId="0"/>
      <p:bldP spid="16" grpId="0" animBg="1"/>
      <p:bldP spid="19" grpId="0" animBg="1"/>
      <p:bldP spid="20" grpId="0"/>
      <p:bldP spid="24" grpId="0" animBg="1"/>
      <p:bldP spid="29" grpId="0"/>
      <p:bldP spid="33" grpId="0" animBg="1"/>
      <p:bldP spid="34" grpId="0"/>
      <p:bldP spid="35" grpId="0" animBg="1"/>
      <p:bldP spid="37" grpId="0"/>
      <p:bldP spid="40" grpId="0" animBg="1"/>
      <p:bldP spid="41" grpId="0" animBg="1"/>
      <p:bldP spid="42" grpId="0"/>
      <p:bldP spid="47" grpId="0" animBg="1"/>
      <p:bldP spid="48" grpId="0"/>
      <p:bldP spid="44" grpId="0" animBg="1"/>
      <p:bldP spid="45" grpId="0"/>
      <p:bldP spid="2" grpId="0"/>
      <p:bldP spid="3" grpId="0"/>
      <p:bldP spid="61" grpId="0" animBg="1"/>
      <p:bldP spid="61" grpId="1" animBg="1"/>
      <p:bldP spid="62" grpId="0" animBg="1"/>
      <p:bldP spid="62" grpId="1" animBg="1"/>
      <p:bldP spid="63" grpId="0" animBg="1"/>
      <p:bldP spid="63" grpId="1" animBg="1"/>
      <p:bldP spid="64" grpId="0" animBg="1"/>
      <p:bldP spid="64" grpId="1" animBg="1"/>
      <p:bldP spid="65" grpId="0" animBg="1"/>
      <p:bldP spid="65" grpId="1" animBg="1"/>
      <p:bldP spid="66" grpId="0" animBg="1"/>
      <p:bldP spid="66" grpId="1" animBg="1"/>
      <p:bldP spid="67" grpId="0" animBg="1"/>
      <p:bldP spid="67" grpId="1" animBg="1"/>
      <p:bldP spid="68" grpId="0" animBg="1"/>
      <p:bldP spid="68" grpId="1" animBg="1"/>
      <p:bldP spid="69" grpId="0" animBg="1"/>
      <p:bldP spid="69" grpId="1" animBg="1"/>
      <p:bldP spid="70" grpId="0" animBg="1"/>
      <p:bldP spid="70" grpId="1" animBg="1"/>
      <p:bldP spid="11" grpId="0" animBg="1"/>
      <p:bldP spid="55"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lByN6GcW5U6DgW4WMfHPg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ABfV6Bu5kuf8ipCUTvpu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X.aZJwkorUKoUko2E56VL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nvpQffNWUUeMVqiBTcaGq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vHTH0WPnIUSXM3OEG734.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hxxRvfr0FkeN_v3F5GneX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vHTH0WPnIUSXM3OEG734.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xxRvfr0FkeN_v3F5GneX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fnjMqWLSk6AJAPBV2QlG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aKThacPGkCAp57TTdwHD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S5McCUnW0ibgR9iAo1R.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68hZWVtH02GFI0WU6Fbu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QfnjMqWLSk6AJAPBV2QlG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hxxRvfr0FkeN_v3F5GneX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hxxRvfr0FkeN_v3F5GneX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hxxRvfr0FkeN_v3F5GneXQ"/>
</p:tagLst>
</file>

<file path=ppt/theme/theme1.xml><?xml version="1.0" encoding="utf-8"?>
<a:theme xmlns:a="http://schemas.openxmlformats.org/drawingml/2006/main" name="Tema5">
  <a:themeElements>
    <a:clrScheme name="Ofis">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is">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Presentation3">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65000"/>
          </a:schemeClr>
        </a:solidFill>
        <a:ln>
          <a:noFill/>
        </a:ln>
        <a:effectLst/>
      </a:spPr>
      <a:bodyPr rtlCol="0" anchor="ctr"/>
      <a:lstStyle>
        <a:defPPr algn="ctr">
          <a:defRPr>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ln w="3175" cmpd="sng">
          <a:solidFill>
            <a:schemeClr val="bg1">
              <a:lumMod val="65000"/>
            </a:schemeClr>
          </a:solidFill>
          <a:prstDash val="sysDash"/>
          <a:headEnd type="oval"/>
          <a:tailEnd type="none"/>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is Teması">
  <a:themeElements>
    <a:clrScheme name="Ofis">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is">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Tema5</Template>
  <TotalTime>146</TotalTime>
  <Words>1323</Words>
  <Application>Microsoft Office PowerPoint</Application>
  <PresentationFormat>Ekran Gösterisi (4:3)</PresentationFormat>
  <Paragraphs>388</Paragraphs>
  <Slides>33</Slides>
  <Notes>17</Notes>
  <HiddenSlides>0</HiddenSlides>
  <MMClips>0</MMClips>
  <ScaleCrop>false</ScaleCrop>
  <HeadingPairs>
    <vt:vector size="6" baseType="variant">
      <vt:variant>
        <vt:lpstr>Tema</vt:lpstr>
      </vt:variant>
      <vt:variant>
        <vt:i4>2</vt:i4>
      </vt:variant>
      <vt:variant>
        <vt:lpstr>Katıştırılmış OLE Hizmet Programları</vt:lpstr>
      </vt:variant>
      <vt:variant>
        <vt:i4>1</vt:i4>
      </vt:variant>
      <vt:variant>
        <vt:lpstr>Slayt Başlıkları</vt:lpstr>
      </vt:variant>
      <vt:variant>
        <vt:i4>33</vt:i4>
      </vt:variant>
    </vt:vector>
  </HeadingPairs>
  <TitlesOfParts>
    <vt:vector size="36" baseType="lpstr">
      <vt:lpstr>Tema5</vt:lpstr>
      <vt:lpstr>Presentation3</vt:lpstr>
      <vt:lpstr>think-cell Slide</vt:lpstr>
      <vt:lpstr>PowerPoint Sunusu</vt:lpstr>
      <vt:lpstr>PowerPoint Sunusu</vt:lpstr>
      <vt:lpstr>PowerPoint Sunusu</vt:lpstr>
      <vt:lpstr>E-FATURA NEDİR?</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ZORUNLU UYGULAMAYA GEÇİŞ</vt:lpstr>
      <vt:lpstr>PowerPoint Sunusu</vt:lpstr>
      <vt:lpstr>PowerPoint Sunusu</vt:lpstr>
      <vt:lpstr>PowerPoint Sunusu</vt:lpstr>
      <vt:lpstr>PowerPoint Sunusu</vt:lpstr>
      <vt:lpstr>PowerPoint Sunusu</vt:lpstr>
      <vt:lpstr>PowerPoint Sunusu</vt:lpstr>
      <vt:lpstr>Hüdaverdi AKKOCA Uygulama ve Veri Yönetimi Daire Başkanı hakkoca@gelirler.gov.tr</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Sunusu</dc:title>
  <dc:creator>Uğur DOĞAN</dc:creator>
  <cp:lastModifiedBy>GGM</cp:lastModifiedBy>
  <cp:revision>26</cp:revision>
  <dcterms:created xsi:type="dcterms:W3CDTF">2013-05-15T13:12:39Z</dcterms:created>
  <dcterms:modified xsi:type="dcterms:W3CDTF">2013-08-16T07:49:45Z</dcterms:modified>
</cp:coreProperties>
</file>